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7.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7.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8.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9.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30.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31.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bookmarkIdSeed="3">
  <p:sldMasterIdLst>
    <p:sldMasterId id="2147483660" r:id="rId1"/>
  </p:sldMasterIdLst>
  <p:notesMasterIdLst>
    <p:notesMasterId r:id="rId42"/>
  </p:notesMasterIdLst>
  <p:sldIdLst>
    <p:sldId id="267" r:id="rId2"/>
    <p:sldId id="325" r:id="rId3"/>
    <p:sldId id="324" r:id="rId4"/>
    <p:sldId id="347" r:id="rId5"/>
    <p:sldId id="352" r:id="rId6"/>
    <p:sldId id="348" r:id="rId7"/>
    <p:sldId id="351" r:id="rId8"/>
    <p:sldId id="359" r:id="rId9"/>
    <p:sldId id="361" r:id="rId10"/>
    <p:sldId id="270" r:id="rId11"/>
    <p:sldId id="263" r:id="rId12"/>
    <p:sldId id="370" r:id="rId13"/>
    <p:sldId id="362" r:id="rId14"/>
    <p:sldId id="326" r:id="rId15"/>
    <p:sldId id="292" r:id="rId16"/>
    <p:sldId id="364" r:id="rId17"/>
    <p:sldId id="307" r:id="rId18"/>
    <p:sldId id="275" r:id="rId19"/>
    <p:sldId id="290" r:id="rId20"/>
    <p:sldId id="365" r:id="rId21"/>
    <p:sldId id="355" r:id="rId22"/>
    <p:sldId id="301" r:id="rId23"/>
    <p:sldId id="353" r:id="rId24"/>
    <p:sldId id="300" r:id="rId25"/>
    <p:sldId id="315" r:id="rId26"/>
    <p:sldId id="368" r:id="rId27"/>
    <p:sldId id="366" r:id="rId28"/>
    <p:sldId id="317" r:id="rId29"/>
    <p:sldId id="371" r:id="rId30"/>
    <p:sldId id="372" r:id="rId31"/>
    <p:sldId id="354" r:id="rId32"/>
    <p:sldId id="341" r:id="rId33"/>
    <p:sldId id="357" r:id="rId34"/>
    <p:sldId id="345" r:id="rId35"/>
    <p:sldId id="367" r:id="rId36"/>
    <p:sldId id="358" r:id="rId37"/>
    <p:sldId id="374" r:id="rId38"/>
    <p:sldId id="373" r:id="rId39"/>
    <p:sldId id="375" r:id="rId40"/>
    <p:sldId id="369" r:id="rId4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A6D8"/>
    <a:srgbClr val="F54D59"/>
    <a:srgbClr val="62A7E0"/>
    <a:srgbClr val="FBF4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82" autoAdjust="0"/>
    <p:restoredTop sz="78456" autoAdjust="0"/>
  </p:normalViewPr>
  <p:slideViewPr>
    <p:cSldViewPr snapToGrid="0">
      <p:cViewPr varScale="1">
        <p:scale>
          <a:sx n="53" d="100"/>
          <a:sy n="53" d="100"/>
        </p:scale>
        <p:origin x="90"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556869481131364"/>
          <c:y val="3.2093355136292231E-2"/>
          <c:w val="0.83675279162662264"/>
          <c:h val="0.84445910635742483"/>
        </c:manualLayout>
      </c:layout>
      <c:scatterChart>
        <c:scatterStyle val="lineMarker"/>
        <c:varyColors val="0"/>
        <c:ser>
          <c:idx val="1"/>
          <c:order val="0"/>
          <c:tx>
            <c:strRef>
              <c:f>[Book1]Sheet1!$F$3</c:f>
              <c:strCache>
                <c:ptCount val="1"/>
                <c:pt idx="0">
                  <c:v>RCP 8.5</c:v>
                </c:pt>
              </c:strCache>
            </c:strRef>
          </c:tx>
          <c:spPr>
            <a:ln w="25400" cap="rnd">
              <a:noFill/>
              <a:round/>
            </a:ln>
            <a:effectLst/>
          </c:spPr>
          <c:marker>
            <c:symbol val="circle"/>
            <c:size val="5"/>
            <c:spPr>
              <a:noFill/>
              <a:ln w="9525">
                <a:noFill/>
              </a:ln>
              <a:effectLst/>
            </c:spPr>
          </c:marker>
          <c:xVal>
            <c:numRef>
              <c:f>[Book1]Sheet1!$D$4:$D$144</c:f>
              <c:numCache>
                <c:formatCode>General</c:formatCode>
                <c:ptCount val="141"/>
                <c:pt idx="0">
                  <c:v>22.912062029144543</c:v>
                </c:pt>
                <c:pt idx="1">
                  <c:v>22.563535939216795</c:v>
                </c:pt>
                <c:pt idx="2">
                  <c:v>22.529406045654326</c:v>
                </c:pt>
                <c:pt idx="3">
                  <c:v>22.052437217801543</c:v>
                </c:pt>
                <c:pt idx="10" formatCode="0.00">
                  <c:v>22.807247444047004</c:v>
                </c:pt>
                <c:pt idx="11" formatCode="0.00">
                  <c:v>22.945068703000736</c:v>
                </c:pt>
                <c:pt idx="12" formatCode="0.00">
                  <c:v>21.203133035712131</c:v>
                </c:pt>
                <c:pt idx="13" formatCode="0.00">
                  <c:v>22.613086142615494</c:v>
                </c:pt>
                <c:pt idx="14" formatCode="0.00">
                  <c:v>22.608235245866663</c:v>
                </c:pt>
                <c:pt idx="15" formatCode="0.00">
                  <c:v>22.941850712992231</c:v>
                </c:pt>
                <c:pt idx="16" formatCode="0.00">
                  <c:v>21.219552528173928</c:v>
                </c:pt>
                <c:pt idx="17" formatCode="0.00">
                  <c:v>21.311523762457082</c:v>
                </c:pt>
                <c:pt idx="18" formatCode="0.00">
                  <c:v>21.778171931922106</c:v>
                </c:pt>
                <c:pt idx="19" formatCode="0.00">
                  <c:v>22.821649747815425</c:v>
                </c:pt>
                <c:pt idx="20" formatCode="0.00">
                  <c:v>20.387387578679146</c:v>
                </c:pt>
                <c:pt idx="21" formatCode="0.00">
                  <c:v>22.965893594151876</c:v>
                </c:pt>
                <c:pt idx="22" formatCode="0.00">
                  <c:v>22.490238563806908</c:v>
                </c:pt>
                <c:pt idx="23" formatCode="0.00">
                  <c:v>22.733932152523888</c:v>
                </c:pt>
                <c:pt idx="24" formatCode="0.00">
                  <c:v>20.562178956074526</c:v>
                </c:pt>
                <c:pt idx="25" formatCode="0.00">
                  <c:v>20.242587943911683</c:v>
                </c:pt>
                <c:pt idx="26" formatCode="0.00">
                  <c:v>21.673667572667878</c:v>
                </c:pt>
                <c:pt idx="27" formatCode="0.00">
                  <c:v>21.98912707491742</c:v>
                </c:pt>
                <c:pt idx="28" formatCode="0.00">
                  <c:v>21.286157973084087</c:v>
                </c:pt>
                <c:pt idx="29" formatCode="0.00">
                  <c:v>21.706005426608964</c:v>
                </c:pt>
                <c:pt idx="30" formatCode="0.00">
                  <c:v>20.651783781212607</c:v>
                </c:pt>
                <c:pt idx="31" formatCode="0.00">
                  <c:v>22.507626260047914</c:v>
                </c:pt>
                <c:pt idx="32" formatCode="0.00">
                  <c:v>22.920537556139248</c:v>
                </c:pt>
                <c:pt idx="33" formatCode="0.00">
                  <c:v>20.43278743058875</c:v>
                </c:pt>
                <c:pt idx="34" formatCode="0.00">
                  <c:v>20.478165691166758</c:v>
                </c:pt>
                <c:pt idx="35" formatCode="0.00">
                  <c:v>20.141089425605745</c:v>
                </c:pt>
                <c:pt idx="36" formatCode="0.00">
                  <c:v>22.666227369287604</c:v>
                </c:pt>
                <c:pt idx="37" formatCode="0.00">
                  <c:v>21.084230118509019</c:v>
                </c:pt>
                <c:pt idx="38" formatCode="0.00">
                  <c:v>21.101789727012132</c:v>
                </c:pt>
                <c:pt idx="39" formatCode="0.00">
                  <c:v>21.418441382163063</c:v>
                </c:pt>
                <c:pt idx="40" formatCode="0.00">
                  <c:v>22.042918581813506</c:v>
                </c:pt>
                <c:pt idx="41" formatCode="0.00">
                  <c:v>21.910865934804658</c:v>
                </c:pt>
                <c:pt idx="42" formatCode="0.00">
                  <c:v>21.127387618499721</c:v>
                </c:pt>
                <c:pt idx="43" formatCode="0.00">
                  <c:v>22.995953522023768</c:v>
                </c:pt>
                <c:pt idx="44" formatCode="0.00">
                  <c:v>21.527542599768577</c:v>
                </c:pt>
                <c:pt idx="45" formatCode="0.00">
                  <c:v>20.585855764827581</c:v>
                </c:pt>
                <c:pt idx="46" formatCode="0.00">
                  <c:v>22.368693449662924</c:v>
                </c:pt>
                <c:pt idx="47" formatCode="0.00">
                  <c:v>22.148518116462718</c:v>
                </c:pt>
                <c:pt idx="48" formatCode="0.00">
                  <c:v>22.114769981495314</c:v>
                </c:pt>
                <c:pt idx="49" formatCode="0.00">
                  <c:v>20.500030042296743</c:v>
                </c:pt>
                <c:pt idx="50" formatCode="0.00">
                  <c:v>22.984741541952847</c:v>
                </c:pt>
                <c:pt idx="51" formatCode="0.00">
                  <c:v>22.785278270248504</c:v>
                </c:pt>
                <c:pt idx="52" formatCode="0.00">
                  <c:v>22.727164000485704</c:v>
                </c:pt>
                <c:pt idx="53" formatCode="0.00">
                  <c:v>20.926824686518927</c:v>
                </c:pt>
                <c:pt idx="54" formatCode="0.00">
                  <c:v>20.929077983034457</c:v>
                </c:pt>
                <c:pt idx="55" formatCode="0.00">
                  <c:v>22.002285730486133</c:v>
                </c:pt>
                <c:pt idx="56" formatCode="0.00">
                  <c:v>22.043645224744239</c:v>
                </c:pt>
                <c:pt idx="57" formatCode="0.00">
                  <c:v>20.368362811559912</c:v>
                </c:pt>
                <c:pt idx="58" formatCode="0.00">
                  <c:v>22.834891129151494</c:v>
                </c:pt>
                <c:pt idx="59" formatCode="0.00">
                  <c:v>21.756983234717332</c:v>
                </c:pt>
                <c:pt idx="60" formatCode="0.00">
                  <c:v>21.357676529551281</c:v>
                </c:pt>
                <c:pt idx="61" formatCode="0.00">
                  <c:v>20.232088969461856</c:v>
                </c:pt>
                <c:pt idx="62" formatCode="0.00">
                  <c:v>22.281465153006405</c:v>
                </c:pt>
                <c:pt idx="63" formatCode="0.00">
                  <c:v>21.852227014301903</c:v>
                </c:pt>
                <c:pt idx="64" formatCode="0.00">
                  <c:v>20.187454176301202</c:v>
                </c:pt>
                <c:pt idx="65" formatCode="0.00">
                  <c:v>21.831664839625127</c:v>
                </c:pt>
                <c:pt idx="66" formatCode="0.00">
                  <c:v>21.586331194316443</c:v>
                </c:pt>
                <c:pt idx="67" formatCode="0.00">
                  <c:v>21.534457288153078</c:v>
                </c:pt>
                <c:pt idx="68" formatCode="0.00">
                  <c:v>20.904636932565083</c:v>
                </c:pt>
                <c:pt idx="69" formatCode="0.00">
                  <c:v>21.54534741676769</c:v>
                </c:pt>
                <c:pt idx="70" formatCode="0.00">
                  <c:v>20.106466265883274</c:v>
                </c:pt>
                <c:pt idx="71" formatCode="0.00">
                  <c:v>21.649894926917398</c:v>
                </c:pt>
                <c:pt idx="72" formatCode="0.00">
                  <c:v>21.612504166984593</c:v>
                </c:pt>
                <c:pt idx="73" formatCode="0.00">
                  <c:v>20.761972139544987</c:v>
                </c:pt>
                <c:pt idx="74" formatCode="0.00">
                  <c:v>20.976468188418821</c:v>
                </c:pt>
                <c:pt idx="75" formatCode="0.00">
                  <c:v>21.748685985534379</c:v>
                </c:pt>
                <c:pt idx="76" formatCode="0.00">
                  <c:v>22.505367814349604</c:v>
                </c:pt>
                <c:pt idx="77" formatCode="0.00">
                  <c:v>21.441685193753717</c:v>
                </c:pt>
                <c:pt idx="78" formatCode="0.00">
                  <c:v>21.594830297788175</c:v>
                </c:pt>
                <c:pt idx="79" formatCode="0.00">
                  <c:v>22.830446785254587</c:v>
                </c:pt>
                <c:pt idx="80" formatCode="0.00">
                  <c:v>22.603203346144831</c:v>
                </c:pt>
                <c:pt idx="81" formatCode="0.00">
                  <c:v>21.324926256265741</c:v>
                </c:pt>
                <c:pt idx="82" formatCode="0.00">
                  <c:v>20.481862637764284</c:v>
                </c:pt>
                <c:pt idx="83" formatCode="0.00">
                  <c:v>20.484571312883034</c:v>
                </c:pt>
                <c:pt idx="84" formatCode="0.00">
                  <c:v>20.944028563047631</c:v>
                </c:pt>
                <c:pt idx="85" formatCode="0.00">
                  <c:v>22.627602941263437</c:v>
                </c:pt>
                <c:pt idx="86" formatCode="0.00">
                  <c:v>20.160660457299848</c:v>
                </c:pt>
                <c:pt idx="87" formatCode="0.00">
                  <c:v>22.416435120544751</c:v>
                </c:pt>
                <c:pt idx="88" formatCode="0.00">
                  <c:v>21.188228123312051</c:v>
                </c:pt>
                <c:pt idx="89" formatCode="0.00">
                  <c:v>22.563912939180575</c:v>
                </c:pt>
                <c:pt idx="90" formatCode="0.00">
                  <c:v>20.018642888642137</c:v>
                </c:pt>
                <c:pt idx="91" formatCode="0.00">
                  <c:v>21.720463132322234</c:v>
                </c:pt>
                <c:pt idx="92" formatCode="0.00">
                  <c:v>22.072924894516923</c:v>
                </c:pt>
                <c:pt idx="93" formatCode="0.00">
                  <c:v>20.900302270589687</c:v>
                </c:pt>
                <c:pt idx="94" formatCode="0.00">
                  <c:v>20.985771276597745</c:v>
                </c:pt>
                <c:pt idx="95" formatCode="0.00">
                  <c:v>21.574579579412443</c:v>
                </c:pt>
                <c:pt idx="96" formatCode="0.00">
                  <c:v>21.070734330337409</c:v>
                </c:pt>
                <c:pt idx="97" formatCode="0.00">
                  <c:v>20.949777582977351</c:v>
                </c:pt>
                <c:pt idx="98" formatCode="0.00">
                  <c:v>22.147000508746046</c:v>
                </c:pt>
                <c:pt idx="99" formatCode="0.00">
                  <c:v>20.350917635797348</c:v>
                </c:pt>
                <c:pt idx="100" formatCode="0.00">
                  <c:v>21.548761513826562</c:v>
                </c:pt>
                <c:pt idx="101" formatCode="0.00">
                  <c:v>22.794194597704298</c:v>
                </c:pt>
                <c:pt idx="102" formatCode="0.00">
                  <c:v>20.008168780406475</c:v>
                </c:pt>
                <c:pt idx="103" formatCode="0.00">
                  <c:v>22.438280721748701</c:v>
                </c:pt>
                <c:pt idx="104" formatCode="0.00">
                  <c:v>20.173896777294743</c:v>
                </c:pt>
                <c:pt idx="105" formatCode="0.00">
                  <c:v>21.176959109659133</c:v>
                </c:pt>
                <c:pt idx="106" formatCode="0.00">
                  <c:v>20.901310076851804</c:v>
                </c:pt>
                <c:pt idx="107" formatCode="0.00">
                  <c:v>20.006657670438464</c:v>
                </c:pt>
                <c:pt idx="108" formatCode="0.00">
                  <c:v>21.411462826167941</c:v>
                </c:pt>
                <c:pt idx="109" formatCode="0.00">
                  <c:v>22.529015186805506</c:v>
                </c:pt>
                <c:pt idx="110" formatCode="0.00">
                  <c:v>22.628404266638931</c:v>
                </c:pt>
                <c:pt idx="111" formatCode="0.00">
                  <c:v>21.75074972044575</c:v>
                </c:pt>
                <c:pt idx="112" formatCode="0.00">
                  <c:v>22.12267675708107</c:v>
                </c:pt>
                <c:pt idx="113" formatCode="0.00">
                  <c:v>22.751453719674746</c:v>
                </c:pt>
                <c:pt idx="114" formatCode="0.00">
                  <c:v>21.356392952776783</c:v>
                </c:pt>
                <c:pt idx="115" formatCode="0.00">
                  <c:v>21.274988694403117</c:v>
                </c:pt>
                <c:pt idx="116" formatCode="0.00">
                  <c:v>21.241977317129098</c:v>
                </c:pt>
                <c:pt idx="117" formatCode="0.00">
                  <c:v>22.51657441497316</c:v>
                </c:pt>
                <c:pt idx="118" formatCode="0.00">
                  <c:v>22.585118753401591</c:v>
                </c:pt>
                <c:pt idx="119" formatCode="0.00">
                  <c:v>21.853742917181492</c:v>
                </c:pt>
                <c:pt idx="120" formatCode="0.00">
                  <c:v>21.209327776427777</c:v>
                </c:pt>
                <c:pt idx="121" formatCode="0.00">
                  <c:v>22.790003520812135</c:v>
                </c:pt>
                <c:pt idx="122" formatCode="0.00">
                  <c:v>20.948347112657501</c:v>
                </c:pt>
                <c:pt idx="123" formatCode="0.00">
                  <c:v>21.394704416746535</c:v>
                </c:pt>
                <c:pt idx="124" formatCode="0.00">
                  <c:v>22.905369079460936</c:v>
                </c:pt>
                <c:pt idx="125" formatCode="0.00">
                  <c:v>20.283059586377593</c:v>
                </c:pt>
                <c:pt idx="126" formatCode="0.00">
                  <c:v>21.404744891168487</c:v>
                </c:pt>
                <c:pt idx="127" formatCode="0.00">
                  <c:v>22.676078839928312</c:v>
                </c:pt>
                <c:pt idx="128" formatCode="0.00">
                  <c:v>22.12150232156257</c:v>
                </c:pt>
                <c:pt idx="129" formatCode="0.00">
                  <c:v>21.535830217773221</c:v>
                </c:pt>
                <c:pt idx="130" formatCode="0.00">
                  <c:v>20.43399801155989</c:v>
                </c:pt>
                <c:pt idx="131" formatCode="0.00">
                  <c:v>22.017984034931196</c:v>
                </c:pt>
                <c:pt idx="132" formatCode="0.00">
                  <c:v>20.087930573738873</c:v>
                </c:pt>
                <c:pt idx="133" formatCode="0.00">
                  <c:v>22.538611906453902</c:v>
                </c:pt>
                <c:pt idx="134" formatCode="0.00">
                  <c:v>22.489558144969358</c:v>
                </c:pt>
                <c:pt idx="135" formatCode="0.00">
                  <c:v>22.378116272022471</c:v>
                </c:pt>
                <c:pt idx="136" formatCode="0.00">
                  <c:v>22.279256897864748</c:v>
                </c:pt>
                <c:pt idx="137" formatCode="0.00">
                  <c:v>22.713502212812706</c:v>
                </c:pt>
                <c:pt idx="138" formatCode="0.00">
                  <c:v>21.92701828852617</c:v>
                </c:pt>
                <c:pt idx="139" formatCode="0.00">
                  <c:v>22.111844768512647</c:v>
                </c:pt>
                <c:pt idx="140" formatCode="0.00">
                  <c:v>22.885538459654416</c:v>
                </c:pt>
              </c:numCache>
            </c:numRef>
          </c:xVal>
          <c:yVal>
            <c:numRef>
              <c:f>[Book1]Sheet1!$F$4:$F$144</c:f>
              <c:numCache>
                <c:formatCode>General</c:formatCode>
                <c:ptCount val="141"/>
                <c:pt idx="0">
                  <c:v>889.13837308770849</c:v>
                </c:pt>
                <c:pt idx="1">
                  <c:v>831.08576444840048</c:v>
                </c:pt>
                <c:pt idx="2">
                  <c:v>789.79709307837925</c:v>
                </c:pt>
                <c:pt idx="3">
                  <c:v>672.87464817257876</c:v>
                </c:pt>
                <c:pt idx="10">
                  <c:v>1168.6458476560729</c:v>
                </c:pt>
                <c:pt idx="11">
                  <c:v>927.93069500055697</c:v>
                </c:pt>
                <c:pt idx="12">
                  <c:v>608.76156589797699</c:v>
                </c:pt>
                <c:pt idx="13">
                  <c:v>1156.7904365855959</c:v>
                </c:pt>
                <c:pt idx="14">
                  <c:v>1383.1535330943473</c:v>
                </c:pt>
                <c:pt idx="15">
                  <c:v>1043.0438068057988</c:v>
                </c:pt>
                <c:pt idx="16">
                  <c:v>1173.7927397493754</c:v>
                </c:pt>
                <c:pt idx="17">
                  <c:v>862.13966488451752</c:v>
                </c:pt>
                <c:pt idx="18">
                  <c:v>1245.9123206794472</c:v>
                </c:pt>
                <c:pt idx="19">
                  <c:v>1386.0539922028788</c:v>
                </c:pt>
                <c:pt idx="20">
                  <c:v>1346.7840428944687</c:v>
                </c:pt>
                <c:pt idx="21">
                  <c:v>607.41402501370862</c:v>
                </c:pt>
                <c:pt idx="22">
                  <c:v>1387.32546409471</c:v>
                </c:pt>
                <c:pt idx="23">
                  <c:v>987.11980225653747</c:v>
                </c:pt>
                <c:pt idx="24">
                  <c:v>1220.7821887479281</c:v>
                </c:pt>
                <c:pt idx="25">
                  <c:v>627.85375967625271</c:v>
                </c:pt>
                <c:pt idx="26">
                  <c:v>1317.7127062600243</c:v>
                </c:pt>
                <c:pt idx="27">
                  <c:v>847.60108805181801</c:v>
                </c:pt>
                <c:pt idx="28">
                  <c:v>675.18666071019459</c:v>
                </c:pt>
                <c:pt idx="29">
                  <c:v>678.40827368630266</c:v>
                </c:pt>
                <c:pt idx="30">
                  <c:v>1353.6935240655289</c:v>
                </c:pt>
                <c:pt idx="31">
                  <c:v>862.86235890054832</c:v>
                </c:pt>
                <c:pt idx="32">
                  <c:v>1146.479329461067</c:v>
                </c:pt>
                <c:pt idx="33">
                  <c:v>936.39997145177404</c:v>
                </c:pt>
                <c:pt idx="34">
                  <c:v>690.76022282713791</c:v>
                </c:pt>
                <c:pt idx="35">
                  <c:v>988.3401417366639</c:v>
                </c:pt>
                <c:pt idx="36">
                  <c:v>1167.4341601138071</c:v>
                </c:pt>
                <c:pt idx="37">
                  <c:v>1225.6330361371624</c:v>
                </c:pt>
                <c:pt idx="38">
                  <c:v>795.56896496849799</c:v>
                </c:pt>
                <c:pt idx="39">
                  <c:v>1027.5826757938059</c:v>
                </c:pt>
                <c:pt idx="40">
                  <c:v>907.82479905473031</c:v>
                </c:pt>
                <c:pt idx="41">
                  <c:v>1007.5596968555403</c:v>
                </c:pt>
                <c:pt idx="42">
                  <c:v>693.4908614668949</c:v>
                </c:pt>
                <c:pt idx="43">
                  <c:v>977.65334853630497</c:v>
                </c:pt>
                <c:pt idx="44">
                  <c:v>1152.9610727558586</c:v>
                </c:pt>
                <c:pt idx="45">
                  <c:v>907.82494794247339</c:v>
                </c:pt>
                <c:pt idx="46">
                  <c:v>885.31359860746443</c:v>
                </c:pt>
                <c:pt idx="47">
                  <c:v>707.52878081056724</c:v>
                </c:pt>
                <c:pt idx="48">
                  <c:v>959.52000682544099</c:v>
                </c:pt>
                <c:pt idx="49">
                  <c:v>955.12539316421021</c:v>
                </c:pt>
                <c:pt idx="50">
                  <c:v>1093.6393501497037</c:v>
                </c:pt>
                <c:pt idx="51">
                  <c:v>690.9413422466132</c:v>
                </c:pt>
                <c:pt idx="52">
                  <c:v>917.46600424352368</c:v>
                </c:pt>
                <c:pt idx="53">
                  <c:v>813.08720882737884</c:v>
                </c:pt>
                <c:pt idx="54">
                  <c:v>1321.3143658049667</c:v>
                </c:pt>
                <c:pt idx="55">
                  <c:v>857.11522154292811</c:v>
                </c:pt>
                <c:pt idx="56">
                  <c:v>1030.4789778746781</c:v>
                </c:pt>
                <c:pt idx="57">
                  <c:v>884.20130421135138</c:v>
                </c:pt>
                <c:pt idx="58">
                  <c:v>1253.5530459613997</c:v>
                </c:pt>
                <c:pt idx="59">
                  <c:v>1328.9022466324511</c:v>
                </c:pt>
                <c:pt idx="60">
                  <c:v>1016.2725425304667</c:v>
                </c:pt>
                <c:pt idx="61">
                  <c:v>1247.8455069171382</c:v>
                </c:pt>
                <c:pt idx="62">
                  <c:v>768.60448155693325</c:v>
                </c:pt>
                <c:pt idx="63">
                  <c:v>645.28677733498398</c:v>
                </c:pt>
                <c:pt idx="64">
                  <c:v>704.05040171999212</c:v>
                </c:pt>
                <c:pt idx="65">
                  <c:v>788.2036393698063</c:v>
                </c:pt>
                <c:pt idx="66">
                  <c:v>1363.162423802301</c:v>
                </c:pt>
                <c:pt idx="67">
                  <c:v>1277.1660446044762</c:v>
                </c:pt>
                <c:pt idx="68">
                  <c:v>891.85154575331558</c:v>
                </c:pt>
                <c:pt idx="69">
                  <c:v>967.55848563871677</c:v>
                </c:pt>
                <c:pt idx="70">
                  <c:v>869.20810877024405</c:v>
                </c:pt>
                <c:pt idx="71">
                  <c:v>680.00423629175771</c:v>
                </c:pt>
                <c:pt idx="72">
                  <c:v>706.31906472557807</c:v>
                </c:pt>
                <c:pt idx="73">
                  <c:v>1012.2840034142918</c:v>
                </c:pt>
                <c:pt idx="74">
                  <c:v>1099.2003951093743</c:v>
                </c:pt>
                <c:pt idx="75">
                  <c:v>621.65685771894664</c:v>
                </c:pt>
                <c:pt idx="76">
                  <c:v>832.28451623832802</c:v>
                </c:pt>
                <c:pt idx="77">
                  <c:v>1125.7012396970622</c:v>
                </c:pt>
                <c:pt idx="78">
                  <c:v>1125.3341720517535</c:v>
                </c:pt>
                <c:pt idx="79">
                  <c:v>775.52730411763321</c:v>
                </c:pt>
                <c:pt idx="80">
                  <c:v>669.07377928242352</c:v>
                </c:pt>
                <c:pt idx="81">
                  <c:v>1337.3777017848961</c:v>
                </c:pt>
                <c:pt idx="82">
                  <c:v>953.73474773600697</c:v>
                </c:pt>
                <c:pt idx="83">
                  <c:v>1184.5880703561202</c:v>
                </c:pt>
                <c:pt idx="84">
                  <c:v>683.60398884853316</c:v>
                </c:pt>
                <c:pt idx="85">
                  <c:v>1277.7399258186242</c:v>
                </c:pt>
                <c:pt idx="86">
                  <c:v>1064.130457761996</c:v>
                </c:pt>
                <c:pt idx="87">
                  <c:v>1396.3500866204722</c:v>
                </c:pt>
                <c:pt idx="88">
                  <c:v>1222.5835401452707</c:v>
                </c:pt>
                <c:pt idx="89">
                  <c:v>934.25280169654388</c:v>
                </c:pt>
                <c:pt idx="90">
                  <c:v>1357.5918203476472</c:v>
                </c:pt>
                <c:pt idx="91">
                  <c:v>736.05848278102258</c:v>
                </c:pt>
                <c:pt idx="92">
                  <c:v>1094.9801842209599</c:v>
                </c:pt>
                <c:pt idx="93">
                  <c:v>884.41982898899346</c:v>
                </c:pt>
                <c:pt idx="94">
                  <c:v>932.94260204014688</c:v>
                </c:pt>
                <c:pt idx="95">
                  <c:v>1336.646055163344</c:v>
                </c:pt>
                <c:pt idx="96">
                  <c:v>1380.6433198125203</c:v>
                </c:pt>
                <c:pt idx="97">
                  <c:v>1066.7282998906323</c:v>
                </c:pt>
                <c:pt idx="98">
                  <c:v>1199.4895345887876</c:v>
                </c:pt>
                <c:pt idx="99">
                  <c:v>1203.9863817489831</c:v>
                </c:pt>
                <c:pt idx="100">
                  <c:v>1328.2503234338724</c:v>
                </c:pt>
                <c:pt idx="101">
                  <c:v>1065.0010514889079</c:v>
                </c:pt>
                <c:pt idx="102">
                  <c:v>1145.3202680513095</c:v>
                </c:pt>
                <c:pt idx="103">
                  <c:v>1000.7331031417357</c:v>
                </c:pt>
                <c:pt idx="104">
                  <c:v>740.33939024531594</c:v>
                </c:pt>
                <c:pt idx="105">
                  <c:v>1118.0158504262226</c:v>
                </c:pt>
                <c:pt idx="106">
                  <c:v>1241.6667453989248</c:v>
                </c:pt>
                <c:pt idx="107">
                  <c:v>851.70897099638091</c:v>
                </c:pt>
                <c:pt idx="108">
                  <c:v>917.89651560804487</c:v>
                </c:pt>
                <c:pt idx="109">
                  <c:v>1200.8683867882596</c:v>
                </c:pt>
                <c:pt idx="110">
                  <c:v>946.2970309716186</c:v>
                </c:pt>
                <c:pt idx="111">
                  <c:v>750.68508387647603</c:v>
                </c:pt>
                <c:pt idx="112">
                  <c:v>638.18685555401203</c:v>
                </c:pt>
                <c:pt idx="113">
                  <c:v>903.82288778257578</c:v>
                </c:pt>
                <c:pt idx="114">
                  <c:v>1118.4654939150755</c:v>
                </c:pt>
                <c:pt idx="115">
                  <c:v>1044.6079245537915</c:v>
                </c:pt>
                <c:pt idx="116">
                  <c:v>849.93746744413261</c:v>
                </c:pt>
                <c:pt idx="117">
                  <c:v>1217.1480454449852</c:v>
                </c:pt>
                <c:pt idx="118">
                  <c:v>835.08229753721491</c:v>
                </c:pt>
                <c:pt idx="119">
                  <c:v>1221.8552839971589</c:v>
                </c:pt>
                <c:pt idx="120">
                  <c:v>1307.4744260851348</c:v>
                </c:pt>
                <c:pt idx="121">
                  <c:v>793.13106084579033</c:v>
                </c:pt>
                <c:pt idx="122">
                  <c:v>1306.3119178329405</c:v>
                </c:pt>
                <c:pt idx="123">
                  <c:v>1321.6323714119676</c:v>
                </c:pt>
                <c:pt idx="124">
                  <c:v>929.84143645774134</c:v>
                </c:pt>
                <c:pt idx="125">
                  <c:v>1161.7928138478992</c:v>
                </c:pt>
                <c:pt idx="126">
                  <c:v>1356.4387398936963</c:v>
                </c:pt>
                <c:pt idx="127">
                  <c:v>1060.9919357011713</c:v>
                </c:pt>
                <c:pt idx="128">
                  <c:v>617.4260755443338</c:v>
                </c:pt>
                <c:pt idx="129">
                  <c:v>1031.737795127643</c:v>
                </c:pt>
                <c:pt idx="130">
                  <c:v>1251.3145158106961</c:v>
                </c:pt>
                <c:pt idx="131">
                  <c:v>1301.7452254952987</c:v>
                </c:pt>
                <c:pt idx="132">
                  <c:v>654.07992738075359</c:v>
                </c:pt>
                <c:pt idx="133">
                  <c:v>1000.3147014147419</c:v>
                </c:pt>
                <c:pt idx="134">
                  <c:v>1267.3036543367791</c:v>
                </c:pt>
                <c:pt idx="135">
                  <c:v>1127.8646011949554</c:v>
                </c:pt>
                <c:pt idx="136">
                  <c:v>1357.4030777785235</c:v>
                </c:pt>
                <c:pt idx="137">
                  <c:v>1209.4643906203369</c:v>
                </c:pt>
                <c:pt idx="138">
                  <c:v>788.3099679952129</c:v>
                </c:pt>
                <c:pt idx="139">
                  <c:v>688.85187894616456</c:v>
                </c:pt>
                <c:pt idx="140">
                  <c:v>1264.3650587368663</c:v>
                </c:pt>
              </c:numCache>
            </c:numRef>
          </c:yVal>
          <c:smooth val="0"/>
          <c:extLst xmlns:c16r2="http://schemas.microsoft.com/office/drawing/2015/06/chart">
            <c:ext xmlns:c16="http://schemas.microsoft.com/office/drawing/2014/chart" uri="{C3380CC4-5D6E-409C-BE32-E72D297353CC}">
              <c16:uniqueId val="{00000001-062E-4189-A312-1FFCB93B1D07}"/>
            </c:ext>
          </c:extLst>
        </c:ser>
        <c:dLbls>
          <c:showLegendKey val="0"/>
          <c:showVal val="0"/>
          <c:showCatName val="0"/>
          <c:showSerName val="0"/>
          <c:showPercent val="0"/>
          <c:showBubbleSize val="0"/>
        </c:dLbls>
        <c:axId val="159626000"/>
        <c:axId val="116208592"/>
      </c:scatterChart>
      <c:valAx>
        <c:axId val="159626000"/>
        <c:scaling>
          <c:orientation val="minMax"/>
        </c:scaling>
        <c:delete val="0"/>
        <c:axPos val="b"/>
        <c:majorGridlines>
          <c:spPr>
            <a:ln w="9525" cap="flat" cmpd="sng" algn="ctr">
              <a:no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Maximum</a:t>
                </a:r>
                <a:r>
                  <a:rPr lang="en-US" baseline="0" dirty="0"/>
                  <a:t> Daily Rainfall (cm)</a:t>
                </a:r>
                <a:endParaRPr lang="en-US" dirty="0"/>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6208592"/>
        <c:crosses val="autoZero"/>
        <c:crossBetween val="midCat"/>
        <c:majorUnit val="1"/>
      </c:valAx>
      <c:valAx>
        <c:axId val="116208592"/>
        <c:scaling>
          <c:orientation val="minMax"/>
          <c:min val="40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Nearby River Flowrate (m</a:t>
                </a:r>
                <a:r>
                  <a:rPr lang="en-US" sz="1000" baseline="30000" dirty="0"/>
                  <a:t>3</a:t>
                </a:r>
                <a:r>
                  <a:rPr lang="en-US" dirty="0"/>
                  <a:t>/s)</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626000"/>
        <c:crosses val="autoZero"/>
        <c:crossBetween val="midCat"/>
      </c:valAx>
      <c:spPr>
        <a:noFill/>
        <a:ln w="25400">
          <a:noFill/>
        </a:ln>
        <a:effectLst/>
      </c:spPr>
    </c:plotArea>
    <c:legend>
      <c:legendPos val="r"/>
      <c:layout>
        <c:manualLayout>
          <c:xMode val="edge"/>
          <c:yMode val="edge"/>
          <c:x val="0.86845955027016153"/>
          <c:y val="0.47685579768642977"/>
          <c:w val="9.1365381333366233E-2"/>
          <c:h val="4.6288404627140456E-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strRef>
              <c:f>[Book1]Sheet1!$N$55</c:f>
              <c:strCache>
                <c:ptCount val="1"/>
                <c:pt idx="0">
                  <c:v>RCP8.5 95th</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Book1]Sheet1!$M$56:$M$59</c:f>
              <c:numCache>
                <c:formatCode>General</c:formatCode>
                <c:ptCount val="4"/>
                <c:pt idx="0">
                  <c:v>2015</c:v>
                </c:pt>
                <c:pt idx="1">
                  <c:v>2035</c:v>
                </c:pt>
                <c:pt idx="2">
                  <c:v>2065</c:v>
                </c:pt>
                <c:pt idx="3">
                  <c:v>2090</c:v>
                </c:pt>
              </c:numCache>
            </c:numRef>
          </c:xVal>
          <c:yVal>
            <c:numRef>
              <c:f>[Book1]Sheet1!$N$56:$N$59</c:f>
              <c:numCache>
                <c:formatCode>General</c:formatCode>
                <c:ptCount val="4"/>
                <c:pt idx="0">
                  <c:v>0.1</c:v>
                </c:pt>
                <c:pt idx="1">
                  <c:v>0.15</c:v>
                </c:pt>
                <c:pt idx="2">
                  <c:v>0.18</c:v>
                </c:pt>
                <c:pt idx="3">
                  <c:v>0.2</c:v>
                </c:pt>
              </c:numCache>
            </c:numRef>
          </c:yVal>
          <c:smooth val="0"/>
          <c:extLst xmlns:c16r2="http://schemas.microsoft.com/office/drawing/2015/06/chart">
            <c:ext xmlns:c16="http://schemas.microsoft.com/office/drawing/2014/chart" uri="{C3380CC4-5D6E-409C-BE32-E72D297353CC}">
              <c16:uniqueId val="{00000000-10D6-4829-806F-7A34194EC1A7}"/>
            </c:ext>
          </c:extLst>
        </c:ser>
        <c:ser>
          <c:idx val="1"/>
          <c:order val="1"/>
          <c:tx>
            <c:strRef>
              <c:f>[Book1]Sheet1!$O$55</c:f>
              <c:strCache>
                <c:ptCount val="1"/>
                <c:pt idx="0">
                  <c:v>RCP8.5 50th</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Book1]Sheet1!$M$56:$M$59</c:f>
              <c:numCache>
                <c:formatCode>General</c:formatCode>
                <c:ptCount val="4"/>
                <c:pt idx="0">
                  <c:v>2015</c:v>
                </c:pt>
                <c:pt idx="1">
                  <c:v>2035</c:v>
                </c:pt>
                <c:pt idx="2">
                  <c:v>2065</c:v>
                </c:pt>
                <c:pt idx="3">
                  <c:v>2090</c:v>
                </c:pt>
              </c:numCache>
            </c:numRef>
          </c:xVal>
          <c:yVal>
            <c:numRef>
              <c:f>[Book1]Sheet1!$O$56:$O$59</c:f>
              <c:numCache>
                <c:formatCode>General</c:formatCode>
                <c:ptCount val="4"/>
                <c:pt idx="0">
                  <c:v>0.1</c:v>
                </c:pt>
                <c:pt idx="1">
                  <c:v>0.14000000000000001</c:v>
                </c:pt>
                <c:pt idx="2">
                  <c:v>0.17</c:v>
                </c:pt>
                <c:pt idx="3">
                  <c:v>0.18</c:v>
                </c:pt>
              </c:numCache>
            </c:numRef>
          </c:yVal>
          <c:smooth val="0"/>
          <c:extLst xmlns:c16r2="http://schemas.microsoft.com/office/drawing/2015/06/chart">
            <c:ext xmlns:c16="http://schemas.microsoft.com/office/drawing/2014/chart" uri="{C3380CC4-5D6E-409C-BE32-E72D297353CC}">
              <c16:uniqueId val="{00000001-10D6-4829-806F-7A34194EC1A7}"/>
            </c:ext>
          </c:extLst>
        </c:ser>
        <c:ser>
          <c:idx val="2"/>
          <c:order val="2"/>
          <c:tx>
            <c:strRef>
              <c:f>[Book1]Sheet1!$P$55</c:f>
              <c:strCache>
                <c:ptCount val="1"/>
                <c:pt idx="0">
                  <c:v>RCP8.5 5th</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f>[Book1]Sheet1!$M$56:$M$59</c:f>
              <c:numCache>
                <c:formatCode>General</c:formatCode>
                <c:ptCount val="4"/>
                <c:pt idx="0">
                  <c:v>2015</c:v>
                </c:pt>
                <c:pt idx="1">
                  <c:v>2035</c:v>
                </c:pt>
                <c:pt idx="2">
                  <c:v>2065</c:v>
                </c:pt>
                <c:pt idx="3">
                  <c:v>2090</c:v>
                </c:pt>
              </c:numCache>
            </c:numRef>
          </c:xVal>
          <c:yVal>
            <c:numRef>
              <c:f>[Book1]Sheet1!$P$56:$P$59</c:f>
              <c:numCache>
                <c:formatCode>General</c:formatCode>
                <c:ptCount val="4"/>
                <c:pt idx="0">
                  <c:v>0.1</c:v>
                </c:pt>
                <c:pt idx="1">
                  <c:v>0.12</c:v>
                </c:pt>
                <c:pt idx="2">
                  <c:v>0.14000000000000001</c:v>
                </c:pt>
                <c:pt idx="3">
                  <c:v>0.15</c:v>
                </c:pt>
              </c:numCache>
            </c:numRef>
          </c:yVal>
          <c:smooth val="0"/>
          <c:extLst xmlns:c16r2="http://schemas.microsoft.com/office/drawing/2015/06/chart">
            <c:ext xmlns:c16="http://schemas.microsoft.com/office/drawing/2014/chart" uri="{C3380CC4-5D6E-409C-BE32-E72D297353CC}">
              <c16:uniqueId val="{00000002-10D6-4829-806F-7A34194EC1A7}"/>
            </c:ext>
          </c:extLst>
        </c:ser>
        <c:ser>
          <c:idx val="3"/>
          <c:order val="3"/>
          <c:tx>
            <c:strRef>
              <c:f>[Book1]Sheet1!$Q$55</c:f>
              <c:strCache>
                <c:ptCount val="1"/>
                <c:pt idx="0">
                  <c:v>RCP4.5 95th</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f>[Book1]Sheet1!$M$56:$M$59</c:f>
              <c:numCache>
                <c:formatCode>General</c:formatCode>
                <c:ptCount val="4"/>
                <c:pt idx="0">
                  <c:v>2015</c:v>
                </c:pt>
                <c:pt idx="1">
                  <c:v>2035</c:v>
                </c:pt>
                <c:pt idx="2">
                  <c:v>2065</c:v>
                </c:pt>
                <c:pt idx="3">
                  <c:v>2090</c:v>
                </c:pt>
              </c:numCache>
            </c:numRef>
          </c:xVal>
          <c:yVal>
            <c:numRef>
              <c:f>[Book1]Sheet1!$Q$56:$Q$59</c:f>
              <c:numCache>
                <c:formatCode>General</c:formatCode>
                <c:ptCount val="4"/>
                <c:pt idx="0">
                  <c:v>0.1</c:v>
                </c:pt>
                <c:pt idx="1">
                  <c:v>0.13</c:v>
                </c:pt>
                <c:pt idx="2">
                  <c:v>0.16</c:v>
                </c:pt>
                <c:pt idx="3">
                  <c:v>0.17</c:v>
                </c:pt>
              </c:numCache>
            </c:numRef>
          </c:yVal>
          <c:smooth val="0"/>
          <c:extLst xmlns:c16r2="http://schemas.microsoft.com/office/drawing/2015/06/chart">
            <c:ext xmlns:c16="http://schemas.microsoft.com/office/drawing/2014/chart" uri="{C3380CC4-5D6E-409C-BE32-E72D297353CC}">
              <c16:uniqueId val="{00000003-10D6-4829-806F-7A34194EC1A7}"/>
            </c:ext>
          </c:extLst>
        </c:ser>
        <c:ser>
          <c:idx val="4"/>
          <c:order val="4"/>
          <c:tx>
            <c:strRef>
              <c:f>[Book1]Sheet1!$R$55</c:f>
              <c:strCache>
                <c:ptCount val="1"/>
                <c:pt idx="0">
                  <c:v>RCP4.5 50th</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xVal>
            <c:numRef>
              <c:f>[Book1]Sheet1!$M$56:$M$59</c:f>
              <c:numCache>
                <c:formatCode>General</c:formatCode>
                <c:ptCount val="4"/>
                <c:pt idx="0">
                  <c:v>2015</c:v>
                </c:pt>
                <c:pt idx="1">
                  <c:v>2035</c:v>
                </c:pt>
                <c:pt idx="2">
                  <c:v>2065</c:v>
                </c:pt>
                <c:pt idx="3">
                  <c:v>2090</c:v>
                </c:pt>
              </c:numCache>
            </c:numRef>
          </c:xVal>
          <c:yVal>
            <c:numRef>
              <c:f>[Book1]Sheet1!$R$56:$R$59</c:f>
              <c:numCache>
                <c:formatCode>General</c:formatCode>
                <c:ptCount val="4"/>
                <c:pt idx="0">
                  <c:v>0.1</c:v>
                </c:pt>
                <c:pt idx="1">
                  <c:v>0.11799999999999999</c:v>
                </c:pt>
                <c:pt idx="2">
                  <c:v>0.15</c:v>
                </c:pt>
                <c:pt idx="3">
                  <c:v>0.16</c:v>
                </c:pt>
              </c:numCache>
            </c:numRef>
          </c:yVal>
          <c:smooth val="0"/>
          <c:extLst xmlns:c16r2="http://schemas.microsoft.com/office/drawing/2015/06/chart">
            <c:ext xmlns:c16="http://schemas.microsoft.com/office/drawing/2014/chart" uri="{C3380CC4-5D6E-409C-BE32-E72D297353CC}">
              <c16:uniqueId val="{00000004-10D6-4829-806F-7A34194EC1A7}"/>
            </c:ext>
          </c:extLst>
        </c:ser>
        <c:ser>
          <c:idx val="5"/>
          <c:order val="5"/>
          <c:tx>
            <c:strRef>
              <c:f>[Book1]Sheet1!$S$55</c:f>
              <c:strCache>
                <c:ptCount val="1"/>
                <c:pt idx="0">
                  <c:v>RCP4.5 5th</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xVal>
            <c:numRef>
              <c:f>[Book1]Sheet1!$M$56:$M$59</c:f>
              <c:numCache>
                <c:formatCode>General</c:formatCode>
                <c:ptCount val="4"/>
                <c:pt idx="0">
                  <c:v>2015</c:v>
                </c:pt>
                <c:pt idx="1">
                  <c:v>2035</c:v>
                </c:pt>
                <c:pt idx="2">
                  <c:v>2065</c:v>
                </c:pt>
                <c:pt idx="3">
                  <c:v>2090</c:v>
                </c:pt>
              </c:numCache>
            </c:numRef>
          </c:xVal>
          <c:yVal>
            <c:numRef>
              <c:f>[Book1]Sheet1!$S$56:$S$59</c:f>
              <c:numCache>
                <c:formatCode>General</c:formatCode>
                <c:ptCount val="4"/>
                <c:pt idx="0">
                  <c:v>0.1</c:v>
                </c:pt>
                <c:pt idx="1">
                  <c:v>0.09</c:v>
                </c:pt>
                <c:pt idx="2">
                  <c:v>0.12</c:v>
                </c:pt>
                <c:pt idx="3">
                  <c:v>0.14000000000000001</c:v>
                </c:pt>
              </c:numCache>
            </c:numRef>
          </c:yVal>
          <c:smooth val="0"/>
          <c:extLst xmlns:c16r2="http://schemas.microsoft.com/office/drawing/2015/06/chart">
            <c:ext xmlns:c16="http://schemas.microsoft.com/office/drawing/2014/chart" uri="{C3380CC4-5D6E-409C-BE32-E72D297353CC}">
              <c16:uniqueId val="{00000005-10D6-4829-806F-7A34194EC1A7}"/>
            </c:ext>
          </c:extLst>
        </c:ser>
        <c:ser>
          <c:idx val="6"/>
          <c:order val="6"/>
          <c:tx>
            <c:strRef>
              <c:f>[Book1]Sheet1!$T$55</c:f>
              <c:strCache>
                <c:ptCount val="1"/>
                <c:pt idx="0">
                  <c:v>Baseline</c:v>
                </c:pt>
              </c:strCache>
            </c:strRef>
          </c:tx>
          <c:spPr>
            <a:ln w="38100" cap="rnd">
              <a:solidFill>
                <a:schemeClr val="tx2">
                  <a:lumMod val="50000"/>
                </a:schemeClr>
              </a:solidFill>
              <a:prstDash val="dash"/>
              <a:round/>
            </a:ln>
            <a:effectLst/>
          </c:spPr>
          <c:marker>
            <c:symbol val="circle"/>
            <c:size val="5"/>
            <c:spPr>
              <a:noFill/>
              <a:ln w="9525">
                <a:noFill/>
              </a:ln>
              <a:effectLst/>
            </c:spPr>
          </c:marker>
          <c:xVal>
            <c:numRef>
              <c:f>[Book1]Sheet1!$M$56:$M$59</c:f>
              <c:numCache>
                <c:formatCode>General</c:formatCode>
                <c:ptCount val="4"/>
                <c:pt idx="0">
                  <c:v>2015</c:v>
                </c:pt>
                <c:pt idx="1">
                  <c:v>2035</c:v>
                </c:pt>
                <c:pt idx="2">
                  <c:v>2065</c:v>
                </c:pt>
                <c:pt idx="3">
                  <c:v>2090</c:v>
                </c:pt>
              </c:numCache>
            </c:numRef>
          </c:xVal>
          <c:yVal>
            <c:numRef>
              <c:f>[Book1]Sheet1!$T$56:$T$59</c:f>
              <c:numCache>
                <c:formatCode>General</c:formatCode>
                <c:ptCount val="4"/>
                <c:pt idx="0">
                  <c:v>0.1</c:v>
                </c:pt>
                <c:pt idx="1">
                  <c:v>0.1</c:v>
                </c:pt>
                <c:pt idx="2">
                  <c:v>0.1</c:v>
                </c:pt>
                <c:pt idx="3">
                  <c:v>0.1</c:v>
                </c:pt>
              </c:numCache>
            </c:numRef>
          </c:yVal>
          <c:smooth val="0"/>
          <c:extLst xmlns:c16r2="http://schemas.microsoft.com/office/drawing/2015/06/chart">
            <c:ext xmlns:c16="http://schemas.microsoft.com/office/drawing/2014/chart" uri="{C3380CC4-5D6E-409C-BE32-E72D297353CC}">
              <c16:uniqueId val="{00000006-10D6-4829-806F-7A34194EC1A7}"/>
            </c:ext>
          </c:extLst>
        </c:ser>
        <c:dLbls>
          <c:showLegendKey val="0"/>
          <c:showVal val="0"/>
          <c:showCatName val="0"/>
          <c:showSerName val="0"/>
          <c:showPercent val="0"/>
          <c:showBubbleSize val="0"/>
        </c:dLbls>
        <c:axId val="312108696"/>
        <c:axId val="306060000"/>
      </c:scatterChart>
      <c:valAx>
        <c:axId val="312108696"/>
        <c:scaling>
          <c:orientation val="minMax"/>
          <c:min val="2015"/>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06060000"/>
        <c:crosses val="autoZero"/>
        <c:crossBetween val="midCat"/>
      </c:valAx>
      <c:valAx>
        <c:axId val="3060600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a:t>Rainfall Intensity (in/hr) for 24hr duration</a:t>
                </a:r>
              </a:p>
            </c:rich>
          </c:tx>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12108696"/>
        <c:crosses val="autoZero"/>
        <c:crossBetween val="midCat"/>
      </c:valAx>
      <c:spPr>
        <a:noFill/>
        <a:ln>
          <a:noFill/>
        </a:ln>
        <a:effectLst/>
      </c:spPr>
    </c:plotArea>
    <c:legend>
      <c:legendPos val="r"/>
      <c:layout>
        <c:manualLayout>
          <c:xMode val="edge"/>
          <c:yMode val="edge"/>
          <c:x val="0.72247789860695144"/>
          <c:y val="0.28756530268794789"/>
          <c:w val="0.22115405801565149"/>
          <c:h val="0.4248693946241041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Pavement Major Maintenance Cycle</a:t>
            </a:r>
          </a:p>
        </c:rich>
      </c:tx>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NPV of AAL (2)'!$D$4</c:f>
              <c:strCache>
                <c:ptCount val="1"/>
                <c:pt idx="0">
                  <c:v>Baseline</c:v>
                </c:pt>
              </c:strCache>
            </c:strRef>
          </c:tx>
          <c:spPr>
            <a:solidFill>
              <a:schemeClr val="accent2"/>
            </a:solidFill>
            <a:ln>
              <a:noFill/>
            </a:ln>
            <a:effectLst/>
          </c:spPr>
          <c:invertIfNegative val="0"/>
          <c:cat>
            <c:numRef>
              <c:f>'NPV of AAL (2)'!$C$5:$C$34</c:f>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numCache>
            </c:numRef>
          </c:cat>
          <c:val>
            <c:numRef>
              <c:f>'NPV of AAL (2)'!$D$5:$D$34</c:f>
              <c:numCache>
                <c:formatCode>General</c:formatCode>
                <c:ptCount val="30"/>
                <c:pt idx="0">
                  <c:v>0</c:v>
                </c:pt>
                <c:pt idx="1">
                  <c:v>0</c:v>
                </c:pt>
                <c:pt idx="2">
                  <c:v>0</c:v>
                </c:pt>
                <c:pt idx="3">
                  <c:v>0</c:v>
                </c:pt>
                <c:pt idx="4">
                  <c:v>0</c:v>
                </c:pt>
                <c:pt idx="5">
                  <c:v>1800</c:v>
                </c:pt>
                <c:pt idx="6">
                  <c:v>7200</c:v>
                </c:pt>
                <c:pt idx="7">
                  <c:v>7800</c:v>
                </c:pt>
                <c:pt idx="8">
                  <c:v>2500</c:v>
                </c:pt>
                <c:pt idx="9">
                  <c:v>0</c:v>
                </c:pt>
                <c:pt idx="10">
                  <c:v>0</c:v>
                </c:pt>
                <c:pt idx="11">
                  <c:v>0</c:v>
                </c:pt>
                <c:pt idx="12">
                  <c:v>1440</c:v>
                </c:pt>
                <c:pt idx="13">
                  <c:v>5760</c:v>
                </c:pt>
                <c:pt idx="14">
                  <c:v>6240</c:v>
                </c:pt>
                <c:pt idx="15">
                  <c:v>2000</c:v>
                </c:pt>
                <c:pt idx="16">
                  <c:v>0</c:v>
                </c:pt>
                <c:pt idx="17">
                  <c:v>0</c:v>
                </c:pt>
                <c:pt idx="18">
                  <c:v>0</c:v>
                </c:pt>
                <c:pt idx="19">
                  <c:v>1440</c:v>
                </c:pt>
                <c:pt idx="20">
                  <c:v>5760</c:v>
                </c:pt>
                <c:pt idx="21">
                  <c:v>6240</c:v>
                </c:pt>
                <c:pt idx="22">
                  <c:v>2000</c:v>
                </c:pt>
                <c:pt idx="23">
                  <c:v>0</c:v>
                </c:pt>
                <c:pt idx="24">
                  <c:v>0</c:v>
                </c:pt>
                <c:pt idx="25">
                  <c:v>0</c:v>
                </c:pt>
                <c:pt idx="26">
                  <c:v>2520</c:v>
                </c:pt>
                <c:pt idx="27">
                  <c:v>10080</c:v>
                </c:pt>
                <c:pt idx="28">
                  <c:v>10920</c:v>
                </c:pt>
                <c:pt idx="29">
                  <c:v>3500</c:v>
                </c:pt>
              </c:numCache>
            </c:numRef>
          </c:val>
          <c:extLst xmlns:c16r2="http://schemas.microsoft.com/office/drawing/2015/06/chart">
            <c:ext xmlns:c16="http://schemas.microsoft.com/office/drawing/2014/chart" uri="{C3380CC4-5D6E-409C-BE32-E72D297353CC}">
              <c16:uniqueId val="{00000000-D8A2-48DE-8A2A-BA970CE1D5EF}"/>
            </c:ext>
          </c:extLst>
        </c:ser>
        <c:ser>
          <c:idx val="2"/>
          <c:order val="2"/>
          <c:tx>
            <c:strRef>
              <c:f>'NPV of AAL (2)'!$F$4</c:f>
              <c:strCache>
                <c:ptCount val="1"/>
                <c:pt idx="0">
                  <c:v>Climate Impacted</c:v>
                </c:pt>
              </c:strCache>
            </c:strRef>
          </c:tx>
          <c:spPr>
            <a:solidFill>
              <a:schemeClr val="accent1"/>
            </a:solidFill>
            <a:ln>
              <a:noFill/>
            </a:ln>
            <a:effectLst/>
          </c:spPr>
          <c:invertIfNegative val="0"/>
          <c:val>
            <c:numRef>
              <c:f>'NPV of AAL (2)'!$F$5:$F$34</c:f>
              <c:numCache>
                <c:formatCode>General</c:formatCode>
                <c:ptCount val="30"/>
                <c:pt idx="0">
                  <c:v>0</c:v>
                </c:pt>
                <c:pt idx="1">
                  <c:v>0</c:v>
                </c:pt>
                <c:pt idx="2">
                  <c:v>0</c:v>
                </c:pt>
                <c:pt idx="3">
                  <c:v>0</c:v>
                </c:pt>
                <c:pt idx="4">
                  <c:v>1800</c:v>
                </c:pt>
                <c:pt idx="5">
                  <c:v>7200</c:v>
                </c:pt>
                <c:pt idx="6">
                  <c:v>7800</c:v>
                </c:pt>
                <c:pt idx="7">
                  <c:v>2500</c:v>
                </c:pt>
                <c:pt idx="8">
                  <c:v>0</c:v>
                </c:pt>
                <c:pt idx="9">
                  <c:v>0</c:v>
                </c:pt>
                <c:pt idx="10">
                  <c:v>0</c:v>
                </c:pt>
                <c:pt idx="11">
                  <c:v>1584.0000000000002</c:v>
                </c:pt>
                <c:pt idx="12">
                  <c:v>6336.0000000000009</c:v>
                </c:pt>
                <c:pt idx="13">
                  <c:v>6864.0000000000009</c:v>
                </c:pt>
                <c:pt idx="14">
                  <c:v>2200</c:v>
                </c:pt>
                <c:pt idx="15">
                  <c:v>0</c:v>
                </c:pt>
                <c:pt idx="16">
                  <c:v>0</c:v>
                </c:pt>
                <c:pt idx="17">
                  <c:v>1728</c:v>
                </c:pt>
                <c:pt idx="18">
                  <c:v>6912</c:v>
                </c:pt>
                <c:pt idx="19">
                  <c:v>7488</c:v>
                </c:pt>
                <c:pt idx="20">
                  <c:v>2400</c:v>
                </c:pt>
                <c:pt idx="21">
                  <c:v>0</c:v>
                </c:pt>
                <c:pt idx="22">
                  <c:v>0</c:v>
                </c:pt>
                <c:pt idx="23">
                  <c:v>0</c:v>
                </c:pt>
                <c:pt idx="24">
                  <c:v>3150</c:v>
                </c:pt>
                <c:pt idx="25">
                  <c:v>12600</c:v>
                </c:pt>
                <c:pt idx="26">
                  <c:v>13650</c:v>
                </c:pt>
                <c:pt idx="27">
                  <c:v>5000</c:v>
                </c:pt>
                <c:pt idx="28">
                  <c:v>4000</c:v>
                </c:pt>
                <c:pt idx="29">
                  <c:v>3500</c:v>
                </c:pt>
              </c:numCache>
            </c:numRef>
          </c:val>
          <c:extLst xmlns:c16r2="http://schemas.microsoft.com/office/drawing/2015/06/chart">
            <c:ext xmlns:c16="http://schemas.microsoft.com/office/drawing/2014/chart" uri="{C3380CC4-5D6E-409C-BE32-E72D297353CC}">
              <c16:uniqueId val="{00000001-D8A2-48DE-8A2A-BA970CE1D5EF}"/>
            </c:ext>
          </c:extLst>
        </c:ser>
        <c:dLbls>
          <c:showLegendKey val="0"/>
          <c:showVal val="0"/>
          <c:showCatName val="0"/>
          <c:showSerName val="0"/>
          <c:showPercent val="0"/>
          <c:showBubbleSize val="0"/>
        </c:dLbls>
        <c:gapWidth val="219"/>
        <c:axId val="219232264"/>
        <c:axId val="219232648"/>
      </c:barChart>
      <c:scatterChart>
        <c:scatterStyle val="smoothMarker"/>
        <c:varyColors val="0"/>
        <c:ser>
          <c:idx val="1"/>
          <c:order val="1"/>
          <c:tx>
            <c:strRef>
              <c:f>'NPV of AAL (2)'!$E$4</c:f>
              <c:strCache>
                <c:ptCount val="1"/>
                <c:pt idx="0">
                  <c:v>Baseline</c:v>
                </c:pt>
              </c:strCache>
            </c:strRef>
          </c:tx>
          <c:spPr>
            <a:ln w="28575" cap="rnd">
              <a:solidFill>
                <a:schemeClr val="accent2"/>
              </a:solidFill>
              <a:round/>
            </a:ln>
            <a:effectLst/>
          </c:spPr>
          <c:marker>
            <c:symbol val="none"/>
          </c:marker>
          <c:xVal>
            <c:numRef>
              <c:f>'NPV of AAL (2)'!$C$5:$C$34</c:f>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numCache>
            </c:numRef>
          </c:xVal>
          <c:yVal>
            <c:numRef>
              <c:f>'NPV of AAL (2)'!$E$5:$E$34</c:f>
              <c:numCache>
                <c:formatCode>General</c:formatCode>
                <c:ptCount val="30"/>
                <c:pt idx="0">
                  <c:v>0</c:v>
                </c:pt>
                <c:pt idx="1">
                  <c:v>0</c:v>
                </c:pt>
                <c:pt idx="2">
                  <c:v>0</c:v>
                </c:pt>
                <c:pt idx="3">
                  <c:v>0</c:v>
                </c:pt>
                <c:pt idx="4">
                  <c:v>0</c:v>
                </c:pt>
                <c:pt idx="5">
                  <c:v>0</c:v>
                </c:pt>
                <c:pt idx="6">
                  <c:v>1800</c:v>
                </c:pt>
                <c:pt idx="7">
                  <c:v>9000</c:v>
                </c:pt>
                <c:pt idx="8">
                  <c:v>16800</c:v>
                </c:pt>
                <c:pt idx="9">
                  <c:v>19300</c:v>
                </c:pt>
                <c:pt idx="10">
                  <c:v>19300</c:v>
                </c:pt>
                <c:pt idx="11">
                  <c:v>19300</c:v>
                </c:pt>
                <c:pt idx="12">
                  <c:v>19300</c:v>
                </c:pt>
                <c:pt idx="13">
                  <c:v>20740</c:v>
                </c:pt>
                <c:pt idx="14">
                  <c:v>26500</c:v>
                </c:pt>
                <c:pt idx="15">
                  <c:v>32740</c:v>
                </c:pt>
                <c:pt idx="16">
                  <c:v>34740</c:v>
                </c:pt>
                <c:pt idx="17">
                  <c:v>34740</c:v>
                </c:pt>
                <c:pt idx="18">
                  <c:v>34740</c:v>
                </c:pt>
                <c:pt idx="19">
                  <c:v>34740</c:v>
                </c:pt>
                <c:pt idx="20">
                  <c:v>36180</c:v>
                </c:pt>
                <c:pt idx="21">
                  <c:v>41940</c:v>
                </c:pt>
                <c:pt idx="22">
                  <c:v>48180</c:v>
                </c:pt>
                <c:pt idx="23">
                  <c:v>50180</c:v>
                </c:pt>
                <c:pt idx="24">
                  <c:v>50180</c:v>
                </c:pt>
                <c:pt idx="25">
                  <c:v>50180</c:v>
                </c:pt>
                <c:pt idx="26">
                  <c:v>50180</c:v>
                </c:pt>
                <c:pt idx="27">
                  <c:v>52700</c:v>
                </c:pt>
                <c:pt idx="28">
                  <c:v>62780</c:v>
                </c:pt>
                <c:pt idx="29">
                  <c:v>73700</c:v>
                </c:pt>
              </c:numCache>
            </c:numRef>
          </c:yVal>
          <c:smooth val="1"/>
          <c:extLst xmlns:c16r2="http://schemas.microsoft.com/office/drawing/2015/06/chart">
            <c:ext xmlns:c16="http://schemas.microsoft.com/office/drawing/2014/chart" uri="{C3380CC4-5D6E-409C-BE32-E72D297353CC}">
              <c16:uniqueId val="{00000002-D8A2-48DE-8A2A-BA970CE1D5EF}"/>
            </c:ext>
          </c:extLst>
        </c:ser>
        <c:ser>
          <c:idx val="3"/>
          <c:order val="3"/>
          <c:tx>
            <c:strRef>
              <c:f>'NPV of AAL (2)'!$G$4</c:f>
              <c:strCache>
                <c:ptCount val="1"/>
                <c:pt idx="0">
                  <c:v>Climate Impacted</c:v>
                </c:pt>
              </c:strCache>
            </c:strRef>
          </c:tx>
          <c:spPr>
            <a:ln w="28575" cap="rnd">
              <a:solidFill>
                <a:schemeClr val="accent1"/>
              </a:solidFill>
              <a:round/>
            </a:ln>
            <a:effectLst/>
          </c:spPr>
          <c:marker>
            <c:symbol val="none"/>
          </c:marker>
          <c:xVal>
            <c:numRef>
              <c:f>'NPV of AAL (2)'!$C$5:$C$34</c:f>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numCache>
            </c:numRef>
          </c:xVal>
          <c:yVal>
            <c:numRef>
              <c:f>'NPV of AAL (2)'!$G$5:$G$34</c:f>
              <c:numCache>
                <c:formatCode>General</c:formatCode>
                <c:ptCount val="30"/>
                <c:pt idx="0">
                  <c:v>0</c:v>
                </c:pt>
                <c:pt idx="1">
                  <c:v>0</c:v>
                </c:pt>
                <c:pt idx="2">
                  <c:v>0</c:v>
                </c:pt>
                <c:pt idx="3">
                  <c:v>0</c:v>
                </c:pt>
                <c:pt idx="4">
                  <c:v>0</c:v>
                </c:pt>
                <c:pt idx="5">
                  <c:v>1800</c:v>
                </c:pt>
                <c:pt idx="6">
                  <c:v>9000</c:v>
                </c:pt>
                <c:pt idx="7">
                  <c:v>16800</c:v>
                </c:pt>
                <c:pt idx="8">
                  <c:v>19300</c:v>
                </c:pt>
                <c:pt idx="9">
                  <c:v>19300</c:v>
                </c:pt>
                <c:pt idx="10">
                  <c:v>19300</c:v>
                </c:pt>
                <c:pt idx="11">
                  <c:v>19300</c:v>
                </c:pt>
                <c:pt idx="12">
                  <c:v>20884</c:v>
                </c:pt>
                <c:pt idx="13">
                  <c:v>27220</c:v>
                </c:pt>
                <c:pt idx="14">
                  <c:v>34084</c:v>
                </c:pt>
                <c:pt idx="15">
                  <c:v>36284</c:v>
                </c:pt>
                <c:pt idx="16">
                  <c:v>36284</c:v>
                </c:pt>
                <c:pt idx="17">
                  <c:v>36284</c:v>
                </c:pt>
                <c:pt idx="18">
                  <c:v>38012</c:v>
                </c:pt>
                <c:pt idx="19">
                  <c:v>44924</c:v>
                </c:pt>
                <c:pt idx="20">
                  <c:v>52412</c:v>
                </c:pt>
                <c:pt idx="21">
                  <c:v>54812</c:v>
                </c:pt>
                <c:pt idx="22">
                  <c:v>54812</c:v>
                </c:pt>
                <c:pt idx="23">
                  <c:v>54812</c:v>
                </c:pt>
                <c:pt idx="24">
                  <c:v>54812</c:v>
                </c:pt>
                <c:pt idx="25">
                  <c:v>57962</c:v>
                </c:pt>
                <c:pt idx="26">
                  <c:v>70562</c:v>
                </c:pt>
                <c:pt idx="27">
                  <c:v>84212</c:v>
                </c:pt>
                <c:pt idx="28">
                  <c:v>89212</c:v>
                </c:pt>
                <c:pt idx="29">
                  <c:v>93212</c:v>
                </c:pt>
              </c:numCache>
            </c:numRef>
          </c:yVal>
          <c:smooth val="1"/>
          <c:extLst xmlns:c16r2="http://schemas.microsoft.com/office/drawing/2015/06/chart">
            <c:ext xmlns:c16="http://schemas.microsoft.com/office/drawing/2014/chart" uri="{C3380CC4-5D6E-409C-BE32-E72D297353CC}">
              <c16:uniqueId val="{00000003-D8A2-48DE-8A2A-BA970CE1D5EF}"/>
            </c:ext>
          </c:extLst>
        </c:ser>
        <c:dLbls>
          <c:showLegendKey val="0"/>
          <c:showVal val="0"/>
          <c:showCatName val="0"/>
          <c:showSerName val="0"/>
          <c:showPercent val="0"/>
          <c:showBubbleSize val="0"/>
        </c:dLbls>
        <c:axId val="219261168"/>
        <c:axId val="219260784"/>
      </c:scatterChart>
      <c:catAx>
        <c:axId val="219232264"/>
        <c:scaling>
          <c:orientation val="minMax"/>
        </c:scaling>
        <c:delete val="0"/>
        <c:axPos val="b"/>
        <c:title>
          <c:tx>
            <c:rich>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a:t>Contract Year</a:t>
                </a:r>
              </a:p>
            </c:rich>
          </c:tx>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19232648"/>
        <c:crosses val="autoZero"/>
        <c:auto val="1"/>
        <c:lblAlgn val="ctr"/>
        <c:lblOffset val="100"/>
        <c:noMultiLvlLbl val="0"/>
      </c:catAx>
      <c:valAx>
        <c:axId val="21923264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a:t>Yearly Cost ($hundreds)</a:t>
                </a:r>
              </a:p>
            </c:rich>
          </c:tx>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19232264"/>
        <c:crosses val="autoZero"/>
        <c:crossBetween val="between"/>
      </c:valAx>
      <c:valAx>
        <c:axId val="219260784"/>
        <c:scaling>
          <c:orientation val="minMax"/>
          <c:min val="0"/>
        </c:scaling>
        <c:delete val="0"/>
        <c:axPos val="r"/>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a:t>Total Cost ($hundreds)</a:t>
                </a:r>
              </a:p>
            </c:rich>
          </c:tx>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quot;$&quot;#,##0" sourceLinked="0"/>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19261168"/>
        <c:crosses val="max"/>
        <c:crossBetween val="midCat"/>
      </c:valAx>
      <c:valAx>
        <c:axId val="219261168"/>
        <c:scaling>
          <c:orientation val="minMax"/>
        </c:scaling>
        <c:delete val="1"/>
        <c:axPos val="b"/>
        <c:numFmt formatCode="General" sourceLinked="1"/>
        <c:majorTickMark val="out"/>
        <c:minorTickMark val="none"/>
        <c:tickLblPos val="nextTo"/>
        <c:crossAx val="219260784"/>
        <c:crosses val="autoZero"/>
        <c:crossBetween val="midCat"/>
      </c:valAx>
      <c:spPr>
        <a:noFill/>
        <a:ln>
          <a:noFill/>
        </a:ln>
        <a:effectLst/>
      </c:spPr>
    </c:plotArea>
    <c:legend>
      <c:legendPos val="b"/>
      <c:legendEntry>
        <c:idx val="2"/>
        <c:delete val="1"/>
      </c:legendEntry>
      <c:legendEntry>
        <c:idx val="3"/>
        <c:delete val="1"/>
      </c:legendEntry>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image" Target="../media/image20.png"/></Relationships>
</file>

<file path=ppt/diagrams/_rels/data10.xml.rels><?xml version="1.0" encoding="UTF-8" standalone="yes"?>
<Relationships xmlns="http://schemas.openxmlformats.org/package/2006/relationships"><Relationship Id="rId1" Type="http://schemas.openxmlformats.org/officeDocument/2006/relationships/image" Target="../media/image44.png"/></Relationships>
</file>

<file path=ppt/diagrams/_rels/data1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image" Target="../media/image28.jpg"/><Relationship Id="rId4" Type="http://schemas.openxmlformats.org/officeDocument/2006/relationships/image" Target="../media/image31.jpg"/></Relationships>
</file>

<file path=ppt/diagrams/_rels/data13.xml.rels><?xml version="1.0" encoding="UTF-8" standalone="yes"?>
<Relationships xmlns="http://schemas.openxmlformats.org/package/2006/relationships"><Relationship Id="rId1" Type="http://schemas.openxmlformats.org/officeDocument/2006/relationships/image" Target="../media/image26.png"/></Relationships>
</file>

<file path=ppt/diagrams/_rels/data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image" Target="../media/image28.jpg"/><Relationship Id="rId4" Type="http://schemas.openxmlformats.org/officeDocument/2006/relationships/image" Target="../media/image31.jpg"/></Relationships>
</file>

<file path=ppt/diagrams/_rels/data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image" Target="../media/image49.png"/><Relationship Id="rId4" Type="http://schemas.openxmlformats.org/officeDocument/2006/relationships/image" Target="../media/image52.png"/></Relationships>
</file>

<file path=ppt/diagrams/_rels/data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image" Target="../media/image53.png"/></Relationships>
</file>

<file path=ppt/diagrams/_rels/data19.xml.rels><?xml version="1.0" encoding="UTF-8" standalone="yes"?>
<Relationships xmlns="http://schemas.openxmlformats.org/package/2006/relationships"><Relationship Id="rId1" Type="http://schemas.openxmlformats.org/officeDocument/2006/relationships/image" Target="../media/image27.png"/></Relationships>
</file>

<file path=ppt/diagrams/_rels/data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4.png"/><Relationship Id="rId1" Type="http://schemas.openxmlformats.org/officeDocument/2006/relationships/image" Target="../media/image23.png"/><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diagrams/_rels/data4.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image" Target="../media/image28.jpg"/><Relationship Id="rId4" Type="http://schemas.openxmlformats.org/officeDocument/2006/relationships/image" Target="../media/image31.jpg"/></Relationships>
</file>

<file path=ppt/diagrams/_rels/data6.xml.rels><?xml version="1.0" encoding="UTF-8" standalone="yes"?>
<Relationships xmlns="http://schemas.openxmlformats.org/package/2006/relationships"><Relationship Id="rId1" Type="http://schemas.openxmlformats.org/officeDocument/2006/relationships/image" Target="../media/image33.png"/></Relationships>
</file>

<file path=ppt/diagrams/_rels/data8.xml.rels><?xml version="1.0" encoding="UTF-8" standalone="yes"?>
<Relationships xmlns="http://schemas.openxmlformats.org/package/2006/relationships"><Relationship Id="rId1" Type="http://schemas.openxmlformats.org/officeDocument/2006/relationships/image" Target="../media/image40.png"/></Relationships>
</file>

<file path=ppt/diagrams/_rels/drawing10.xml.rels><?xml version="1.0" encoding="UTF-8" standalone="yes"?>
<Relationships xmlns="http://schemas.openxmlformats.org/package/2006/relationships"><Relationship Id="rId1" Type="http://schemas.openxmlformats.org/officeDocument/2006/relationships/image" Target="../media/image44.png"/></Relationships>
</file>

<file path=ppt/diagrams/_rels/drawing1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image" Target="../media/image28.jpg"/><Relationship Id="rId4" Type="http://schemas.openxmlformats.org/officeDocument/2006/relationships/image" Target="../media/image31.jpg"/></Relationships>
</file>

<file path=ppt/diagrams/_rels/drawing13.xml.rels><?xml version="1.0" encoding="UTF-8" standalone="yes"?>
<Relationships xmlns="http://schemas.openxmlformats.org/package/2006/relationships"><Relationship Id="rId1" Type="http://schemas.openxmlformats.org/officeDocument/2006/relationships/image" Target="../media/image26.png"/></Relationships>
</file>

<file path=ppt/diagrams/_rels/drawing15.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image" Target="../media/image28.jpg"/><Relationship Id="rId4" Type="http://schemas.openxmlformats.org/officeDocument/2006/relationships/image" Target="../media/image31.jpg"/></Relationships>
</file>

<file path=ppt/diagrams/_rels/drawing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image" Target="../media/image49.png"/><Relationship Id="rId4" Type="http://schemas.openxmlformats.org/officeDocument/2006/relationships/image" Target="../media/image52.png"/></Relationships>
</file>

<file path=ppt/diagrams/_rels/drawing19.xml.rels><?xml version="1.0" encoding="UTF-8" standalone="yes"?>
<Relationships xmlns="http://schemas.openxmlformats.org/package/2006/relationships"><Relationship Id="rId1" Type="http://schemas.openxmlformats.org/officeDocument/2006/relationships/image" Target="../media/image27.png"/></Relationships>
</file>

<file path=ppt/diagrams/_rels/drawing6.xml.rels><?xml version="1.0" encoding="UTF-8" standalone="yes"?>
<Relationships xmlns="http://schemas.openxmlformats.org/package/2006/relationships"><Relationship Id="rId1" Type="http://schemas.openxmlformats.org/officeDocument/2006/relationships/image" Target="../media/image33.png"/></Relationships>
</file>

<file path=ppt/diagrams/_rels/drawing8.xml.rels><?xml version="1.0" encoding="UTF-8" standalone="yes"?>
<Relationships xmlns="http://schemas.openxmlformats.org/package/2006/relationships"><Relationship Id="rId1" Type="http://schemas.openxmlformats.org/officeDocument/2006/relationships/image" Target="../media/image40.png"/></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1406F2-2820-4F5B-9DAE-BF357316A8DC}" type="doc">
      <dgm:prSet loTypeId="urn:microsoft.com/office/officeart/2005/8/layout/hList2" loCatId="list" qsTypeId="urn:microsoft.com/office/officeart/2005/8/quickstyle/simple1" qsCatId="simple" csTypeId="urn:microsoft.com/office/officeart/2005/8/colors/accent2_3" csCatId="accent2" phldr="1"/>
      <dgm:spPr/>
      <dgm:t>
        <a:bodyPr/>
        <a:lstStyle/>
        <a:p>
          <a:endParaRPr lang="en-US"/>
        </a:p>
      </dgm:t>
    </dgm:pt>
    <dgm:pt modelId="{9BD30F90-C1F8-4D93-B268-D5B909576CEE}">
      <dgm:prSet phldrT="[Text]" custT="1"/>
      <dgm:spPr/>
      <dgm:t>
        <a:bodyPr/>
        <a:lstStyle/>
        <a:p>
          <a:r>
            <a:rPr lang="en-US" sz="1600" b="1" dirty="0"/>
            <a:t>Risk Identification</a:t>
          </a:r>
        </a:p>
      </dgm:t>
    </dgm:pt>
    <dgm:pt modelId="{D4034006-FF85-4618-8741-F76899B63999}" type="parTrans" cxnId="{38AD3854-A632-4CF6-9BD4-86DA50E6F270}">
      <dgm:prSet/>
      <dgm:spPr/>
      <dgm:t>
        <a:bodyPr/>
        <a:lstStyle/>
        <a:p>
          <a:endParaRPr lang="en-US" sz="1600"/>
        </a:p>
      </dgm:t>
    </dgm:pt>
    <dgm:pt modelId="{0B1A9C36-56C0-4686-BFDA-4EB5949CED9E}" type="sibTrans" cxnId="{38AD3854-A632-4CF6-9BD4-86DA50E6F270}">
      <dgm:prSet/>
      <dgm:spPr/>
      <dgm:t>
        <a:bodyPr/>
        <a:lstStyle/>
        <a:p>
          <a:endParaRPr lang="en-US" sz="1600"/>
        </a:p>
      </dgm:t>
    </dgm:pt>
    <dgm:pt modelId="{CE47548A-D834-4346-B34B-F3ACEA117F28}">
      <dgm:prSet phldrT="[Text]" custT="1"/>
      <dgm:spPr/>
      <dgm:t>
        <a:bodyPr/>
        <a:lstStyle/>
        <a:p>
          <a:r>
            <a:rPr lang="en-US" sz="1600" b="1" dirty="0" smtClean="0"/>
            <a:t>Risk  </a:t>
          </a:r>
          <a:r>
            <a:rPr lang="en-US" sz="1600" b="1" dirty="0"/>
            <a:t>Valuation</a:t>
          </a:r>
        </a:p>
      </dgm:t>
    </dgm:pt>
    <dgm:pt modelId="{3DE67701-02A7-4347-A1CB-53E7751EFA51}" type="parTrans" cxnId="{CAA65005-D4F3-4145-BB36-0DAB6CB80539}">
      <dgm:prSet/>
      <dgm:spPr/>
      <dgm:t>
        <a:bodyPr/>
        <a:lstStyle/>
        <a:p>
          <a:endParaRPr lang="en-US" sz="1600"/>
        </a:p>
      </dgm:t>
    </dgm:pt>
    <dgm:pt modelId="{FCB0D041-0954-4349-8C88-7321A4FDCC39}" type="sibTrans" cxnId="{CAA65005-D4F3-4145-BB36-0DAB6CB80539}">
      <dgm:prSet/>
      <dgm:spPr/>
      <dgm:t>
        <a:bodyPr/>
        <a:lstStyle/>
        <a:p>
          <a:endParaRPr lang="en-US" sz="1600"/>
        </a:p>
      </dgm:t>
    </dgm:pt>
    <dgm:pt modelId="{21CE9EB0-DE77-40E2-ADE5-BE9BA424A371}">
      <dgm:prSet custT="1"/>
      <dgm:spPr/>
      <dgm:t>
        <a:bodyPr/>
        <a:lstStyle/>
        <a:p>
          <a:pPr>
            <a:buFont typeface="+mj-lt"/>
            <a:buNone/>
          </a:pPr>
          <a:r>
            <a:rPr lang="en-US" sz="1600" b="1" dirty="0"/>
            <a:t>Inputs for risk-based decision making</a:t>
          </a:r>
        </a:p>
      </dgm:t>
    </dgm:pt>
    <dgm:pt modelId="{E7F91335-E9E8-4295-AA1D-DBEF2983B4F9}" type="parTrans" cxnId="{13E57D37-6696-4734-B699-EA14B52B0855}">
      <dgm:prSet/>
      <dgm:spPr/>
      <dgm:t>
        <a:bodyPr/>
        <a:lstStyle/>
        <a:p>
          <a:endParaRPr lang="en-US" sz="1600"/>
        </a:p>
      </dgm:t>
    </dgm:pt>
    <dgm:pt modelId="{B96AD31F-50ED-4550-B7BB-4DCE143612FB}" type="sibTrans" cxnId="{13E57D37-6696-4734-B699-EA14B52B0855}">
      <dgm:prSet/>
      <dgm:spPr/>
      <dgm:t>
        <a:bodyPr/>
        <a:lstStyle/>
        <a:p>
          <a:endParaRPr lang="en-US" sz="1600"/>
        </a:p>
      </dgm:t>
    </dgm:pt>
    <dgm:pt modelId="{AF3545CA-BC97-420B-9320-3D6B6096F52B}">
      <dgm:prSet custT="1"/>
      <dgm:spPr/>
      <dgm:t>
        <a:bodyPr/>
        <a:lstStyle/>
        <a:p>
          <a:pPr>
            <a:buFont typeface="+mj-lt"/>
            <a:buNone/>
          </a:pPr>
          <a:r>
            <a:rPr lang="en-US" sz="1600" b="1" dirty="0"/>
            <a:t>Value of adressing climate risk in PBC</a:t>
          </a:r>
        </a:p>
      </dgm:t>
    </dgm:pt>
    <dgm:pt modelId="{4EE72E6C-1D89-47AC-81E2-17B813D2F6CE}" type="parTrans" cxnId="{EBE952DF-4CCD-4489-9FF2-A36E8D22F63E}">
      <dgm:prSet/>
      <dgm:spPr/>
      <dgm:t>
        <a:bodyPr/>
        <a:lstStyle/>
        <a:p>
          <a:endParaRPr lang="en-US" sz="1600"/>
        </a:p>
      </dgm:t>
    </dgm:pt>
    <dgm:pt modelId="{17D93CAC-73AF-457A-885A-8ECDAEE78F71}" type="sibTrans" cxnId="{EBE952DF-4CCD-4489-9FF2-A36E8D22F63E}">
      <dgm:prSet/>
      <dgm:spPr/>
      <dgm:t>
        <a:bodyPr/>
        <a:lstStyle/>
        <a:p>
          <a:endParaRPr lang="en-US" sz="1600"/>
        </a:p>
      </dgm:t>
    </dgm:pt>
    <dgm:pt modelId="{3894C769-827A-44D9-90C6-D542550F8984}">
      <dgm:prSet custT="1"/>
      <dgm:spPr/>
      <dgm:t>
        <a:bodyPr/>
        <a:lstStyle/>
        <a:p>
          <a:pPr>
            <a:buFont typeface="Arial" panose="020B0604020202020204" pitchFamily="34" charset="0"/>
            <a:buChar char="•"/>
          </a:pPr>
          <a:r>
            <a:rPr lang="en-US" sz="1600" b="0" dirty="0"/>
            <a:t>How will logic and tool outputs be applied to real world projects</a:t>
          </a:r>
          <a:endParaRPr lang="en-US" sz="1600" dirty="0"/>
        </a:p>
      </dgm:t>
    </dgm:pt>
    <dgm:pt modelId="{45F7A6DB-D35E-4371-9BD6-9B3CF2A967B0}" type="parTrans" cxnId="{6A303746-61A6-45AD-8F6F-8C5D35893496}">
      <dgm:prSet/>
      <dgm:spPr/>
      <dgm:t>
        <a:bodyPr/>
        <a:lstStyle/>
        <a:p>
          <a:endParaRPr lang="en-US" sz="1600"/>
        </a:p>
      </dgm:t>
    </dgm:pt>
    <dgm:pt modelId="{0B1B3742-5DE6-41F9-836C-70D7D5F80685}" type="sibTrans" cxnId="{6A303746-61A6-45AD-8F6F-8C5D35893496}">
      <dgm:prSet/>
      <dgm:spPr/>
      <dgm:t>
        <a:bodyPr/>
        <a:lstStyle/>
        <a:p>
          <a:endParaRPr lang="en-US" sz="1600"/>
        </a:p>
      </dgm:t>
    </dgm:pt>
    <dgm:pt modelId="{49952459-057F-4ED1-B1BD-5A42C144B27A}">
      <dgm:prSet custT="1"/>
      <dgm:spPr/>
      <dgm:t>
        <a:bodyPr/>
        <a:lstStyle/>
        <a:p>
          <a:pPr>
            <a:buFont typeface="Arial" panose="020B0604020202020204" pitchFamily="34" charset="0"/>
            <a:buChar char="•"/>
          </a:pPr>
          <a:r>
            <a:rPr lang="en-US" sz="1600" dirty="0"/>
            <a:t>How to measure risk and structure KPIs effectivly</a:t>
          </a:r>
        </a:p>
      </dgm:t>
    </dgm:pt>
    <dgm:pt modelId="{0645C382-5747-4468-9CDA-B5FBFD6E4AB7}" type="parTrans" cxnId="{64CEADBE-87D8-482A-8573-3497C850F78D}">
      <dgm:prSet/>
      <dgm:spPr/>
      <dgm:t>
        <a:bodyPr/>
        <a:lstStyle/>
        <a:p>
          <a:endParaRPr lang="en-US" sz="1600"/>
        </a:p>
      </dgm:t>
    </dgm:pt>
    <dgm:pt modelId="{177E841E-3508-44C9-98D2-4FCE7BB714D8}" type="sibTrans" cxnId="{64CEADBE-87D8-482A-8573-3497C850F78D}">
      <dgm:prSet/>
      <dgm:spPr/>
      <dgm:t>
        <a:bodyPr/>
        <a:lstStyle/>
        <a:p>
          <a:endParaRPr lang="en-US" sz="1600"/>
        </a:p>
      </dgm:t>
    </dgm:pt>
    <dgm:pt modelId="{243F74DA-A73E-40A6-BD1A-FF575589B0B3}">
      <dgm:prSet custT="1"/>
      <dgm:spPr/>
      <dgm:t>
        <a:bodyPr/>
        <a:lstStyle/>
        <a:p>
          <a:r>
            <a:rPr lang="en-US" sz="1600" b="1" dirty="0"/>
            <a:t>Risk Allocation</a:t>
          </a:r>
        </a:p>
      </dgm:t>
    </dgm:pt>
    <dgm:pt modelId="{C0AD6DA9-6364-4939-9E4E-DD174FCA737F}" type="parTrans" cxnId="{142396F9-AC9A-4154-B461-3068908EC392}">
      <dgm:prSet/>
      <dgm:spPr/>
      <dgm:t>
        <a:bodyPr/>
        <a:lstStyle/>
        <a:p>
          <a:endParaRPr lang="en-US" sz="1600"/>
        </a:p>
      </dgm:t>
    </dgm:pt>
    <dgm:pt modelId="{3B4031D0-FB8F-4E9E-8350-065AC7BFA9DB}" type="sibTrans" cxnId="{142396F9-AC9A-4154-B461-3068908EC392}">
      <dgm:prSet/>
      <dgm:spPr/>
      <dgm:t>
        <a:bodyPr/>
        <a:lstStyle/>
        <a:p>
          <a:endParaRPr lang="en-US" sz="1600"/>
        </a:p>
      </dgm:t>
    </dgm:pt>
    <dgm:pt modelId="{B6906231-8EF7-4A65-B8AD-085E90CF42E8}">
      <dgm:prSet custT="1"/>
      <dgm:spPr/>
      <dgm:t>
        <a:bodyPr/>
        <a:lstStyle/>
        <a:p>
          <a:pPr>
            <a:buFont typeface="Arial" panose="020B0604020202020204" pitchFamily="34" charset="0"/>
            <a:buChar char="•"/>
          </a:pPr>
          <a:r>
            <a:rPr lang="en-US" sz="1600" dirty="0"/>
            <a:t>How to balance risk assignment and ownership</a:t>
          </a:r>
          <a:endParaRPr lang="en-US" sz="1600" b="0" dirty="0"/>
        </a:p>
      </dgm:t>
    </dgm:pt>
    <dgm:pt modelId="{D4E61243-DA87-40F6-AE7A-C4D8F33830E5}" type="parTrans" cxnId="{EC7AB57F-728B-4AC8-A6DF-2DB735E90408}">
      <dgm:prSet/>
      <dgm:spPr/>
      <dgm:t>
        <a:bodyPr/>
        <a:lstStyle/>
        <a:p>
          <a:endParaRPr lang="en-US" sz="1600"/>
        </a:p>
      </dgm:t>
    </dgm:pt>
    <dgm:pt modelId="{B87C0748-1265-4B64-9FF1-1E541B5CEE7A}" type="sibTrans" cxnId="{EC7AB57F-728B-4AC8-A6DF-2DB735E90408}">
      <dgm:prSet/>
      <dgm:spPr/>
      <dgm:t>
        <a:bodyPr/>
        <a:lstStyle/>
        <a:p>
          <a:endParaRPr lang="en-US" sz="1600"/>
        </a:p>
      </dgm:t>
    </dgm:pt>
    <dgm:pt modelId="{43A47F06-DA84-4492-81E3-84B48F0616B0}">
      <dgm:prSet custT="1"/>
      <dgm:spPr/>
      <dgm:t>
        <a:bodyPr/>
        <a:lstStyle/>
        <a:p>
          <a:pPr>
            <a:buFont typeface="Arial" panose="020B0604020202020204" pitchFamily="34" charset="0"/>
            <a:buChar char="•"/>
          </a:pPr>
          <a:r>
            <a:rPr lang="en-US" sz="1600" b="0" dirty="0"/>
            <a:t>Strengths and weaknesses of this approach in relation to WB contracts</a:t>
          </a:r>
        </a:p>
      </dgm:t>
    </dgm:pt>
    <dgm:pt modelId="{5363DD4F-C1BB-4C0A-A542-7DB3542F2C19}" type="parTrans" cxnId="{7AEAD5A6-3787-4468-AB23-71F76357A543}">
      <dgm:prSet/>
      <dgm:spPr/>
      <dgm:t>
        <a:bodyPr/>
        <a:lstStyle/>
        <a:p>
          <a:endParaRPr lang="en-US" sz="1600"/>
        </a:p>
      </dgm:t>
    </dgm:pt>
    <dgm:pt modelId="{672736B7-ED00-42E2-81C2-EE3CBC3AE959}" type="sibTrans" cxnId="{7AEAD5A6-3787-4468-AB23-71F76357A543}">
      <dgm:prSet/>
      <dgm:spPr/>
      <dgm:t>
        <a:bodyPr/>
        <a:lstStyle/>
        <a:p>
          <a:endParaRPr lang="en-US" sz="1600"/>
        </a:p>
      </dgm:t>
    </dgm:pt>
    <dgm:pt modelId="{7E1EFD89-53BD-4989-95C4-9F462FECF438}">
      <dgm:prSet custT="1"/>
      <dgm:spPr/>
      <dgm:t>
        <a:bodyPr/>
        <a:lstStyle/>
        <a:p>
          <a:pPr>
            <a:buFont typeface="Arial" panose="020B0604020202020204" pitchFamily="34" charset="0"/>
            <a:buChar char="•"/>
          </a:pPr>
          <a:r>
            <a:rPr lang="en-US" sz="1600" b="0" dirty="0"/>
            <a:t>Distinguish </a:t>
          </a:r>
          <a:r>
            <a:rPr lang="en-US" sz="1600" dirty="0"/>
            <a:t>the criticality drivers for roadway assets</a:t>
          </a:r>
        </a:p>
      </dgm:t>
    </dgm:pt>
    <dgm:pt modelId="{467F7590-19E5-439C-90C2-3AB36FCE0106}" type="parTrans" cxnId="{A4474247-6397-4087-9FA0-5555F07C8A27}">
      <dgm:prSet/>
      <dgm:spPr/>
      <dgm:t>
        <a:bodyPr/>
        <a:lstStyle/>
        <a:p>
          <a:endParaRPr lang="en-US" sz="1600"/>
        </a:p>
      </dgm:t>
    </dgm:pt>
    <dgm:pt modelId="{8E693705-5A75-4765-8261-08288B5611BB}" type="sibTrans" cxnId="{A4474247-6397-4087-9FA0-5555F07C8A27}">
      <dgm:prSet/>
      <dgm:spPr/>
      <dgm:t>
        <a:bodyPr/>
        <a:lstStyle/>
        <a:p>
          <a:endParaRPr lang="en-US" sz="1600"/>
        </a:p>
      </dgm:t>
    </dgm:pt>
    <dgm:pt modelId="{AF304CC0-7008-41EB-8849-A7854EFF4CCA}">
      <dgm:prSet custT="1"/>
      <dgm:spPr/>
      <dgm:t>
        <a:bodyPr/>
        <a:lstStyle/>
        <a:p>
          <a:pPr>
            <a:buFont typeface="Arial" panose="020B0604020202020204" pitchFamily="34" charset="0"/>
            <a:buChar char="•"/>
          </a:pPr>
          <a:r>
            <a:rPr lang="en-US" sz="1600" dirty="0"/>
            <a:t>Establish future climate scenarios and time horizons/ Over what time horizons should risk be assigned</a:t>
          </a:r>
        </a:p>
      </dgm:t>
    </dgm:pt>
    <dgm:pt modelId="{43BBB6E8-F935-4CB1-8918-B95BDFC60BA2}" type="parTrans" cxnId="{9F8B3495-3F85-4335-B3D2-C2578275A3FF}">
      <dgm:prSet/>
      <dgm:spPr/>
      <dgm:t>
        <a:bodyPr/>
        <a:lstStyle/>
        <a:p>
          <a:endParaRPr lang="en-US" sz="1600"/>
        </a:p>
      </dgm:t>
    </dgm:pt>
    <dgm:pt modelId="{783DF81C-5A07-4C30-BC1C-D2A7284CF784}" type="sibTrans" cxnId="{9F8B3495-3F85-4335-B3D2-C2578275A3FF}">
      <dgm:prSet/>
      <dgm:spPr/>
      <dgm:t>
        <a:bodyPr/>
        <a:lstStyle/>
        <a:p>
          <a:endParaRPr lang="en-US" sz="1600"/>
        </a:p>
      </dgm:t>
    </dgm:pt>
    <dgm:pt modelId="{3C92F2BE-917F-4891-A46E-5E5431C6225E}">
      <dgm:prSet custT="1"/>
      <dgm:spPr/>
      <dgm:t>
        <a:bodyPr/>
        <a:lstStyle/>
        <a:p>
          <a:pPr>
            <a:buFont typeface="+mj-lt"/>
            <a:buAutoNum type="arabicPeriod" startAt="3"/>
          </a:pPr>
          <a:r>
            <a:rPr lang="en-US" sz="1600" b="1" dirty="0"/>
            <a:t>Integration of climate risk in contracting</a:t>
          </a:r>
        </a:p>
      </dgm:t>
    </dgm:pt>
    <dgm:pt modelId="{F9AAFDB5-7F2B-402C-8FB8-BC5900F12F5D}" type="parTrans" cxnId="{7DC665BF-47B9-4CEB-AF6D-DBADBF8B8DF2}">
      <dgm:prSet/>
      <dgm:spPr/>
      <dgm:t>
        <a:bodyPr/>
        <a:lstStyle/>
        <a:p>
          <a:endParaRPr lang="en-US" sz="1600"/>
        </a:p>
      </dgm:t>
    </dgm:pt>
    <dgm:pt modelId="{7794950F-BDEF-4209-B825-3B41F50860B3}" type="sibTrans" cxnId="{7DC665BF-47B9-4CEB-AF6D-DBADBF8B8DF2}">
      <dgm:prSet/>
      <dgm:spPr/>
      <dgm:t>
        <a:bodyPr/>
        <a:lstStyle/>
        <a:p>
          <a:endParaRPr lang="en-US" sz="1600"/>
        </a:p>
      </dgm:t>
    </dgm:pt>
    <dgm:pt modelId="{97F64123-919E-4038-878F-93E656547667}">
      <dgm:prSet custT="1"/>
      <dgm:spPr/>
      <dgm:t>
        <a:bodyPr/>
        <a:lstStyle/>
        <a:p>
          <a:pPr>
            <a:buFont typeface="Arial" panose="020B0604020202020204" pitchFamily="34" charset="0"/>
            <a:buChar char="•"/>
          </a:pPr>
          <a:r>
            <a:rPr lang="en-US" sz="1600" dirty="0"/>
            <a:t>Characterize</a:t>
          </a:r>
          <a:r>
            <a:rPr lang="en-US" sz="1600" b="1" dirty="0"/>
            <a:t> </a:t>
          </a:r>
          <a:r>
            <a:rPr lang="en-US" sz="1600" b="0" dirty="0"/>
            <a:t>the sensitivity drivers leading to failure</a:t>
          </a:r>
        </a:p>
      </dgm:t>
    </dgm:pt>
    <dgm:pt modelId="{70439D32-DD35-4705-B99B-95FAA6A7B1C0}" type="parTrans" cxnId="{388184E3-487D-43EC-B232-16FD99A4EADC}">
      <dgm:prSet/>
      <dgm:spPr/>
      <dgm:t>
        <a:bodyPr/>
        <a:lstStyle/>
        <a:p>
          <a:endParaRPr lang="en-US" sz="1600"/>
        </a:p>
      </dgm:t>
    </dgm:pt>
    <dgm:pt modelId="{79A32FB8-35BE-459B-93EC-D68D40F04CEF}" type="sibTrans" cxnId="{388184E3-487D-43EC-B232-16FD99A4EADC}">
      <dgm:prSet/>
      <dgm:spPr/>
      <dgm:t>
        <a:bodyPr/>
        <a:lstStyle/>
        <a:p>
          <a:endParaRPr lang="en-US" sz="1600"/>
        </a:p>
      </dgm:t>
    </dgm:pt>
    <dgm:pt modelId="{A615D427-A794-4D5A-8761-48D62F910FEF}">
      <dgm:prSet custT="1"/>
      <dgm:spPr/>
      <dgm:t>
        <a:bodyPr/>
        <a:lstStyle/>
        <a:p>
          <a:pPr>
            <a:buFont typeface="Arial" panose="020B0604020202020204" pitchFamily="34" charset="0"/>
            <a:buChar char="•"/>
          </a:pPr>
          <a:r>
            <a:rPr lang="en-US" sz="1600" dirty="0"/>
            <a:t>How much risk should the contractor absorb</a:t>
          </a:r>
        </a:p>
      </dgm:t>
    </dgm:pt>
    <dgm:pt modelId="{7863B952-7FCB-4D10-B966-334DDA3ABE29}" type="parTrans" cxnId="{3809C2AA-E0E2-44CA-AADD-62B6387D6092}">
      <dgm:prSet/>
      <dgm:spPr/>
      <dgm:t>
        <a:bodyPr/>
        <a:lstStyle/>
        <a:p>
          <a:endParaRPr lang="en-US" sz="1600"/>
        </a:p>
      </dgm:t>
    </dgm:pt>
    <dgm:pt modelId="{E7A1C004-9DB1-426B-94A8-485FE4EA0DBD}" type="sibTrans" cxnId="{3809C2AA-E0E2-44CA-AADD-62B6387D6092}">
      <dgm:prSet/>
      <dgm:spPr/>
      <dgm:t>
        <a:bodyPr/>
        <a:lstStyle/>
        <a:p>
          <a:endParaRPr lang="en-US" sz="1600"/>
        </a:p>
      </dgm:t>
    </dgm:pt>
    <dgm:pt modelId="{9B9441DE-D30E-49B0-A346-9515E7F60A7A}">
      <dgm:prSet custT="1"/>
      <dgm:spPr/>
      <dgm:t>
        <a:bodyPr/>
        <a:lstStyle/>
        <a:p>
          <a:pPr>
            <a:buFont typeface="Arial" panose="020B0604020202020204" pitchFamily="34" charset="0"/>
            <a:buChar char="•"/>
          </a:pPr>
          <a:r>
            <a:rPr lang="en-US" sz="1600" dirty="0"/>
            <a:t>How to transfer risk through Contract Augmentation</a:t>
          </a:r>
          <a:endParaRPr lang="en-US" sz="1600" b="0" dirty="0"/>
        </a:p>
      </dgm:t>
    </dgm:pt>
    <dgm:pt modelId="{EC41ED18-DD00-4243-9D42-8EDA7346553F}" type="parTrans" cxnId="{D8890D89-1716-473C-939B-FB619D70559D}">
      <dgm:prSet/>
      <dgm:spPr/>
      <dgm:t>
        <a:bodyPr/>
        <a:lstStyle/>
        <a:p>
          <a:endParaRPr lang="en-US" sz="1600"/>
        </a:p>
      </dgm:t>
    </dgm:pt>
    <dgm:pt modelId="{33C6E9BE-031F-4839-9C2C-F8D1D8E54868}" type="sibTrans" cxnId="{D8890D89-1716-473C-939B-FB619D70559D}">
      <dgm:prSet/>
      <dgm:spPr/>
      <dgm:t>
        <a:bodyPr/>
        <a:lstStyle/>
        <a:p>
          <a:endParaRPr lang="en-US" sz="1600"/>
        </a:p>
      </dgm:t>
    </dgm:pt>
    <dgm:pt modelId="{ACABB481-0637-4C91-B396-2947ADF97B8D}">
      <dgm:prSet custT="1"/>
      <dgm:spPr/>
      <dgm:t>
        <a:bodyPr/>
        <a:lstStyle/>
        <a:p>
          <a:pPr>
            <a:buFont typeface="+mj-lt"/>
            <a:buNone/>
          </a:pPr>
          <a:endParaRPr lang="en-US" sz="1600" b="1" dirty="0"/>
        </a:p>
      </dgm:t>
    </dgm:pt>
    <dgm:pt modelId="{0409D7D3-EAC8-4B21-815A-41272F66C951}" type="parTrans" cxnId="{4D93696E-34CA-442A-B27D-CDE1118025C6}">
      <dgm:prSet/>
      <dgm:spPr/>
      <dgm:t>
        <a:bodyPr/>
        <a:lstStyle/>
        <a:p>
          <a:endParaRPr lang="en-US" sz="1600"/>
        </a:p>
      </dgm:t>
    </dgm:pt>
    <dgm:pt modelId="{584CC47C-B7BA-4E00-9483-0E8ABB3F82FE}" type="sibTrans" cxnId="{4D93696E-34CA-442A-B27D-CDE1118025C6}">
      <dgm:prSet/>
      <dgm:spPr/>
      <dgm:t>
        <a:bodyPr/>
        <a:lstStyle/>
        <a:p>
          <a:endParaRPr lang="en-US" sz="1600"/>
        </a:p>
      </dgm:t>
    </dgm:pt>
    <dgm:pt modelId="{90CF2DE2-0757-4BF3-B759-F15557D100D6}">
      <dgm:prSet custT="1"/>
      <dgm:spPr/>
      <dgm:t>
        <a:bodyPr/>
        <a:lstStyle/>
        <a:p>
          <a:pPr>
            <a:buFont typeface="Arial" panose="020B0604020202020204" pitchFamily="34" charset="0"/>
            <a:buChar char="•"/>
          </a:pPr>
          <a:endParaRPr lang="en-US" sz="1600" dirty="0"/>
        </a:p>
      </dgm:t>
    </dgm:pt>
    <dgm:pt modelId="{8EDAAC13-9752-4C74-B241-B9FE5A46A004}" type="parTrans" cxnId="{38F36BE0-F9CD-4741-A200-60D2C286C1EC}">
      <dgm:prSet/>
      <dgm:spPr/>
      <dgm:t>
        <a:bodyPr/>
        <a:lstStyle/>
        <a:p>
          <a:endParaRPr lang="en-US" sz="1600"/>
        </a:p>
      </dgm:t>
    </dgm:pt>
    <dgm:pt modelId="{2047FD77-A4DB-4EA7-9E2A-C1B2732C0B00}" type="sibTrans" cxnId="{38F36BE0-F9CD-4741-A200-60D2C286C1EC}">
      <dgm:prSet/>
      <dgm:spPr/>
      <dgm:t>
        <a:bodyPr/>
        <a:lstStyle/>
        <a:p>
          <a:endParaRPr lang="en-US" sz="1600"/>
        </a:p>
      </dgm:t>
    </dgm:pt>
    <dgm:pt modelId="{83D9147D-9F5E-4298-9B63-A5958F07B0D5}">
      <dgm:prSet custT="1"/>
      <dgm:spPr/>
      <dgm:t>
        <a:bodyPr/>
        <a:lstStyle/>
        <a:p>
          <a:pPr>
            <a:buFont typeface="Arial" panose="020B0604020202020204" pitchFamily="34" charset="0"/>
            <a:buChar char="•"/>
          </a:pPr>
          <a:endParaRPr lang="en-US" sz="1600" dirty="0"/>
        </a:p>
      </dgm:t>
    </dgm:pt>
    <dgm:pt modelId="{6DC04629-0642-44B1-BAE3-DCE4E9B78E79}" type="parTrans" cxnId="{443AB9EC-5E81-49D9-BCF6-EB9C2F5D748F}">
      <dgm:prSet/>
      <dgm:spPr/>
      <dgm:t>
        <a:bodyPr/>
        <a:lstStyle/>
        <a:p>
          <a:endParaRPr lang="en-US" sz="1600"/>
        </a:p>
      </dgm:t>
    </dgm:pt>
    <dgm:pt modelId="{B2D30E7E-2808-4D35-AA90-AFF75FB093FB}" type="sibTrans" cxnId="{443AB9EC-5E81-49D9-BCF6-EB9C2F5D748F}">
      <dgm:prSet/>
      <dgm:spPr/>
      <dgm:t>
        <a:bodyPr/>
        <a:lstStyle/>
        <a:p>
          <a:endParaRPr lang="en-US" sz="1600"/>
        </a:p>
      </dgm:t>
    </dgm:pt>
    <dgm:pt modelId="{299B9FB0-5363-49EB-AA46-FD35A124A6ED}">
      <dgm:prSet custT="1"/>
      <dgm:spPr/>
      <dgm:t>
        <a:bodyPr/>
        <a:lstStyle/>
        <a:p>
          <a:pPr>
            <a:buFont typeface="+mj-lt"/>
            <a:buAutoNum type="arabicPeriod" startAt="3"/>
          </a:pPr>
          <a:endParaRPr lang="en-US" sz="1600" b="1" dirty="0"/>
        </a:p>
      </dgm:t>
    </dgm:pt>
    <dgm:pt modelId="{4C600D22-9CEE-4050-909A-B78C14CE2B85}" type="parTrans" cxnId="{FA915E51-687B-4D4E-8473-9AE263A60590}">
      <dgm:prSet/>
      <dgm:spPr/>
      <dgm:t>
        <a:bodyPr/>
        <a:lstStyle/>
        <a:p>
          <a:endParaRPr lang="en-US" sz="1600"/>
        </a:p>
      </dgm:t>
    </dgm:pt>
    <dgm:pt modelId="{BDAA72A1-6082-48B5-B4C0-A46E4285006D}" type="sibTrans" cxnId="{FA915E51-687B-4D4E-8473-9AE263A60590}">
      <dgm:prSet/>
      <dgm:spPr/>
      <dgm:t>
        <a:bodyPr/>
        <a:lstStyle/>
        <a:p>
          <a:endParaRPr lang="en-US" sz="1600"/>
        </a:p>
      </dgm:t>
    </dgm:pt>
    <dgm:pt modelId="{BE746204-6169-4BD7-AAF9-C5D32901949E}">
      <dgm:prSet custT="1"/>
      <dgm:spPr/>
      <dgm:t>
        <a:bodyPr/>
        <a:lstStyle/>
        <a:p>
          <a:pPr>
            <a:buFont typeface="Arial" panose="020B0604020202020204" pitchFamily="34" charset="0"/>
            <a:buChar char="•"/>
          </a:pPr>
          <a:endParaRPr lang="en-US" sz="1600" b="0" dirty="0"/>
        </a:p>
      </dgm:t>
    </dgm:pt>
    <dgm:pt modelId="{5355DB56-CEFF-4F82-B5FD-557BF2687589}" type="parTrans" cxnId="{BE59DDDD-726A-484E-8EBA-DD4C8A37A88E}">
      <dgm:prSet/>
      <dgm:spPr/>
      <dgm:t>
        <a:bodyPr/>
        <a:lstStyle/>
        <a:p>
          <a:endParaRPr lang="en-US" sz="1600"/>
        </a:p>
      </dgm:t>
    </dgm:pt>
    <dgm:pt modelId="{FF975C31-1FC6-46D3-B3CC-A8B300264E00}" type="sibTrans" cxnId="{BE59DDDD-726A-484E-8EBA-DD4C8A37A88E}">
      <dgm:prSet/>
      <dgm:spPr/>
      <dgm:t>
        <a:bodyPr/>
        <a:lstStyle/>
        <a:p>
          <a:endParaRPr lang="en-US" sz="1600"/>
        </a:p>
      </dgm:t>
    </dgm:pt>
    <dgm:pt modelId="{45559EAE-B575-4584-A547-59893B91CDDC}">
      <dgm:prSet custT="1"/>
      <dgm:spPr/>
      <dgm:t>
        <a:bodyPr/>
        <a:lstStyle/>
        <a:p>
          <a:pPr>
            <a:buFont typeface="+mj-lt"/>
            <a:buAutoNum type="arabicPeriod"/>
          </a:pPr>
          <a:endParaRPr lang="en-US" sz="1600" b="1" dirty="0"/>
        </a:p>
      </dgm:t>
    </dgm:pt>
    <dgm:pt modelId="{3DE899D9-B13E-4558-9AAB-230F1F37CE20}" type="parTrans" cxnId="{CE8B6450-2189-4F29-BED7-9950AA3B164B}">
      <dgm:prSet/>
      <dgm:spPr/>
      <dgm:t>
        <a:bodyPr/>
        <a:lstStyle/>
        <a:p>
          <a:endParaRPr lang="en-US" sz="1600"/>
        </a:p>
      </dgm:t>
    </dgm:pt>
    <dgm:pt modelId="{FAB5B439-56F1-4D91-B64B-3257B9A582AB}" type="sibTrans" cxnId="{CE8B6450-2189-4F29-BED7-9950AA3B164B}">
      <dgm:prSet/>
      <dgm:spPr/>
      <dgm:t>
        <a:bodyPr/>
        <a:lstStyle/>
        <a:p>
          <a:endParaRPr lang="en-US" sz="1600"/>
        </a:p>
      </dgm:t>
    </dgm:pt>
    <dgm:pt modelId="{327A864E-0392-48EA-AB79-C7E44C6F66C1}">
      <dgm:prSet custT="1"/>
      <dgm:spPr/>
      <dgm:t>
        <a:bodyPr/>
        <a:lstStyle/>
        <a:p>
          <a:pPr>
            <a:buFont typeface="Arial" panose="020B0604020202020204" pitchFamily="34" charset="0"/>
            <a:buChar char="•"/>
          </a:pPr>
          <a:endParaRPr lang="en-US" sz="1600" b="0" dirty="0"/>
        </a:p>
      </dgm:t>
    </dgm:pt>
    <dgm:pt modelId="{52471AAB-F6D0-4ACF-830E-B5911F27463B}" type="parTrans" cxnId="{B018F539-D72C-4532-AAFC-ADE8D78B023E}">
      <dgm:prSet/>
      <dgm:spPr/>
      <dgm:t>
        <a:bodyPr/>
        <a:lstStyle/>
        <a:p>
          <a:endParaRPr lang="en-US" sz="1600"/>
        </a:p>
      </dgm:t>
    </dgm:pt>
    <dgm:pt modelId="{ECE6B189-4AA7-43FA-B6A2-60748832DC07}" type="sibTrans" cxnId="{B018F539-D72C-4532-AAFC-ADE8D78B023E}">
      <dgm:prSet/>
      <dgm:spPr/>
      <dgm:t>
        <a:bodyPr/>
        <a:lstStyle/>
        <a:p>
          <a:endParaRPr lang="en-US" sz="1600"/>
        </a:p>
      </dgm:t>
    </dgm:pt>
    <dgm:pt modelId="{7ABAEB86-9030-4F5C-84E3-231439E04410}">
      <dgm:prSet custT="1"/>
      <dgm:spPr/>
      <dgm:t>
        <a:bodyPr/>
        <a:lstStyle/>
        <a:p>
          <a:pPr>
            <a:buFont typeface="Arial" panose="020B0604020202020204" pitchFamily="34" charset="0"/>
            <a:buChar char="•"/>
          </a:pPr>
          <a:endParaRPr lang="en-US" sz="1600" dirty="0"/>
        </a:p>
      </dgm:t>
    </dgm:pt>
    <dgm:pt modelId="{63635727-A900-4AC4-BA4F-B8D72C1C5229}" type="parTrans" cxnId="{C52E9059-07EB-45C6-9BEF-8A3CDFCF59AB}">
      <dgm:prSet/>
      <dgm:spPr/>
      <dgm:t>
        <a:bodyPr/>
        <a:lstStyle/>
        <a:p>
          <a:endParaRPr lang="en-US" sz="1600"/>
        </a:p>
      </dgm:t>
    </dgm:pt>
    <dgm:pt modelId="{CB9E5283-67CD-4046-B064-2E4F85DC91FD}" type="sibTrans" cxnId="{C52E9059-07EB-45C6-9BEF-8A3CDFCF59AB}">
      <dgm:prSet/>
      <dgm:spPr/>
      <dgm:t>
        <a:bodyPr/>
        <a:lstStyle/>
        <a:p>
          <a:endParaRPr lang="en-US" sz="1600"/>
        </a:p>
      </dgm:t>
    </dgm:pt>
    <dgm:pt modelId="{06FA12F5-0F86-4F0F-A009-06A6506BF5DB}">
      <dgm:prSet custT="1"/>
      <dgm:spPr/>
      <dgm:t>
        <a:bodyPr/>
        <a:lstStyle/>
        <a:p>
          <a:pPr>
            <a:buFont typeface="Arial" panose="020B0604020202020204" pitchFamily="34" charset="0"/>
            <a:buChar char="•"/>
          </a:pPr>
          <a:endParaRPr lang="en-US" sz="1600" b="0" dirty="0"/>
        </a:p>
      </dgm:t>
    </dgm:pt>
    <dgm:pt modelId="{7C0A0B7D-7F33-4D72-B595-1942683444CD}" type="parTrans" cxnId="{EC8BDF7F-402D-40C7-B417-CFA7DCA9FCFE}">
      <dgm:prSet/>
      <dgm:spPr/>
      <dgm:t>
        <a:bodyPr/>
        <a:lstStyle/>
        <a:p>
          <a:endParaRPr lang="en-US" sz="1600"/>
        </a:p>
      </dgm:t>
    </dgm:pt>
    <dgm:pt modelId="{0507F9D7-2C52-4C7C-A7A0-686721A1AD9B}" type="sibTrans" cxnId="{EC8BDF7F-402D-40C7-B417-CFA7DCA9FCFE}">
      <dgm:prSet/>
      <dgm:spPr/>
      <dgm:t>
        <a:bodyPr/>
        <a:lstStyle/>
        <a:p>
          <a:endParaRPr lang="en-US" sz="1600"/>
        </a:p>
      </dgm:t>
    </dgm:pt>
    <dgm:pt modelId="{F74C1AAF-B796-4094-A350-7C267064CDE7}" type="pres">
      <dgm:prSet presAssocID="{F51406F2-2820-4F5B-9DAE-BF357316A8DC}" presName="linearFlow" presStyleCnt="0">
        <dgm:presLayoutVars>
          <dgm:dir/>
          <dgm:animLvl val="lvl"/>
          <dgm:resizeHandles/>
        </dgm:presLayoutVars>
      </dgm:prSet>
      <dgm:spPr/>
      <dgm:t>
        <a:bodyPr/>
        <a:lstStyle/>
        <a:p>
          <a:endParaRPr lang="en-US"/>
        </a:p>
      </dgm:t>
    </dgm:pt>
    <dgm:pt modelId="{D8AD60F6-741A-4FE2-9DB5-EC87B7C49B8E}" type="pres">
      <dgm:prSet presAssocID="{9BD30F90-C1F8-4D93-B268-D5B909576CEE}" presName="compositeNode" presStyleCnt="0">
        <dgm:presLayoutVars>
          <dgm:bulletEnabled val="1"/>
        </dgm:presLayoutVars>
      </dgm:prSet>
      <dgm:spPr/>
    </dgm:pt>
    <dgm:pt modelId="{C29B7444-3D9C-40BF-B776-91A5D2C097A5}" type="pres">
      <dgm:prSet presAssocID="{9BD30F90-C1F8-4D93-B268-D5B909576CEE}" presName="image" presStyleLbl="fgImgPlace1" presStyleIdx="0" presStyleCnt="3" custLinFactNeighborY="-8272"/>
      <dgm:spPr>
        <a:blipFill rotWithShape="1">
          <a:blip xmlns:r="http://schemas.openxmlformats.org/officeDocument/2006/relationships" r:embed="rId1"/>
          <a:stretch>
            <a:fillRect/>
          </a:stretch>
        </a:blipFill>
        <a:ln>
          <a:solidFill>
            <a:schemeClr val="tx1"/>
          </a:solidFill>
        </a:ln>
      </dgm:spPr>
    </dgm:pt>
    <dgm:pt modelId="{CC1E396B-74AF-4F8E-8555-DD7A7DAF3FC5}" type="pres">
      <dgm:prSet presAssocID="{9BD30F90-C1F8-4D93-B268-D5B909576CEE}" presName="childNode" presStyleLbl="node1" presStyleIdx="0" presStyleCnt="3" custScaleX="110763">
        <dgm:presLayoutVars>
          <dgm:bulletEnabled val="1"/>
        </dgm:presLayoutVars>
      </dgm:prSet>
      <dgm:spPr/>
      <dgm:t>
        <a:bodyPr/>
        <a:lstStyle/>
        <a:p>
          <a:endParaRPr lang="en-US"/>
        </a:p>
      </dgm:t>
    </dgm:pt>
    <dgm:pt modelId="{AC9E6AEC-0C31-4D94-B66A-4D9958B6B1E3}" type="pres">
      <dgm:prSet presAssocID="{9BD30F90-C1F8-4D93-B268-D5B909576CEE}" presName="parentNode" presStyleLbl="revTx" presStyleIdx="0" presStyleCnt="3">
        <dgm:presLayoutVars>
          <dgm:chMax val="0"/>
          <dgm:bulletEnabled val="1"/>
        </dgm:presLayoutVars>
      </dgm:prSet>
      <dgm:spPr/>
      <dgm:t>
        <a:bodyPr/>
        <a:lstStyle/>
        <a:p>
          <a:endParaRPr lang="en-US"/>
        </a:p>
      </dgm:t>
    </dgm:pt>
    <dgm:pt modelId="{1001AB30-74D1-42EF-8C64-7CB14DFAD512}" type="pres">
      <dgm:prSet presAssocID="{0B1A9C36-56C0-4686-BFDA-4EB5949CED9E}" presName="sibTrans" presStyleCnt="0"/>
      <dgm:spPr/>
    </dgm:pt>
    <dgm:pt modelId="{B83177BE-0260-4AAE-951E-BEB390ACFF7B}" type="pres">
      <dgm:prSet presAssocID="{CE47548A-D834-4346-B34B-F3ACEA117F28}" presName="compositeNode" presStyleCnt="0">
        <dgm:presLayoutVars>
          <dgm:bulletEnabled val="1"/>
        </dgm:presLayoutVars>
      </dgm:prSet>
      <dgm:spPr/>
    </dgm:pt>
    <dgm:pt modelId="{B0184C7C-0EE2-49BE-A38B-39F900A11153}" type="pres">
      <dgm:prSet presAssocID="{CE47548A-D834-4346-B34B-F3ACEA117F28}" presName="image" presStyleLbl="fgImgPlace1" presStyleIdx="1" presStyleCnt="3" custLinFactNeighborY="-4136"/>
      <dgm:spPr>
        <a:blipFill rotWithShape="1">
          <a:blip xmlns:r="http://schemas.openxmlformats.org/officeDocument/2006/relationships" r:embed="rId2"/>
          <a:stretch>
            <a:fillRect/>
          </a:stretch>
        </a:blipFill>
        <a:ln>
          <a:solidFill>
            <a:schemeClr val="tx1"/>
          </a:solidFill>
        </a:ln>
      </dgm:spPr>
    </dgm:pt>
    <dgm:pt modelId="{91F5A72B-15A6-4DFD-88DC-F29D4CDAF5EA}" type="pres">
      <dgm:prSet presAssocID="{CE47548A-D834-4346-B34B-F3ACEA117F28}" presName="childNode" presStyleLbl="node1" presStyleIdx="1" presStyleCnt="3" custScaleX="108002">
        <dgm:presLayoutVars>
          <dgm:bulletEnabled val="1"/>
        </dgm:presLayoutVars>
      </dgm:prSet>
      <dgm:spPr/>
      <dgm:t>
        <a:bodyPr/>
        <a:lstStyle/>
        <a:p>
          <a:endParaRPr lang="en-US"/>
        </a:p>
      </dgm:t>
    </dgm:pt>
    <dgm:pt modelId="{5802AAAC-93ED-45B4-8822-CBCD9A72AB91}" type="pres">
      <dgm:prSet presAssocID="{CE47548A-D834-4346-B34B-F3ACEA117F28}" presName="parentNode" presStyleLbl="revTx" presStyleIdx="1" presStyleCnt="3">
        <dgm:presLayoutVars>
          <dgm:chMax val="0"/>
          <dgm:bulletEnabled val="1"/>
        </dgm:presLayoutVars>
      </dgm:prSet>
      <dgm:spPr/>
      <dgm:t>
        <a:bodyPr/>
        <a:lstStyle/>
        <a:p>
          <a:endParaRPr lang="en-US"/>
        </a:p>
      </dgm:t>
    </dgm:pt>
    <dgm:pt modelId="{E0F7A3BD-B83A-4328-ADB3-5298028A5005}" type="pres">
      <dgm:prSet presAssocID="{FCB0D041-0954-4349-8C88-7321A4FDCC39}" presName="sibTrans" presStyleCnt="0"/>
      <dgm:spPr/>
    </dgm:pt>
    <dgm:pt modelId="{FA336614-9D83-485C-89D1-9159C4403506}" type="pres">
      <dgm:prSet presAssocID="{243F74DA-A73E-40A6-BD1A-FF575589B0B3}" presName="compositeNode" presStyleCnt="0">
        <dgm:presLayoutVars>
          <dgm:bulletEnabled val="1"/>
        </dgm:presLayoutVars>
      </dgm:prSet>
      <dgm:spPr/>
    </dgm:pt>
    <dgm:pt modelId="{3C3EF86D-2605-4F23-A14D-F2D84FBBFB48}" type="pres">
      <dgm:prSet presAssocID="{243F74DA-A73E-40A6-BD1A-FF575589B0B3}" presName="image" presStyleLbl="fgImgPlace1" presStyleIdx="2" presStyleCnt="3" custLinFactNeighborX="-2377" custLinFactNeighborY="-7833"/>
      <dgm:spPr>
        <a:blipFill rotWithShape="1">
          <a:blip xmlns:r="http://schemas.openxmlformats.org/officeDocument/2006/relationships" r:embed="rId3"/>
          <a:stretch>
            <a:fillRect/>
          </a:stretch>
        </a:blipFill>
        <a:ln>
          <a:solidFill>
            <a:schemeClr val="tx1"/>
          </a:solidFill>
        </a:ln>
      </dgm:spPr>
    </dgm:pt>
    <dgm:pt modelId="{94D04BEC-FB96-4696-A3CE-0F90A7C821EA}" type="pres">
      <dgm:prSet presAssocID="{243F74DA-A73E-40A6-BD1A-FF575589B0B3}" presName="childNode" presStyleLbl="node1" presStyleIdx="2" presStyleCnt="3" custScaleX="110137">
        <dgm:presLayoutVars>
          <dgm:bulletEnabled val="1"/>
        </dgm:presLayoutVars>
      </dgm:prSet>
      <dgm:spPr/>
      <dgm:t>
        <a:bodyPr/>
        <a:lstStyle/>
        <a:p>
          <a:endParaRPr lang="en-US"/>
        </a:p>
      </dgm:t>
    </dgm:pt>
    <dgm:pt modelId="{F956FD8B-6AB5-48BB-AB3D-E8B88C60FA53}" type="pres">
      <dgm:prSet presAssocID="{243F74DA-A73E-40A6-BD1A-FF575589B0B3}" presName="parentNode" presStyleLbl="revTx" presStyleIdx="2" presStyleCnt="3">
        <dgm:presLayoutVars>
          <dgm:chMax val="0"/>
          <dgm:bulletEnabled val="1"/>
        </dgm:presLayoutVars>
      </dgm:prSet>
      <dgm:spPr/>
      <dgm:t>
        <a:bodyPr/>
        <a:lstStyle/>
        <a:p>
          <a:endParaRPr lang="en-US"/>
        </a:p>
      </dgm:t>
    </dgm:pt>
  </dgm:ptLst>
  <dgm:cxnLst>
    <dgm:cxn modelId="{7AEAD5A6-3787-4468-AB23-71F76357A543}" srcId="{299B9FB0-5363-49EB-AA46-FD35A124A6ED}" destId="{43A47F06-DA84-4492-81E3-84B48F0616B0}" srcOrd="4" destOrd="0" parTransId="{5363DD4F-C1BB-4C0A-A542-7DB3542F2C19}" sibTransId="{672736B7-ED00-42E2-81C2-EE3CBC3AE959}"/>
    <dgm:cxn modelId="{3809C2AA-E0E2-44CA-AADD-62B6387D6092}" srcId="{ACABB481-0637-4C91-B396-2947ADF97B8D}" destId="{A615D427-A794-4D5A-8761-48D62F910FEF}" srcOrd="2" destOrd="0" parTransId="{7863B952-7FCB-4D10-B966-334DDA3ABE29}" sibTransId="{E7A1C004-9DB1-426B-94A8-485FE4EA0DBD}"/>
    <dgm:cxn modelId="{1FA34A47-902A-4D6A-8A72-53CF20EE7D1A}" type="presOf" srcId="{45559EAE-B575-4584-A547-59893B91CDDC}" destId="{CC1E396B-74AF-4F8E-8555-DD7A7DAF3FC5}" srcOrd="0" destOrd="1" presId="urn:microsoft.com/office/officeart/2005/8/layout/hList2"/>
    <dgm:cxn modelId="{C52E9059-07EB-45C6-9BEF-8A3CDFCF59AB}" srcId="{9BD30F90-C1F8-4D93-B268-D5B909576CEE}" destId="{7ABAEB86-9030-4F5C-84E3-231439E04410}" srcOrd="5" destOrd="0" parTransId="{63635727-A900-4AC4-BA4F-B8D72C1C5229}" sibTransId="{CB9E5283-67CD-4046-B064-2E4F85DC91FD}"/>
    <dgm:cxn modelId="{38F36BE0-F9CD-4741-A200-60D2C286C1EC}" srcId="{ACABB481-0637-4C91-B396-2947ADF97B8D}" destId="{90CF2DE2-0757-4BF3-B759-F15557D100D6}" srcOrd="1" destOrd="0" parTransId="{8EDAAC13-9752-4C74-B241-B9FE5A46A004}" sibTransId="{2047FD77-A4DB-4EA7-9E2A-C1B2732C0B00}"/>
    <dgm:cxn modelId="{9F9D3BCF-80C5-4344-A775-D34654CA9DE6}" type="presOf" srcId="{3C92F2BE-917F-4891-A46E-5E5431C6225E}" destId="{94D04BEC-FB96-4696-A3CE-0F90A7C821EA}" srcOrd="0" destOrd="0" presId="urn:microsoft.com/office/officeart/2005/8/layout/hList2"/>
    <dgm:cxn modelId="{CAA65005-D4F3-4145-BB36-0DAB6CB80539}" srcId="{F51406F2-2820-4F5B-9DAE-BF357316A8DC}" destId="{CE47548A-D834-4346-B34B-F3ACEA117F28}" srcOrd="1" destOrd="0" parTransId="{3DE67701-02A7-4347-A1CB-53E7751EFA51}" sibTransId="{FCB0D041-0954-4349-8C88-7321A4FDCC39}"/>
    <dgm:cxn modelId="{251F4A0F-0AA0-4008-9A11-F79757267022}" type="presOf" srcId="{90CF2DE2-0757-4BF3-B759-F15557D100D6}" destId="{91F5A72B-15A6-4DFD-88DC-F29D4CDAF5EA}" srcOrd="0" destOrd="3" presId="urn:microsoft.com/office/officeart/2005/8/layout/hList2"/>
    <dgm:cxn modelId="{021528E5-4238-4288-93F5-6AB6411F536F}" type="presOf" srcId="{AF304CC0-7008-41EB-8849-A7854EFF4CCA}" destId="{CC1E396B-74AF-4F8E-8555-DD7A7DAF3FC5}" srcOrd="0" destOrd="6" presId="urn:microsoft.com/office/officeart/2005/8/layout/hList2"/>
    <dgm:cxn modelId="{B018F539-D72C-4532-AAFC-ADE8D78B023E}" srcId="{9BD30F90-C1F8-4D93-B268-D5B909576CEE}" destId="{327A864E-0392-48EA-AB79-C7E44C6F66C1}" srcOrd="3" destOrd="0" parTransId="{52471AAB-F6D0-4ACF-830E-B5911F27463B}" sibTransId="{ECE6B189-4AA7-43FA-B6A2-60748832DC07}"/>
    <dgm:cxn modelId="{FE288CD5-5810-4BCC-BF24-A14CCAF0B9C2}" type="presOf" srcId="{9B9441DE-D30E-49B0-A346-9515E7F60A7A}" destId="{94D04BEC-FB96-4696-A3CE-0F90A7C821EA}" srcOrd="0" destOrd="4" presId="urn:microsoft.com/office/officeart/2005/8/layout/hList2"/>
    <dgm:cxn modelId="{38AD3854-A632-4CF6-9BD4-86DA50E6F270}" srcId="{F51406F2-2820-4F5B-9DAE-BF357316A8DC}" destId="{9BD30F90-C1F8-4D93-B268-D5B909576CEE}" srcOrd="0" destOrd="0" parTransId="{D4034006-FF85-4618-8741-F76899B63999}" sibTransId="{0B1A9C36-56C0-4686-BFDA-4EB5949CED9E}"/>
    <dgm:cxn modelId="{50E1F072-7159-4032-8287-DFFFCF4B386C}" type="presOf" srcId="{49952459-057F-4ED1-B1BD-5A42C144B27A}" destId="{91F5A72B-15A6-4DFD-88DC-F29D4CDAF5EA}" srcOrd="0" destOrd="6" presId="urn:microsoft.com/office/officeart/2005/8/layout/hList2"/>
    <dgm:cxn modelId="{A4474247-6397-4087-9FA0-5555F07C8A27}" srcId="{9BD30F90-C1F8-4D93-B268-D5B909576CEE}" destId="{7E1EFD89-53BD-4989-95C4-9F462FECF438}" srcOrd="4" destOrd="0" parTransId="{467F7590-19E5-439C-90C2-3AB36FCE0106}" sibTransId="{8E693705-5A75-4765-8261-08288B5611BB}"/>
    <dgm:cxn modelId="{16FCA003-9C86-4B69-AF33-79882417A574}" type="presOf" srcId="{327A864E-0392-48EA-AB79-C7E44C6F66C1}" destId="{CC1E396B-74AF-4F8E-8555-DD7A7DAF3FC5}" srcOrd="0" destOrd="3" presId="urn:microsoft.com/office/officeart/2005/8/layout/hList2"/>
    <dgm:cxn modelId="{388184E3-487D-43EC-B232-16FD99A4EADC}" srcId="{9BD30F90-C1F8-4D93-B268-D5B909576CEE}" destId="{97F64123-919E-4038-878F-93E656547667}" srcOrd="2" destOrd="0" parTransId="{70439D32-DD35-4705-B99B-95FAA6A7B1C0}" sibTransId="{79A32FB8-35BE-459B-93EC-D68D40F04CEF}"/>
    <dgm:cxn modelId="{AEF89324-A0E7-4BE1-BD5D-665AE712768C}" type="presOf" srcId="{AF3545CA-BC97-420B-9320-3D6B6096F52B}" destId="{91F5A72B-15A6-4DFD-88DC-F29D4CDAF5EA}" srcOrd="0" destOrd="0" presId="urn:microsoft.com/office/officeart/2005/8/layout/hList2"/>
    <dgm:cxn modelId="{0DA08838-3147-410C-BE81-244882384E45}" type="presOf" srcId="{ACABB481-0637-4C91-B396-2947ADF97B8D}" destId="{91F5A72B-15A6-4DFD-88DC-F29D4CDAF5EA}" srcOrd="0" destOrd="1" presId="urn:microsoft.com/office/officeart/2005/8/layout/hList2"/>
    <dgm:cxn modelId="{5B249E95-349F-400A-A193-2E0D2C92E924}" type="presOf" srcId="{7ABAEB86-9030-4F5C-84E3-231439E04410}" destId="{CC1E396B-74AF-4F8E-8555-DD7A7DAF3FC5}" srcOrd="0" destOrd="5" presId="urn:microsoft.com/office/officeart/2005/8/layout/hList2"/>
    <dgm:cxn modelId="{FA28F40B-AED1-4C0D-9688-AF0B62D8B817}" type="presOf" srcId="{97F64123-919E-4038-878F-93E656547667}" destId="{CC1E396B-74AF-4F8E-8555-DD7A7DAF3FC5}" srcOrd="0" destOrd="2" presId="urn:microsoft.com/office/officeart/2005/8/layout/hList2"/>
    <dgm:cxn modelId="{E1989F6C-BFC7-45E1-86F6-5C69B84BD86A}" type="presOf" srcId="{21CE9EB0-DE77-40E2-ADE5-BE9BA424A371}" destId="{CC1E396B-74AF-4F8E-8555-DD7A7DAF3FC5}" srcOrd="0" destOrd="0" presId="urn:microsoft.com/office/officeart/2005/8/layout/hList2"/>
    <dgm:cxn modelId="{B14D90FE-10AD-4763-A256-DACEAD0B5716}" type="presOf" srcId="{B6906231-8EF7-4A65-B8AD-085E90CF42E8}" destId="{94D04BEC-FB96-4696-A3CE-0F90A7C821EA}" srcOrd="0" destOrd="2" presId="urn:microsoft.com/office/officeart/2005/8/layout/hList2"/>
    <dgm:cxn modelId="{7DC665BF-47B9-4CEB-AF6D-DBADBF8B8DF2}" srcId="{243F74DA-A73E-40A6-BD1A-FF575589B0B3}" destId="{3C92F2BE-917F-4891-A46E-5E5431C6225E}" srcOrd="0" destOrd="0" parTransId="{F9AAFDB5-7F2B-402C-8FB8-BC5900F12F5D}" sibTransId="{7794950F-BDEF-4209-B825-3B41F50860B3}"/>
    <dgm:cxn modelId="{6AB1E387-0B85-4E27-B399-3EBE1DB3DB40}" type="presOf" srcId="{06FA12F5-0F86-4F0F-A009-06A6506BF5DB}" destId="{94D04BEC-FB96-4696-A3CE-0F90A7C821EA}" srcOrd="0" destOrd="5" presId="urn:microsoft.com/office/officeart/2005/8/layout/hList2"/>
    <dgm:cxn modelId="{E57159FC-8A16-490D-89E6-2F35AF92656E}" type="presOf" srcId="{3894C769-827A-44D9-90C6-D542550F8984}" destId="{91F5A72B-15A6-4DFD-88DC-F29D4CDAF5EA}" srcOrd="0" destOrd="2" presId="urn:microsoft.com/office/officeart/2005/8/layout/hList2"/>
    <dgm:cxn modelId="{9F8B3495-3F85-4335-B3D2-C2578275A3FF}" srcId="{9BD30F90-C1F8-4D93-B268-D5B909576CEE}" destId="{AF304CC0-7008-41EB-8849-A7854EFF4CCA}" srcOrd="6" destOrd="0" parTransId="{43BBB6E8-F935-4CB1-8918-B95BDFC60BA2}" sibTransId="{783DF81C-5A07-4C30-BC1C-D2A7284CF784}"/>
    <dgm:cxn modelId="{443AB9EC-5E81-49D9-BCF6-EB9C2F5D748F}" srcId="{ACABB481-0637-4C91-B396-2947ADF97B8D}" destId="{83D9147D-9F5E-4298-9B63-A5958F07B0D5}" srcOrd="3" destOrd="0" parTransId="{6DC04629-0642-44B1-BAE3-DCE4E9B78E79}" sibTransId="{B2D30E7E-2808-4D35-AA90-AFF75FB093FB}"/>
    <dgm:cxn modelId="{21699584-6904-4482-ACB8-7EC315CFB96B}" type="presOf" srcId="{43A47F06-DA84-4492-81E3-84B48F0616B0}" destId="{94D04BEC-FB96-4696-A3CE-0F90A7C821EA}" srcOrd="0" destOrd="6" presId="urn:microsoft.com/office/officeart/2005/8/layout/hList2"/>
    <dgm:cxn modelId="{7F893AF0-8367-49C9-BADD-FA4017E3133C}" type="presOf" srcId="{7E1EFD89-53BD-4989-95C4-9F462FECF438}" destId="{CC1E396B-74AF-4F8E-8555-DD7A7DAF3FC5}" srcOrd="0" destOrd="4" presId="urn:microsoft.com/office/officeart/2005/8/layout/hList2"/>
    <dgm:cxn modelId="{49643B18-D26F-46A4-82A7-964E9975D152}" type="presOf" srcId="{F51406F2-2820-4F5B-9DAE-BF357316A8DC}" destId="{F74C1AAF-B796-4094-A350-7C267064CDE7}" srcOrd="0" destOrd="0" presId="urn:microsoft.com/office/officeart/2005/8/layout/hList2"/>
    <dgm:cxn modelId="{C325ED9F-E1EF-4727-B6BD-FB1621F28A8D}" type="presOf" srcId="{9BD30F90-C1F8-4D93-B268-D5B909576CEE}" destId="{AC9E6AEC-0C31-4D94-B66A-4D9958B6B1E3}" srcOrd="0" destOrd="0" presId="urn:microsoft.com/office/officeart/2005/8/layout/hList2"/>
    <dgm:cxn modelId="{EC8BDF7F-402D-40C7-B417-CFA7DCA9FCFE}" srcId="{299B9FB0-5363-49EB-AA46-FD35A124A6ED}" destId="{06FA12F5-0F86-4F0F-A009-06A6506BF5DB}" srcOrd="3" destOrd="0" parTransId="{7C0A0B7D-7F33-4D72-B595-1942683444CD}" sibTransId="{0507F9D7-2C52-4C7C-A7A0-686721A1AD9B}"/>
    <dgm:cxn modelId="{EBE952DF-4CCD-4489-9FF2-A36E8D22F63E}" srcId="{CE47548A-D834-4346-B34B-F3ACEA117F28}" destId="{AF3545CA-BC97-420B-9320-3D6B6096F52B}" srcOrd="0" destOrd="0" parTransId="{4EE72E6C-1D89-47AC-81E2-17B813D2F6CE}" sibTransId="{17D93CAC-73AF-457A-885A-8ECDAEE78F71}"/>
    <dgm:cxn modelId="{D8890D89-1716-473C-939B-FB619D70559D}" srcId="{299B9FB0-5363-49EB-AA46-FD35A124A6ED}" destId="{9B9441DE-D30E-49B0-A346-9515E7F60A7A}" srcOrd="2" destOrd="0" parTransId="{EC41ED18-DD00-4243-9D42-8EDA7346553F}" sibTransId="{33C6E9BE-031F-4839-9C2C-F8D1D8E54868}"/>
    <dgm:cxn modelId="{142396F9-AC9A-4154-B461-3068908EC392}" srcId="{F51406F2-2820-4F5B-9DAE-BF357316A8DC}" destId="{243F74DA-A73E-40A6-BD1A-FF575589B0B3}" srcOrd="2" destOrd="0" parTransId="{C0AD6DA9-6364-4939-9E4E-DD174FCA737F}" sibTransId="{3B4031D0-FB8F-4E9E-8350-065AC7BFA9DB}"/>
    <dgm:cxn modelId="{64CEADBE-87D8-482A-8573-3497C850F78D}" srcId="{ACABB481-0637-4C91-B396-2947ADF97B8D}" destId="{49952459-057F-4ED1-B1BD-5A42C144B27A}" srcOrd="4" destOrd="0" parTransId="{0645C382-5747-4468-9CDA-B5FBFD6E4AB7}" sibTransId="{177E841E-3508-44C9-98D2-4FCE7BB714D8}"/>
    <dgm:cxn modelId="{6A303746-61A6-45AD-8F6F-8C5D35893496}" srcId="{ACABB481-0637-4C91-B396-2947ADF97B8D}" destId="{3894C769-827A-44D9-90C6-D542550F8984}" srcOrd="0" destOrd="0" parTransId="{45F7A6DB-D35E-4371-9BD6-9B3CF2A967B0}" sibTransId="{0B1B3742-5DE6-41F9-836C-70D7D5F80685}"/>
    <dgm:cxn modelId="{AA730DAE-37AF-4400-B02E-72409B1EFDCB}" type="presOf" srcId="{CE47548A-D834-4346-B34B-F3ACEA117F28}" destId="{5802AAAC-93ED-45B4-8822-CBCD9A72AB91}" srcOrd="0" destOrd="0" presId="urn:microsoft.com/office/officeart/2005/8/layout/hList2"/>
    <dgm:cxn modelId="{66B5967F-24B3-4B5F-9453-6D4E05E52909}" type="presOf" srcId="{243F74DA-A73E-40A6-BD1A-FF575589B0B3}" destId="{F956FD8B-6AB5-48BB-AB3D-E8B88C60FA53}" srcOrd="0" destOrd="0" presId="urn:microsoft.com/office/officeart/2005/8/layout/hList2"/>
    <dgm:cxn modelId="{814EC1D7-90A1-4987-8CDC-8FBF65F2AFDC}" type="presOf" srcId="{299B9FB0-5363-49EB-AA46-FD35A124A6ED}" destId="{94D04BEC-FB96-4696-A3CE-0F90A7C821EA}" srcOrd="0" destOrd="1" presId="urn:microsoft.com/office/officeart/2005/8/layout/hList2"/>
    <dgm:cxn modelId="{346933E2-AE2B-4341-B6F5-78E1582DDD9C}" type="presOf" srcId="{BE746204-6169-4BD7-AAF9-C5D32901949E}" destId="{94D04BEC-FB96-4696-A3CE-0F90A7C821EA}" srcOrd="0" destOrd="3" presId="urn:microsoft.com/office/officeart/2005/8/layout/hList2"/>
    <dgm:cxn modelId="{CE8B6450-2189-4F29-BED7-9950AA3B164B}" srcId="{9BD30F90-C1F8-4D93-B268-D5B909576CEE}" destId="{45559EAE-B575-4584-A547-59893B91CDDC}" srcOrd="1" destOrd="0" parTransId="{3DE899D9-B13E-4558-9AAB-230F1F37CE20}" sibTransId="{FAB5B439-56F1-4D91-B64B-3257B9A582AB}"/>
    <dgm:cxn modelId="{4D93696E-34CA-442A-B27D-CDE1118025C6}" srcId="{CE47548A-D834-4346-B34B-F3ACEA117F28}" destId="{ACABB481-0637-4C91-B396-2947ADF97B8D}" srcOrd="1" destOrd="0" parTransId="{0409D7D3-EAC8-4B21-815A-41272F66C951}" sibTransId="{584CC47C-B7BA-4E00-9483-0E8ABB3F82FE}"/>
    <dgm:cxn modelId="{187F665D-3587-4625-9B9A-71F1D8DAFEAE}" type="presOf" srcId="{A615D427-A794-4D5A-8761-48D62F910FEF}" destId="{91F5A72B-15A6-4DFD-88DC-F29D4CDAF5EA}" srcOrd="0" destOrd="4" presId="urn:microsoft.com/office/officeart/2005/8/layout/hList2"/>
    <dgm:cxn modelId="{EC7AB57F-728B-4AC8-A6DF-2DB735E90408}" srcId="{299B9FB0-5363-49EB-AA46-FD35A124A6ED}" destId="{B6906231-8EF7-4A65-B8AD-085E90CF42E8}" srcOrd="0" destOrd="0" parTransId="{D4E61243-DA87-40F6-AE7A-C4D8F33830E5}" sibTransId="{B87C0748-1265-4B64-9FF1-1E541B5CEE7A}"/>
    <dgm:cxn modelId="{13E57D37-6696-4734-B699-EA14B52B0855}" srcId="{9BD30F90-C1F8-4D93-B268-D5B909576CEE}" destId="{21CE9EB0-DE77-40E2-ADE5-BE9BA424A371}" srcOrd="0" destOrd="0" parTransId="{E7F91335-E9E8-4295-AA1D-DBEF2983B4F9}" sibTransId="{B96AD31F-50ED-4550-B7BB-4DCE143612FB}"/>
    <dgm:cxn modelId="{08A76722-A833-4857-9DAB-5B2D442D02CD}" type="presOf" srcId="{83D9147D-9F5E-4298-9B63-A5958F07B0D5}" destId="{91F5A72B-15A6-4DFD-88DC-F29D4CDAF5EA}" srcOrd="0" destOrd="5" presId="urn:microsoft.com/office/officeart/2005/8/layout/hList2"/>
    <dgm:cxn modelId="{FA915E51-687B-4D4E-8473-9AE263A60590}" srcId="{243F74DA-A73E-40A6-BD1A-FF575589B0B3}" destId="{299B9FB0-5363-49EB-AA46-FD35A124A6ED}" srcOrd="1" destOrd="0" parTransId="{4C600D22-9CEE-4050-909A-B78C14CE2B85}" sibTransId="{BDAA72A1-6082-48B5-B4C0-A46E4285006D}"/>
    <dgm:cxn modelId="{BE59DDDD-726A-484E-8EBA-DD4C8A37A88E}" srcId="{299B9FB0-5363-49EB-AA46-FD35A124A6ED}" destId="{BE746204-6169-4BD7-AAF9-C5D32901949E}" srcOrd="1" destOrd="0" parTransId="{5355DB56-CEFF-4F82-B5FD-557BF2687589}" sibTransId="{FF975C31-1FC6-46D3-B3CC-A8B300264E00}"/>
    <dgm:cxn modelId="{C7D8B82E-5020-4A38-9DD4-9725C2D51F3B}" type="presParOf" srcId="{F74C1AAF-B796-4094-A350-7C267064CDE7}" destId="{D8AD60F6-741A-4FE2-9DB5-EC87B7C49B8E}" srcOrd="0" destOrd="0" presId="urn:microsoft.com/office/officeart/2005/8/layout/hList2"/>
    <dgm:cxn modelId="{6E449BF0-2986-48D0-AFEB-DE2EE8607CB5}" type="presParOf" srcId="{D8AD60F6-741A-4FE2-9DB5-EC87B7C49B8E}" destId="{C29B7444-3D9C-40BF-B776-91A5D2C097A5}" srcOrd="0" destOrd="0" presId="urn:microsoft.com/office/officeart/2005/8/layout/hList2"/>
    <dgm:cxn modelId="{FA28A058-EA47-4BE2-AA97-8875F5147410}" type="presParOf" srcId="{D8AD60F6-741A-4FE2-9DB5-EC87B7C49B8E}" destId="{CC1E396B-74AF-4F8E-8555-DD7A7DAF3FC5}" srcOrd="1" destOrd="0" presId="urn:microsoft.com/office/officeart/2005/8/layout/hList2"/>
    <dgm:cxn modelId="{C0BA65F0-445A-4045-B3E3-1A25658C2DC8}" type="presParOf" srcId="{D8AD60F6-741A-4FE2-9DB5-EC87B7C49B8E}" destId="{AC9E6AEC-0C31-4D94-B66A-4D9958B6B1E3}" srcOrd="2" destOrd="0" presId="urn:microsoft.com/office/officeart/2005/8/layout/hList2"/>
    <dgm:cxn modelId="{61DB2B0B-A726-469D-ADAE-24E9F67268C1}" type="presParOf" srcId="{F74C1AAF-B796-4094-A350-7C267064CDE7}" destId="{1001AB30-74D1-42EF-8C64-7CB14DFAD512}" srcOrd="1" destOrd="0" presId="urn:microsoft.com/office/officeart/2005/8/layout/hList2"/>
    <dgm:cxn modelId="{A28D147D-D03A-44B6-B2AA-35210BD6D623}" type="presParOf" srcId="{F74C1AAF-B796-4094-A350-7C267064CDE7}" destId="{B83177BE-0260-4AAE-951E-BEB390ACFF7B}" srcOrd="2" destOrd="0" presId="urn:microsoft.com/office/officeart/2005/8/layout/hList2"/>
    <dgm:cxn modelId="{8158B9B4-0459-4CC0-BECA-E7F621C8AF40}" type="presParOf" srcId="{B83177BE-0260-4AAE-951E-BEB390ACFF7B}" destId="{B0184C7C-0EE2-49BE-A38B-39F900A11153}" srcOrd="0" destOrd="0" presId="urn:microsoft.com/office/officeart/2005/8/layout/hList2"/>
    <dgm:cxn modelId="{D404B7E3-38B6-44BB-93A3-4617FF95AF5C}" type="presParOf" srcId="{B83177BE-0260-4AAE-951E-BEB390ACFF7B}" destId="{91F5A72B-15A6-4DFD-88DC-F29D4CDAF5EA}" srcOrd="1" destOrd="0" presId="urn:microsoft.com/office/officeart/2005/8/layout/hList2"/>
    <dgm:cxn modelId="{69D990EF-ECE9-472E-ADBB-7253ED50B6C2}" type="presParOf" srcId="{B83177BE-0260-4AAE-951E-BEB390ACFF7B}" destId="{5802AAAC-93ED-45B4-8822-CBCD9A72AB91}" srcOrd="2" destOrd="0" presId="urn:microsoft.com/office/officeart/2005/8/layout/hList2"/>
    <dgm:cxn modelId="{2FE700EB-D0CE-489E-8E26-894BD6B39385}" type="presParOf" srcId="{F74C1AAF-B796-4094-A350-7C267064CDE7}" destId="{E0F7A3BD-B83A-4328-ADB3-5298028A5005}" srcOrd="3" destOrd="0" presId="urn:microsoft.com/office/officeart/2005/8/layout/hList2"/>
    <dgm:cxn modelId="{AE0D06AD-785A-44F0-B452-DD651CCEEE12}" type="presParOf" srcId="{F74C1AAF-B796-4094-A350-7C267064CDE7}" destId="{FA336614-9D83-485C-89D1-9159C4403506}" srcOrd="4" destOrd="0" presId="urn:microsoft.com/office/officeart/2005/8/layout/hList2"/>
    <dgm:cxn modelId="{BAC75F47-2174-4A66-92A4-0699C5803C57}" type="presParOf" srcId="{FA336614-9D83-485C-89D1-9159C4403506}" destId="{3C3EF86D-2605-4F23-A14D-F2D84FBBFB48}" srcOrd="0" destOrd="0" presId="urn:microsoft.com/office/officeart/2005/8/layout/hList2"/>
    <dgm:cxn modelId="{75759728-8C55-48E2-907F-F8EBDDA0EB7E}" type="presParOf" srcId="{FA336614-9D83-485C-89D1-9159C4403506}" destId="{94D04BEC-FB96-4696-A3CE-0F90A7C821EA}" srcOrd="1" destOrd="0" presId="urn:microsoft.com/office/officeart/2005/8/layout/hList2"/>
    <dgm:cxn modelId="{DF3EE488-9FE9-47FA-AD15-ECCC34315A0C}" type="presParOf" srcId="{FA336614-9D83-485C-89D1-9159C4403506}" destId="{F956FD8B-6AB5-48BB-AB3D-E8B88C60FA53}"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4384935C-C5DD-4955-981D-D9A1C7EC1578}" type="doc">
      <dgm:prSet loTypeId="urn:microsoft.com/office/officeart/2008/layout/BendingPictureBlocks" loCatId="picture" qsTypeId="urn:microsoft.com/office/officeart/2005/8/quickstyle/simple2" qsCatId="simple" csTypeId="urn:microsoft.com/office/officeart/2005/8/colors/accent4_2" csCatId="accent4" phldr="1"/>
      <dgm:spPr/>
      <dgm:t>
        <a:bodyPr/>
        <a:lstStyle/>
        <a:p>
          <a:endParaRPr lang="en-US"/>
        </a:p>
      </dgm:t>
    </dgm:pt>
    <dgm:pt modelId="{B35391F9-D3C7-4C06-8A31-2F0EC3030B59}" type="asst">
      <dgm:prSet phldrT="[Text]" custT="1"/>
      <dgm:spPr/>
      <dgm:t>
        <a:bodyPr/>
        <a:lstStyle/>
        <a:p>
          <a:pPr algn="l">
            <a:lnSpc>
              <a:spcPct val="90000"/>
            </a:lnSpc>
          </a:pPr>
          <a:r>
            <a:rPr lang="en-US" sz="1600" b="1" dirty="0" smtClean="0"/>
            <a:t>1 – Likely</a:t>
          </a:r>
        </a:p>
        <a:p>
          <a:pPr algn="l">
            <a:lnSpc>
              <a:spcPct val="90000"/>
            </a:lnSpc>
          </a:pPr>
          <a:r>
            <a:rPr lang="en-US" sz="1600" b="1" dirty="0" smtClean="0"/>
            <a:t>2 – Possible</a:t>
          </a:r>
        </a:p>
        <a:p>
          <a:pPr algn="l">
            <a:lnSpc>
              <a:spcPct val="90000"/>
            </a:lnSpc>
          </a:pPr>
          <a:r>
            <a:rPr lang="en-US" sz="1600" b="1" dirty="0" smtClean="0"/>
            <a:t>3 – Potential</a:t>
          </a:r>
        </a:p>
        <a:p>
          <a:pPr algn="l">
            <a:lnSpc>
              <a:spcPct val="90000"/>
            </a:lnSpc>
          </a:pPr>
          <a:endParaRPr lang="en-US" sz="1200" b="1" dirty="0" smtClean="0"/>
        </a:p>
        <a:p>
          <a:pPr algn="l">
            <a:lnSpc>
              <a:spcPct val="90000"/>
            </a:lnSpc>
          </a:pPr>
          <a:r>
            <a:rPr lang="en-US" sz="1200" b="1" dirty="0" smtClean="0"/>
            <a:t>Example:</a:t>
          </a:r>
          <a:r>
            <a:rPr lang="en-US" sz="1200" dirty="0" smtClean="0"/>
            <a:t> </a:t>
          </a:r>
        </a:p>
        <a:p>
          <a:pPr algn="l">
            <a:lnSpc>
              <a:spcPct val="150000"/>
            </a:lnSpc>
          </a:pPr>
          <a:r>
            <a:rPr lang="en-US" sz="1200" i="0" dirty="0" smtClean="0"/>
            <a:t>A paved roadway base along a river in Tonga will last 30 years, deeming a 2050 planning horizon when the precipitation and heat from the RCP 6 model will be most severe. </a:t>
          </a:r>
        </a:p>
        <a:p>
          <a:pPr algn="l">
            <a:lnSpc>
              <a:spcPct val="150000"/>
            </a:lnSpc>
          </a:pPr>
          <a:r>
            <a:rPr lang="en-US" sz="1200" i="0" dirty="0" smtClean="0"/>
            <a:t>This Major roadway will use the 75</a:t>
          </a:r>
          <a:r>
            <a:rPr lang="en-US" sz="1200" i="0" baseline="30000" dirty="0" smtClean="0"/>
            <a:t>th</a:t>
          </a:r>
          <a:r>
            <a:rPr lang="en-US" sz="1200" i="0" dirty="0" smtClean="0"/>
            <a:t> percentile to predict that floods and landslides are </a:t>
          </a:r>
          <a:r>
            <a:rPr lang="en-US" sz="1200" i="0" dirty="0" smtClean="0">
              <a:solidFill>
                <a:schemeClr val="tx1"/>
              </a:solidFill>
            </a:rPr>
            <a:t>L</a:t>
          </a:r>
          <a:r>
            <a:rPr lang="en-US" sz="1200" b="1" i="0" dirty="0" smtClean="0">
              <a:solidFill>
                <a:schemeClr val="tx1"/>
              </a:solidFill>
            </a:rPr>
            <a:t>ikely</a:t>
          </a:r>
          <a:endParaRPr lang="en-US" sz="1200" i="0" dirty="0">
            <a:solidFill>
              <a:schemeClr val="tx1"/>
            </a:solidFill>
            <a:latin typeface="+mn-lt"/>
            <a:cs typeface="Arial" panose="020B0604020202020204" pitchFamily="34" charset="0"/>
          </a:endParaRPr>
        </a:p>
      </dgm:t>
    </dgm:pt>
    <dgm:pt modelId="{B4DCB00F-54A1-47C0-A0E4-BB6C465CE742}" type="parTrans" cxnId="{45CF36AE-2FD3-447B-87FB-AE4D7AD2FB03}">
      <dgm:prSet/>
      <dgm:spPr/>
      <dgm:t>
        <a:bodyPr/>
        <a:lstStyle/>
        <a:p>
          <a:endParaRPr lang="en-US"/>
        </a:p>
      </dgm:t>
    </dgm:pt>
    <dgm:pt modelId="{ED89F502-389D-434E-88CD-6D0AB7C26BF4}" type="sibTrans" cxnId="{45CF36AE-2FD3-447B-87FB-AE4D7AD2FB03}">
      <dgm:prSet/>
      <dgm:spPr/>
      <dgm:t>
        <a:bodyPr/>
        <a:lstStyle/>
        <a:p>
          <a:endParaRPr lang="en-US"/>
        </a:p>
      </dgm:t>
    </dgm:pt>
    <dgm:pt modelId="{C245CC9E-C0EA-4877-A371-69B92322806B}" type="pres">
      <dgm:prSet presAssocID="{4384935C-C5DD-4955-981D-D9A1C7EC1578}" presName="Name0" presStyleCnt="0">
        <dgm:presLayoutVars>
          <dgm:dir/>
          <dgm:resizeHandles/>
        </dgm:presLayoutVars>
      </dgm:prSet>
      <dgm:spPr/>
      <dgm:t>
        <a:bodyPr/>
        <a:lstStyle/>
        <a:p>
          <a:endParaRPr lang="en-US"/>
        </a:p>
      </dgm:t>
    </dgm:pt>
    <dgm:pt modelId="{E75EEAC3-99F0-4FDF-835A-5E3707C98E3E}" type="pres">
      <dgm:prSet presAssocID="{B35391F9-D3C7-4C06-8A31-2F0EC3030B59}" presName="composite" presStyleCnt="0"/>
      <dgm:spPr/>
      <dgm:t>
        <a:bodyPr/>
        <a:lstStyle/>
        <a:p>
          <a:endParaRPr lang="en-US"/>
        </a:p>
      </dgm:t>
    </dgm:pt>
    <dgm:pt modelId="{B7125431-6238-4FCE-AEBA-CD584719F6C9}" type="pres">
      <dgm:prSet presAssocID="{B35391F9-D3C7-4C06-8A31-2F0EC3030B59}" presName="rect1" presStyleLbl="bgImgPlace1" presStyleIdx="0" presStyleCnt="1" custScaleY="112832" custLinFactNeighborX="41259" custLinFactNeighborY="-67164"/>
      <dgm:spPr>
        <a:prstGeom prst="ellipse">
          <a:avLst/>
        </a:prstGeom>
        <a:blipFill>
          <a:blip xmlns:r="http://schemas.openxmlformats.org/officeDocument/2006/relationships" r:embed="rId1">
            <a:duotone>
              <a:schemeClr val="accent4">
                <a:shade val="45000"/>
                <a:satMod val="135000"/>
              </a:schemeClr>
              <a:prstClr val="white"/>
            </a:duotone>
            <a:extLst>
              <a:ext uri="{28A0092B-C50C-407E-A947-70E740481C1C}">
                <a14:useLocalDpi xmlns:a14="http://schemas.microsoft.com/office/drawing/2010/main" val="0"/>
              </a:ext>
            </a:extLst>
          </a:blip>
          <a:srcRect/>
          <a:stretch>
            <a:fillRect t="-3000" b="-3000"/>
          </a:stretch>
        </a:blipFill>
      </dgm:spPr>
      <dgm:t>
        <a:bodyPr/>
        <a:lstStyle/>
        <a:p>
          <a:endParaRPr lang="en-US"/>
        </a:p>
      </dgm:t>
    </dgm:pt>
    <dgm:pt modelId="{0D0E88EA-4B09-422A-8FB1-A477460CE6A2}" type="pres">
      <dgm:prSet presAssocID="{B35391F9-D3C7-4C06-8A31-2F0EC3030B59}" presName="rect2" presStyleLbl="node1" presStyleIdx="0" presStyleCnt="1" custScaleX="184941" custScaleY="486733">
        <dgm:presLayoutVars>
          <dgm:bulletEnabled val="1"/>
        </dgm:presLayoutVars>
      </dgm:prSet>
      <dgm:spPr/>
      <dgm:t>
        <a:bodyPr/>
        <a:lstStyle/>
        <a:p>
          <a:endParaRPr lang="en-US"/>
        </a:p>
      </dgm:t>
    </dgm:pt>
  </dgm:ptLst>
  <dgm:cxnLst>
    <dgm:cxn modelId="{17733A92-E9E0-4D58-BD2B-96B6F9C503F7}" type="presOf" srcId="{B35391F9-D3C7-4C06-8A31-2F0EC3030B59}" destId="{0D0E88EA-4B09-422A-8FB1-A477460CE6A2}" srcOrd="0" destOrd="0" presId="urn:microsoft.com/office/officeart/2008/layout/BendingPictureBlocks"/>
    <dgm:cxn modelId="{C1273937-9D9A-41F8-B2CA-F355263903EC}" type="presOf" srcId="{4384935C-C5DD-4955-981D-D9A1C7EC1578}" destId="{C245CC9E-C0EA-4877-A371-69B92322806B}" srcOrd="0" destOrd="0" presId="urn:microsoft.com/office/officeart/2008/layout/BendingPictureBlocks"/>
    <dgm:cxn modelId="{45CF36AE-2FD3-447B-87FB-AE4D7AD2FB03}" srcId="{4384935C-C5DD-4955-981D-D9A1C7EC1578}" destId="{B35391F9-D3C7-4C06-8A31-2F0EC3030B59}" srcOrd="0" destOrd="0" parTransId="{B4DCB00F-54A1-47C0-A0E4-BB6C465CE742}" sibTransId="{ED89F502-389D-434E-88CD-6D0AB7C26BF4}"/>
    <dgm:cxn modelId="{E9FC7AF8-D254-4F53-A0B1-3EDF1169179B}" type="presParOf" srcId="{C245CC9E-C0EA-4877-A371-69B92322806B}" destId="{E75EEAC3-99F0-4FDF-835A-5E3707C98E3E}" srcOrd="0" destOrd="0" presId="urn:microsoft.com/office/officeart/2008/layout/BendingPictureBlocks"/>
    <dgm:cxn modelId="{0AB5114C-1671-43D2-AF4B-26A923B7B3C0}" type="presParOf" srcId="{E75EEAC3-99F0-4FDF-835A-5E3707C98E3E}" destId="{B7125431-6238-4FCE-AEBA-CD584719F6C9}" srcOrd="0" destOrd="0" presId="urn:microsoft.com/office/officeart/2008/layout/BendingPictureBlocks"/>
    <dgm:cxn modelId="{CB61D40D-022A-4640-9E6E-CC6C869E558F}" type="presParOf" srcId="{E75EEAC3-99F0-4FDF-835A-5E3707C98E3E}" destId="{0D0E88EA-4B09-422A-8FB1-A477460CE6A2}" srcOrd="1" destOrd="0" presId="urn:microsoft.com/office/officeart/2008/layout/Bending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6F68A551-7E43-408A-B317-B66459EA04D9}" type="doc">
      <dgm:prSet loTypeId="urn:microsoft.com/office/officeart/2005/8/layout/lProcess2" loCatId="list" qsTypeId="urn:microsoft.com/office/officeart/2005/8/quickstyle/simple1" qsCatId="simple" csTypeId="urn:microsoft.com/office/officeart/2005/8/colors/accent4_2" csCatId="accent4" phldr="1"/>
      <dgm:spPr/>
      <dgm:t>
        <a:bodyPr/>
        <a:lstStyle/>
        <a:p>
          <a:endParaRPr lang="en-US"/>
        </a:p>
      </dgm:t>
    </dgm:pt>
    <dgm:pt modelId="{3F3F95B3-9EEB-48B0-9B79-C84406B165FC}">
      <dgm:prSet phldrT="[Text]"/>
      <dgm:spPr>
        <a:xfrm>
          <a:off x="742376" y="968662"/>
          <a:ext cx="1295036" cy="415688"/>
        </a:xfrm>
      </dgm:spPr>
      <dgm:t>
        <a:bodyPr/>
        <a:lstStyle/>
        <a:p>
          <a:r>
            <a:rPr lang="en-US" b="1">
              <a:latin typeface="Times New Roman" panose="02020603050405020304"/>
              <a:ea typeface="+mn-ea"/>
              <a:cs typeface="+mn-cs"/>
            </a:rPr>
            <a:t>Source Proximity</a:t>
          </a:r>
        </a:p>
      </dgm:t>
    </dgm:pt>
    <dgm:pt modelId="{2E4DE36E-D491-49AA-8DB8-57902F107C9F}" type="parTrans" cxnId="{71432C69-62CE-4A90-B5A4-780DECB4A97B}">
      <dgm:prSet/>
      <dgm:spPr/>
      <dgm:t>
        <a:bodyPr/>
        <a:lstStyle/>
        <a:p>
          <a:endParaRPr lang="en-US"/>
        </a:p>
      </dgm:t>
    </dgm:pt>
    <dgm:pt modelId="{754B3D68-21A5-456C-8C02-DC8D25C45CDD}" type="sibTrans" cxnId="{71432C69-62CE-4A90-B5A4-780DECB4A97B}">
      <dgm:prSet/>
      <dgm:spPr/>
      <dgm:t>
        <a:bodyPr/>
        <a:lstStyle/>
        <a:p>
          <a:endParaRPr lang="en-US"/>
        </a:p>
      </dgm:t>
    </dgm:pt>
    <dgm:pt modelId="{4CE9E562-3FE6-407F-8CE1-30BC68127994}">
      <dgm:prSet phldrT="[Text]"/>
      <dgm:spPr>
        <a:xfrm>
          <a:off x="742376" y="1945"/>
          <a:ext cx="1295036" cy="966717"/>
        </a:xfrm>
      </dgm:spPr>
      <dgm:t>
        <a:bodyPr/>
        <a:lstStyle/>
        <a:p>
          <a:r>
            <a:rPr lang="en-US">
              <a:latin typeface="Times New Roman" panose="02020603050405020304"/>
              <a:ea typeface="+mn-ea"/>
              <a:cs typeface="+mn-cs"/>
            </a:rPr>
            <a:t>Sea</a:t>
          </a:r>
        </a:p>
      </dgm:t>
    </dgm:pt>
    <dgm:pt modelId="{D8776E7A-98C7-4564-B0E9-512B122EA563}" type="parTrans" cxnId="{C55C3E49-43A1-4CB7-9DF6-1487AB76A42E}">
      <dgm:prSet/>
      <dgm:spPr/>
      <dgm:t>
        <a:bodyPr/>
        <a:lstStyle/>
        <a:p>
          <a:endParaRPr lang="en-US"/>
        </a:p>
      </dgm:t>
    </dgm:pt>
    <dgm:pt modelId="{DB85C9A5-FB34-4EC5-8913-D5342840D893}" type="sibTrans" cxnId="{C55C3E49-43A1-4CB7-9DF6-1487AB76A42E}">
      <dgm:prSet/>
      <dgm:spPr/>
      <dgm:t>
        <a:bodyPr/>
        <a:lstStyle/>
        <a:p>
          <a:endParaRPr lang="en-US"/>
        </a:p>
      </dgm:t>
    </dgm:pt>
    <dgm:pt modelId="{D9F5310C-4511-455F-92A9-00BA44C19991}">
      <dgm:prSet phldrT="[Text]"/>
      <dgm:spPr>
        <a:xfrm>
          <a:off x="2256564" y="968662"/>
          <a:ext cx="1295036" cy="415688"/>
        </a:xfrm>
        <a:solidFill>
          <a:schemeClr val="accent4">
            <a:lumMod val="60000"/>
            <a:lumOff val="40000"/>
          </a:schemeClr>
        </a:solidFill>
        <a:ln>
          <a:solidFill>
            <a:schemeClr val="accent4">
              <a:lumMod val="75000"/>
            </a:schemeClr>
          </a:solidFill>
        </a:ln>
      </dgm:spPr>
      <dgm:t>
        <a:bodyPr/>
        <a:lstStyle/>
        <a:p>
          <a:r>
            <a:rPr lang="en-US" b="1">
              <a:latin typeface="Times New Roman" panose="02020603050405020304"/>
              <a:ea typeface="+mn-ea"/>
              <a:cs typeface="+mn-cs"/>
            </a:rPr>
            <a:t>Planning Horizon</a:t>
          </a:r>
        </a:p>
      </dgm:t>
    </dgm:pt>
    <dgm:pt modelId="{F876E5C5-70A4-4EB4-9ACC-9655F9E43614}" type="parTrans" cxnId="{D4A3403F-B5B7-4048-B404-AD9043F74445}">
      <dgm:prSet/>
      <dgm:spPr/>
      <dgm:t>
        <a:bodyPr/>
        <a:lstStyle/>
        <a:p>
          <a:endParaRPr lang="en-US"/>
        </a:p>
      </dgm:t>
    </dgm:pt>
    <dgm:pt modelId="{47F70D03-E16E-493E-818D-4523158665EF}" type="sibTrans" cxnId="{D4A3403F-B5B7-4048-B404-AD9043F74445}">
      <dgm:prSet/>
      <dgm:spPr/>
      <dgm:t>
        <a:bodyPr/>
        <a:lstStyle/>
        <a:p>
          <a:endParaRPr lang="en-US"/>
        </a:p>
      </dgm:t>
    </dgm:pt>
    <dgm:pt modelId="{6ECD7908-6F5B-4AB4-B281-C507AFBD4C3E}">
      <dgm:prSet phldrT="[Text]"/>
      <dgm:spPr>
        <a:xfrm>
          <a:off x="2256564" y="1945"/>
          <a:ext cx="1295036" cy="966717"/>
        </a:xfrm>
        <a:ln>
          <a:solidFill>
            <a:schemeClr val="bg1"/>
          </a:solidFill>
        </a:ln>
      </dgm:spPr>
      <dgm:t>
        <a:bodyPr/>
        <a:lstStyle/>
        <a:p>
          <a:r>
            <a:rPr lang="en-US">
              <a:latin typeface="Times New Roman" panose="02020603050405020304"/>
              <a:ea typeface="+mn-ea"/>
              <a:cs typeface="+mn-cs"/>
            </a:rPr>
            <a:t>2030</a:t>
          </a:r>
        </a:p>
      </dgm:t>
    </dgm:pt>
    <dgm:pt modelId="{002E5A4A-5820-4F27-93AA-C5A5122CD0A1}" type="parTrans" cxnId="{FD6BEDF7-1082-421B-A488-56BC16FBFAB9}">
      <dgm:prSet/>
      <dgm:spPr/>
      <dgm:t>
        <a:bodyPr/>
        <a:lstStyle/>
        <a:p>
          <a:endParaRPr lang="en-US"/>
        </a:p>
      </dgm:t>
    </dgm:pt>
    <dgm:pt modelId="{7AAB4C61-513F-4B36-BF6A-9C61E0A72952}" type="sibTrans" cxnId="{FD6BEDF7-1082-421B-A488-56BC16FBFAB9}">
      <dgm:prSet/>
      <dgm:spPr/>
      <dgm:t>
        <a:bodyPr/>
        <a:lstStyle/>
        <a:p>
          <a:endParaRPr lang="en-US"/>
        </a:p>
      </dgm:t>
    </dgm:pt>
    <dgm:pt modelId="{A630C113-DA40-478A-9754-EC83605356CA}">
      <dgm:prSet phldrT="[Text]"/>
      <dgm:spPr>
        <a:xfrm>
          <a:off x="3770753" y="968662"/>
          <a:ext cx="1295036" cy="415688"/>
        </a:xfrm>
      </dgm:spPr>
      <dgm:t>
        <a:bodyPr/>
        <a:lstStyle/>
        <a:p>
          <a:r>
            <a:rPr lang="en-US" b="1">
              <a:latin typeface="Times New Roman" panose="02020603050405020304"/>
              <a:ea typeface="+mn-ea"/>
              <a:cs typeface="+mn-cs"/>
            </a:rPr>
            <a:t>Concern</a:t>
          </a:r>
        </a:p>
      </dgm:t>
    </dgm:pt>
    <dgm:pt modelId="{E16659A8-9B51-4CF4-AA64-4920F3F5DD41}" type="parTrans" cxnId="{BAD3E0E3-C01B-4610-9848-4B170CE2BB44}">
      <dgm:prSet/>
      <dgm:spPr/>
      <dgm:t>
        <a:bodyPr/>
        <a:lstStyle/>
        <a:p>
          <a:endParaRPr lang="en-US"/>
        </a:p>
      </dgm:t>
    </dgm:pt>
    <dgm:pt modelId="{A3B7FF09-911C-49BF-98BB-E2FD6BBF744B}" type="sibTrans" cxnId="{BAD3E0E3-C01B-4610-9848-4B170CE2BB44}">
      <dgm:prSet/>
      <dgm:spPr/>
      <dgm:t>
        <a:bodyPr/>
        <a:lstStyle/>
        <a:p>
          <a:endParaRPr lang="en-US"/>
        </a:p>
      </dgm:t>
    </dgm:pt>
    <dgm:pt modelId="{BBD7B213-F004-4007-B073-BA0AFB9DAE02}">
      <dgm:prSet phldrT="[Text]"/>
      <dgm:spPr>
        <a:xfrm>
          <a:off x="3770753" y="1945"/>
          <a:ext cx="1295036" cy="966717"/>
        </a:xfrm>
        <a:ln>
          <a:solidFill>
            <a:schemeClr val="tx1"/>
          </a:solidFill>
        </a:ln>
      </dgm:spPr>
      <dgm:t>
        <a:bodyPr/>
        <a:lstStyle/>
        <a:p>
          <a:r>
            <a:rPr lang="en-US">
              <a:latin typeface="Times New Roman" panose="02020603050405020304"/>
              <a:ea typeface="+mn-ea"/>
              <a:cs typeface="+mn-cs"/>
            </a:rPr>
            <a:t>Flood</a:t>
          </a:r>
        </a:p>
      </dgm:t>
    </dgm:pt>
    <dgm:pt modelId="{B626C08D-5656-409A-8635-7025CD88A70C}" type="parTrans" cxnId="{53BA3C5B-0019-403F-BC20-B04A62A436CF}">
      <dgm:prSet/>
      <dgm:spPr/>
      <dgm:t>
        <a:bodyPr/>
        <a:lstStyle/>
        <a:p>
          <a:endParaRPr lang="en-US"/>
        </a:p>
      </dgm:t>
    </dgm:pt>
    <dgm:pt modelId="{6A03D9BE-7993-4DE8-921D-10A623A540EB}" type="sibTrans" cxnId="{53BA3C5B-0019-403F-BC20-B04A62A436CF}">
      <dgm:prSet/>
      <dgm:spPr/>
      <dgm:t>
        <a:bodyPr/>
        <a:lstStyle/>
        <a:p>
          <a:endParaRPr lang="en-US"/>
        </a:p>
      </dgm:t>
    </dgm:pt>
    <dgm:pt modelId="{CADE6A3C-0098-4BAF-9975-D9A973030982}">
      <dgm:prSet phldrT="[Text]"/>
      <dgm:spPr>
        <a:xfrm>
          <a:off x="742376" y="2679163"/>
          <a:ext cx="1295036" cy="415688"/>
        </a:xfrm>
      </dgm:spPr>
      <dgm:t>
        <a:bodyPr/>
        <a:lstStyle/>
        <a:p>
          <a:r>
            <a:rPr lang="en-US" b="1">
              <a:latin typeface="Times New Roman" panose="02020603050405020304"/>
              <a:ea typeface="+mn-ea"/>
              <a:cs typeface="+mn-cs"/>
            </a:rPr>
            <a:t>RCP</a:t>
          </a:r>
        </a:p>
      </dgm:t>
    </dgm:pt>
    <dgm:pt modelId="{2C6D08D8-77A6-4E71-8622-D93E803294E6}" type="parTrans" cxnId="{07A99C1C-F229-4FCE-8114-D974C903079C}">
      <dgm:prSet/>
      <dgm:spPr/>
      <dgm:t>
        <a:bodyPr/>
        <a:lstStyle/>
        <a:p>
          <a:endParaRPr lang="en-US"/>
        </a:p>
      </dgm:t>
    </dgm:pt>
    <dgm:pt modelId="{2F6BEC9C-D18D-431C-94A1-65F0FB6826DF}" type="sibTrans" cxnId="{07A99C1C-F229-4FCE-8114-D974C903079C}">
      <dgm:prSet/>
      <dgm:spPr/>
      <dgm:t>
        <a:bodyPr/>
        <a:lstStyle/>
        <a:p>
          <a:endParaRPr lang="en-US"/>
        </a:p>
      </dgm:t>
    </dgm:pt>
    <dgm:pt modelId="{B56DA29E-7137-4D44-96FE-08794490ABBD}">
      <dgm:prSet phldrT="[Text]"/>
      <dgm:spPr>
        <a:xfrm>
          <a:off x="2256564" y="2679163"/>
          <a:ext cx="1295036" cy="415688"/>
        </a:xfrm>
      </dgm:spPr>
      <dgm:t>
        <a:bodyPr/>
        <a:lstStyle/>
        <a:p>
          <a:r>
            <a:rPr lang="en-US" b="1">
              <a:latin typeface="Times New Roman" panose="02020603050405020304"/>
              <a:ea typeface="+mn-ea"/>
              <a:cs typeface="+mn-cs"/>
            </a:rPr>
            <a:t>Confidence</a:t>
          </a:r>
        </a:p>
      </dgm:t>
    </dgm:pt>
    <dgm:pt modelId="{5C308700-BCA5-40CD-9848-48B6FDF0A893}" type="parTrans" cxnId="{29FF8C78-0F9C-422F-8404-AF40EC660FDC}">
      <dgm:prSet/>
      <dgm:spPr/>
      <dgm:t>
        <a:bodyPr/>
        <a:lstStyle/>
        <a:p>
          <a:endParaRPr lang="en-US"/>
        </a:p>
      </dgm:t>
    </dgm:pt>
    <dgm:pt modelId="{B60F70D2-D5FC-467C-9E30-7E4E891A5BEF}" type="sibTrans" cxnId="{29FF8C78-0F9C-422F-8404-AF40EC660FDC}">
      <dgm:prSet/>
      <dgm:spPr/>
      <dgm:t>
        <a:bodyPr/>
        <a:lstStyle/>
        <a:p>
          <a:endParaRPr lang="en-US"/>
        </a:p>
      </dgm:t>
    </dgm:pt>
    <dgm:pt modelId="{934AD681-DBD8-45AF-AAB6-CEC2DC16A520}">
      <dgm:prSet phldrT="[Text]"/>
      <dgm:spPr>
        <a:xfrm>
          <a:off x="742376" y="1712445"/>
          <a:ext cx="1295036" cy="966717"/>
        </a:xfrm>
      </dgm:spPr>
      <dgm:t>
        <a:bodyPr/>
        <a:lstStyle/>
        <a:p>
          <a:r>
            <a:rPr lang="en-US" b="0">
              <a:latin typeface="Times New Roman" panose="02020603050405020304"/>
              <a:ea typeface="+mn-ea"/>
              <a:cs typeface="+mn-cs"/>
            </a:rPr>
            <a:t>RCP 8.5</a:t>
          </a:r>
        </a:p>
      </dgm:t>
    </dgm:pt>
    <dgm:pt modelId="{EA86F5E3-C6A4-4E6C-AB62-210CAAF1D3EF}" type="parTrans" cxnId="{CF6BF33D-4C5A-4B05-8C7F-5B4CEEA8AAE3}">
      <dgm:prSet/>
      <dgm:spPr/>
      <dgm:t>
        <a:bodyPr/>
        <a:lstStyle/>
        <a:p>
          <a:endParaRPr lang="en-US"/>
        </a:p>
      </dgm:t>
    </dgm:pt>
    <dgm:pt modelId="{7FD2EBD7-5519-483C-8C33-BFC033668FDE}" type="sibTrans" cxnId="{CF6BF33D-4C5A-4B05-8C7F-5B4CEEA8AAE3}">
      <dgm:prSet/>
      <dgm:spPr/>
      <dgm:t>
        <a:bodyPr/>
        <a:lstStyle/>
        <a:p>
          <a:endParaRPr lang="en-US"/>
        </a:p>
      </dgm:t>
    </dgm:pt>
    <dgm:pt modelId="{A15EA1DA-247C-484A-80A0-DF1752D9D38F}">
      <dgm:prSet phldrT="[Text]"/>
      <dgm:spPr>
        <a:xfrm>
          <a:off x="2256564" y="1712445"/>
          <a:ext cx="1295036" cy="966717"/>
        </a:xfrm>
      </dgm:spPr>
      <dgm:t>
        <a:bodyPr/>
        <a:lstStyle/>
        <a:p>
          <a:r>
            <a:rPr lang="en-US">
              <a:latin typeface="Times New Roman" panose="02020603050405020304"/>
              <a:ea typeface="+mn-ea"/>
              <a:cs typeface="+mn-cs"/>
            </a:rPr>
            <a:t>95th %</a:t>
          </a:r>
        </a:p>
      </dgm:t>
    </dgm:pt>
    <dgm:pt modelId="{EF20EC1D-F171-45D0-BCBE-0130A6990045}" type="parTrans" cxnId="{73C2E74E-2744-46A0-A3DF-52A813604B1E}">
      <dgm:prSet/>
      <dgm:spPr/>
      <dgm:t>
        <a:bodyPr/>
        <a:lstStyle/>
        <a:p>
          <a:endParaRPr lang="en-US"/>
        </a:p>
      </dgm:t>
    </dgm:pt>
    <dgm:pt modelId="{71777BA1-5B5B-48F7-8AE9-C24CBE90250D}" type="sibTrans" cxnId="{73C2E74E-2744-46A0-A3DF-52A813604B1E}">
      <dgm:prSet/>
      <dgm:spPr/>
      <dgm:t>
        <a:bodyPr/>
        <a:lstStyle/>
        <a:p>
          <a:endParaRPr lang="en-US"/>
        </a:p>
      </dgm:t>
    </dgm:pt>
    <dgm:pt modelId="{DA1FBAA2-DD42-4C54-B804-156F3ED215A0}">
      <dgm:prSet phldrT="[Text]"/>
      <dgm:spPr>
        <a:xfrm>
          <a:off x="2256564" y="1945"/>
          <a:ext cx="1295036" cy="966717"/>
        </a:xfrm>
        <a:ln>
          <a:solidFill>
            <a:schemeClr val="bg1"/>
          </a:solidFill>
        </a:ln>
      </dgm:spPr>
      <dgm:t>
        <a:bodyPr/>
        <a:lstStyle/>
        <a:p>
          <a:r>
            <a:rPr lang="en-US">
              <a:latin typeface="Times New Roman" panose="02020603050405020304"/>
              <a:ea typeface="+mn-ea"/>
              <a:cs typeface="+mn-cs"/>
            </a:rPr>
            <a:t>2040</a:t>
          </a:r>
        </a:p>
      </dgm:t>
    </dgm:pt>
    <dgm:pt modelId="{63F08C69-C4C6-42C9-9912-CE1CBAD732EB}" type="parTrans" cxnId="{BA2E6923-2171-4626-A5D0-A0F276AFCD88}">
      <dgm:prSet/>
      <dgm:spPr/>
      <dgm:t>
        <a:bodyPr/>
        <a:lstStyle/>
        <a:p>
          <a:endParaRPr lang="en-US"/>
        </a:p>
      </dgm:t>
    </dgm:pt>
    <dgm:pt modelId="{7AE585B0-6B4A-444D-9733-F6AB43544759}" type="sibTrans" cxnId="{BA2E6923-2171-4626-A5D0-A0F276AFCD88}">
      <dgm:prSet/>
      <dgm:spPr/>
      <dgm:t>
        <a:bodyPr/>
        <a:lstStyle/>
        <a:p>
          <a:endParaRPr lang="en-US"/>
        </a:p>
      </dgm:t>
    </dgm:pt>
    <dgm:pt modelId="{83393304-4AD9-4C5B-AF48-27D862C55F72}">
      <dgm:prSet phldrT="[Text]"/>
      <dgm:spPr>
        <a:xfrm>
          <a:off x="2256564" y="1945"/>
          <a:ext cx="1295036" cy="966717"/>
        </a:xfrm>
        <a:ln>
          <a:solidFill>
            <a:schemeClr val="tx1"/>
          </a:solidFill>
        </a:ln>
      </dgm:spPr>
      <dgm:t>
        <a:bodyPr/>
        <a:lstStyle/>
        <a:p>
          <a:r>
            <a:rPr lang="en-US">
              <a:latin typeface="Times New Roman" panose="02020603050405020304"/>
              <a:ea typeface="+mn-ea"/>
              <a:cs typeface="+mn-cs"/>
            </a:rPr>
            <a:t>2050</a:t>
          </a:r>
        </a:p>
      </dgm:t>
    </dgm:pt>
    <dgm:pt modelId="{F4AE1700-77A1-4B47-A0DC-D6EA6B68D517}" type="parTrans" cxnId="{10D0A68B-51A2-401F-AA40-F1CE7B6495A1}">
      <dgm:prSet/>
      <dgm:spPr/>
      <dgm:t>
        <a:bodyPr/>
        <a:lstStyle/>
        <a:p>
          <a:endParaRPr lang="en-US"/>
        </a:p>
      </dgm:t>
    </dgm:pt>
    <dgm:pt modelId="{529B5AB2-CB2C-4024-9216-BBAF02C2DF03}" type="sibTrans" cxnId="{10D0A68B-51A2-401F-AA40-F1CE7B6495A1}">
      <dgm:prSet/>
      <dgm:spPr/>
      <dgm:t>
        <a:bodyPr/>
        <a:lstStyle/>
        <a:p>
          <a:endParaRPr lang="en-US"/>
        </a:p>
      </dgm:t>
    </dgm:pt>
    <dgm:pt modelId="{B51E2B9D-A705-4703-8AD8-8FF30CB96C43}">
      <dgm:prSet phldrT="[Text]"/>
      <dgm:spPr>
        <a:xfrm>
          <a:off x="2256564" y="1945"/>
          <a:ext cx="1295036" cy="966717"/>
        </a:xfrm>
      </dgm:spPr>
      <dgm:t>
        <a:bodyPr/>
        <a:lstStyle/>
        <a:p>
          <a:r>
            <a:rPr lang="en-US">
              <a:latin typeface="Times New Roman" panose="02020603050405020304"/>
              <a:ea typeface="+mn-ea"/>
              <a:cs typeface="+mn-cs"/>
            </a:rPr>
            <a:t>2100</a:t>
          </a:r>
        </a:p>
      </dgm:t>
    </dgm:pt>
    <dgm:pt modelId="{3421D73C-BA70-431D-9297-48D3D348078D}" type="parTrans" cxnId="{1E8AE1BE-CE7B-4123-92BA-B0093785DEFD}">
      <dgm:prSet/>
      <dgm:spPr/>
      <dgm:t>
        <a:bodyPr/>
        <a:lstStyle/>
        <a:p>
          <a:endParaRPr lang="en-US"/>
        </a:p>
      </dgm:t>
    </dgm:pt>
    <dgm:pt modelId="{C5D57453-BE24-4BB8-9DFA-ADFDE343CD6F}" type="sibTrans" cxnId="{1E8AE1BE-CE7B-4123-92BA-B0093785DEFD}">
      <dgm:prSet/>
      <dgm:spPr/>
      <dgm:t>
        <a:bodyPr/>
        <a:lstStyle/>
        <a:p>
          <a:endParaRPr lang="en-US"/>
        </a:p>
      </dgm:t>
    </dgm:pt>
    <dgm:pt modelId="{0CD0DDAF-039C-4FF3-9CB2-A945878277AB}">
      <dgm:prSet phldrT="[Text]"/>
      <dgm:spPr>
        <a:xfrm>
          <a:off x="742376" y="1712445"/>
          <a:ext cx="1295036" cy="966717"/>
        </a:xfrm>
        <a:ln>
          <a:solidFill>
            <a:schemeClr val="tx1"/>
          </a:solidFill>
        </a:ln>
      </dgm:spPr>
      <dgm:t>
        <a:bodyPr/>
        <a:lstStyle/>
        <a:p>
          <a:r>
            <a:rPr lang="en-US" b="0">
              <a:latin typeface="Times New Roman" panose="02020603050405020304"/>
              <a:ea typeface="+mn-ea"/>
              <a:cs typeface="+mn-cs"/>
            </a:rPr>
            <a:t>RCP 6</a:t>
          </a:r>
        </a:p>
      </dgm:t>
    </dgm:pt>
    <dgm:pt modelId="{E67D1DB4-2411-4A6D-B99D-E64C6ACD6D85}" type="parTrans" cxnId="{DF84974B-5243-4EFF-A152-B6FBF53AEFCA}">
      <dgm:prSet/>
      <dgm:spPr/>
      <dgm:t>
        <a:bodyPr/>
        <a:lstStyle/>
        <a:p>
          <a:endParaRPr lang="en-US"/>
        </a:p>
      </dgm:t>
    </dgm:pt>
    <dgm:pt modelId="{2F174FE7-7521-42E9-9565-7749B6E38CD0}" type="sibTrans" cxnId="{DF84974B-5243-4EFF-A152-B6FBF53AEFCA}">
      <dgm:prSet/>
      <dgm:spPr/>
      <dgm:t>
        <a:bodyPr/>
        <a:lstStyle/>
        <a:p>
          <a:endParaRPr lang="en-US"/>
        </a:p>
      </dgm:t>
    </dgm:pt>
    <dgm:pt modelId="{2CC241A4-A199-477E-9411-E482481D33F9}">
      <dgm:prSet phldrT="[Text]"/>
      <dgm:spPr>
        <a:xfrm>
          <a:off x="742376" y="1712445"/>
          <a:ext cx="1295036" cy="966717"/>
        </a:xfrm>
        <a:ln>
          <a:solidFill>
            <a:schemeClr val="bg1"/>
          </a:solidFill>
        </a:ln>
      </dgm:spPr>
      <dgm:t>
        <a:bodyPr/>
        <a:lstStyle/>
        <a:p>
          <a:r>
            <a:rPr lang="en-US" b="0">
              <a:latin typeface="Times New Roman" panose="02020603050405020304"/>
              <a:ea typeface="+mn-ea"/>
              <a:cs typeface="+mn-cs"/>
            </a:rPr>
            <a:t>RCP 4.5</a:t>
          </a:r>
        </a:p>
      </dgm:t>
    </dgm:pt>
    <dgm:pt modelId="{11E44B46-BC17-48FB-9B06-5E860BB9CD5C}" type="parTrans" cxnId="{B1C6A9EC-A8B8-432F-887D-66C5B66FF7EA}">
      <dgm:prSet/>
      <dgm:spPr/>
      <dgm:t>
        <a:bodyPr/>
        <a:lstStyle/>
        <a:p>
          <a:endParaRPr lang="en-US"/>
        </a:p>
      </dgm:t>
    </dgm:pt>
    <dgm:pt modelId="{CFF742CF-DCF5-4DBA-84A5-95ED87F959EA}" type="sibTrans" cxnId="{B1C6A9EC-A8B8-432F-887D-66C5B66FF7EA}">
      <dgm:prSet/>
      <dgm:spPr/>
      <dgm:t>
        <a:bodyPr/>
        <a:lstStyle/>
        <a:p>
          <a:endParaRPr lang="en-US"/>
        </a:p>
      </dgm:t>
    </dgm:pt>
    <dgm:pt modelId="{3A7D99EA-A0BE-4ADE-90EB-541506F0DAA8}">
      <dgm:prSet phldrT="[Text]"/>
      <dgm:spPr>
        <a:xfrm>
          <a:off x="742376" y="1945"/>
          <a:ext cx="1295036" cy="966717"/>
        </a:xfrm>
      </dgm:spPr>
      <dgm:t>
        <a:bodyPr/>
        <a:lstStyle/>
        <a:p>
          <a:r>
            <a:rPr lang="en-US">
              <a:latin typeface="Times New Roman" panose="02020603050405020304"/>
              <a:ea typeface="+mn-ea"/>
              <a:cs typeface="+mn-cs"/>
            </a:rPr>
            <a:t>River</a:t>
          </a:r>
        </a:p>
      </dgm:t>
    </dgm:pt>
    <dgm:pt modelId="{702981CB-634E-45F2-82AE-F6C87882C03B}" type="parTrans" cxnId="{405A0106-3F71-4E55-9780-AC5CE8145D9A}">
      <dgm:prSet/>
      <dgm:spPr/>
      <dgm:t>
        <a:bodyPr/>
        <a:lstStyle/>
        <a:p>
          <a:endParaRPr lang="en-US"/>
        </a:p>
      </dgm:t>
    </dgm:pt>
    <dgm:pt modelId="{0B3EC0EC-DA0A-42C8-9B25-5AE97BE611D5}" type="sibTrans" cxnId="{405A0106-3F71-4E55-9780-AC5CE8145D9A}">
      <dgm:prSet/>
      <dgm:spPr/>
      <dgm:t>
        <a:bodyPr/>
        <a:lstStyle/>
        <a:p>
          <a:endParaRPr lang="en-US"/>
        </a:p>
      </dgm:t>
    </dgm:pt>
    <dgm:pt modelId="{D1D59C95-D2B4-432B-B956-0AE441DD0493}">
      <dgm:prSet phldrT="[Text]"/>
      <dgm:spPr>
        <a:xfrm>
          <a:off x="742376" y="1945"/>
          <a:ext cx="1295036" cy="966717"/>
        </a:xfrm>
      </dgm:spPr>
      <dgm:t>
        <a:bodyPr/>
        <a:lstStyle/>
        <a:p>
          <a:r>
            <a:rPr lang="en-US">
              <a:latin typeface="Times New Roman" panose="02020603050405020304"/>
              <a:ea typeface="+mn-ea"/>
              <a:cs typeface="+mn-cs"/>
            </a:rPr>
            <a:t>Canal</a:t>
          </a:r>
        </a:p>
      </dgm:t>
    </dgm:pt>
    <dgm:pt modelId="{0C83D02E-F3C2-46CC-80CF-E485C825159A}" type="parTrans" cxnId="{B3A3F05D-8FCB-48AB-BAB8-1545DC0EB021}">
      <dgm:prSet/>
      <dgm:spPr/>
      <dgm:t>
        <a:bodyPr/>
        <a:lstStyle/>
        <a:p>
          <a:endParaRPr lang="en-US"/>
        </a:p>
      </dgm:t>
    </dgm:pt>
    <dgm:pt modelId="{2DE3A07A-D215-4813-B2DB-8D376BACD198}" type="sibTrans" cxnId="{B3A3F05D-8FCB-48AB-BAB8-1545DC0EB021}">
      <dgm:prSet/>
      <dgm:spPr/>
      <dgm:t>
        <a:bodyPr/>
        <a:lstStyle/>
        <a:p>
          <a:endParaRPr lang="en-US"/>
        </a:p>
      </dgm:t>
    </dgm:pt>
    <dgm:pt modelId="{4C0D835A-B65A-44C2-BB43-0C37904F64EB}">
      <dgm:prSet phldrT="[Text]"/>
      <dgm:spPr>
        <a:xfrm>
          <a:off x="742376" y="1945"/>
          <a:ext cx="1295036" cy="966717"/>
        </a:xfrm>
      </dgm:spPr>
      <dgm:t>
        <a:bodyPr/>
        <a:lstStyle/>
        <a:p>
          <a:r>
            <a:rPr lang="en-US">
              <a:latin typeface="Times New Roman" panose="02020603050405020304"/>
              <a:ea typeface="+mn-ea"/>
              <a:cs typeface="+mn-cs"/>
            </a:rPr>
            <a:t>Glacier</a:t>
          </a:r>
        </a:p>
      </dgm:t>
    </dgm:pt>
    <dgm:pt modelId="{04241C9D-AE49-448C-A4EA-291A96CA4473}" type="parTrans" cxnId="{28571303-A53F-48EA-A929-A8E469B55109}">
      <dgm:prSet/>
      <dgm:spPr/>
      <dgm:t>
        <a:bodyPr/>
        <a:lstStyle/>
        <a:p>
          <a:endParaRPr lang="en-US"/>
        </a:p>
      </dgm:t>
    </dgm:pt>
    <dgm:pt modelId="{97F64DCB-4967-4226-A605-CF8D662B9918}" type="sibTrans" cxnId="{28571303-A53F-48EA-A929-A8E469B55109}">
      <dgm:prSet/>
      <dgm:spPr/>
      <dgm:t>
        <a:bodyPr/>
        <a:lstStyle/>
        <a:p>
          <a:endParaRPr lang="en-US"/>
        </a:p>
      </dgm:t>
    </dgm:pt>
    <dgm:pt modelId="{2F150AFA-A4ED-4B63-9B0D-D68E6361C285}">
      <dgm:prSet phldrT="[Text]"/>
      <dgm:spPr>
        <a:xfrm>
          <a:off x="2256564" y="1712445"/>
          <a:ext cx="1295036" cy="966717"/>
        </a:xfrm>
        <a:ln>
          <a:solidFill>
            <a:schemeClr val="bg1"/>
          </a:solidFill>
        </a:ln>
      </dgm:spPr>
      <dgm:t>
        <a:bodyPr/>
        <a:lstStyle/>
        <a:p>
          <a:r>
            <a:rPr lang="en-US">
              <a:latin typeface="Times New Roman" panose="02020603050405020304"/>
              <a:ea typeface="+mn-ea"/>
              <a:cs typeface="+mn-cs"/>
            </a:rPr>
            <a:t>50th %</a:t>
          </a:r>
        </a:p>
      </dgm:t>
    </dgm:pt>
    <dgm:pt modelId="{BF9B26FC-B33E-4341-B054-C04F5AE91858}" type="parTrans" cxnId="{45ED0B06-EC40-46D0-91DA-23CF6B095C58}">
      <dgm:prSet/>
      <dgm:spPr/>
      <dgm:t>
        <a:bodyPr/>
        <a:lstStyle/>
        <a:p>
          <a:endParaRPr lang="en-US"/>
        </a:p>
      </dgm:t>
    </dgm:pt>
    <dgm:pt modelId="{F53A471B-09C0-46AC-BE69-F3A367D3BDEF}" type="sibTrans" cxnId="{45ED0B06-EC40-46D0-91DA-23CF6B095C58}">
      <dgm:prSet/>
      <dgm:spPr/>
      <dgm:t>
        <a:bodyPr/>
        <a:lstStyle/>
        <a:p>
          <a:endParaRPr lang="en-US"/>
        </a:p>
      </dgm:t>
    </dgm:pt>
    <dgm:pt modelId="{EC740010-BAC3-454D-BFC2-6997C01CB64A}">
      <dgm:prSet phldrT="[Text]"/>
      <dgm:spPr>
        <a:xfrm>
          <a:off x="2256564" y="1712445"/>
          <a:ext cx="1295036" cy="966717"/>
        </a:xfrm>
      </dgm:spPr>
      <dgm:t>
        <a:bodyPr/>
        <a:lstStyle/>
        <a:p>
          <a:r>
            <a:rPr lang="en-US">
              <a:latin typeface="Times New Roman" panose="02020603050405020304"/>
              <a:ea typeface="+mn-ea"/>
              <a:cs typeface="+mn-cs"/>
            </a:rPr>
            <a:t>25th %</a:t>
          </a:r>
        </a:p>
      </dgm:t>
    </dgm:pt>
    <dgm:pt modelId="{85D1E880-2359-4C63-97A6-66A4E1CDBC47}" type="parTrans" cxnId="{AF7516A5-9541-49E5-AEF6-C3083A3D3C67}">
      <dgm:prSet/>
      <dgm:spPr/>
      <dgm:t>
        <a:bodyPr/>
        <a:lstStyle/>
        <a:p>
          <a:endParaRPr lang="en-US"/>
        </a:p>
      </dgm:t>
    </dgm:pt>
    <dgm:pt modelId="{0F79BECB-2363-4E7D-91BC-69E5A798C2AA}" type="sibTrans" cxnId="{AF7516A5-9541-49E5-AEF6-C3083A3D3C67}">
      <dgm:prSet/>
      <dgm:spPr/>
      <dgm:t>
        <a:bodyPr/>
        <a:lstStyle/>
        <a:p>
          <a:endParaRPr lang="en-US"/>
        </a:p>
      </dgm:t>
    </dgm:pt>
    <dgm:pt modelId="{1976E9B3-238A-4263-B91D-68342FF8A923}">
      <dgm:prSet phldrT="[Text]"/>
      <dgm:spPr>
        <a:xfrm>
          <a:off x="742376" y="1945"/>
          <a:ext cx="1295036" cy="966717"/>
        </a:xfrm>
      </dgm:spPr>
      <dgm:t>
        <a:bodyPr/>
        <a:lstStyle/>
        <a:p>
          <a:r>
            <a:rPr lang="en-US">
              <a:latin typeface="Times New Roman" panose="02020603050405020304"/>
              <a:ea typeface="+mn-ea"/>
              <a:cs typeface="+mn-cs"/>
            </a:rPr>
            <a:t>Dam/Lake</a:t>
          </a:r>
        </a:p>
      </dgm:t>
    </dgm:pt>
    <dgm:pt modelId="{77EA2897-109E-4E57-9A9C-33C3A00CFACC}" type="parTrans" cxnId="{E6156D0B-078E-45BB-A32F-F76CE00C6491}">
      <dgm:prSet/>
      <dgm:spPr/>
      <dgm:t>
        <a:bodyPr/>
        <a:lstStyle/>
        <a:p>
          <a:endParaRPr lang="en-US"/>
        </a:p>
      </dgm:t>
    </dgm:pt>
    <dgm:pt modelId="{F633FE9C-336C-42E2-B5A9-70850D350146}" type="sibTrans" cxnId="{E6156D0B-078E-45BB-A32F-F76CE00C6491}">
      <dgm:prSet/>
      <dgm:spPr/>
      <dgm:t>
        <a:bodyPr/>
        <a:lstStyle/>
        <a:p>
          <a:endParaRPr lang="en-US"/>
        </a:p>
      </dgm:t>
    </dgm:pt>
    <dgm:pt modelId="{054411EE-63EB-4F74-9C8D-629E1E7FE60F}">
      <dgm:prSet phldrT="[Text]"/>
      <dgm:spPr>
        <a:xfrm>
          <a:off x="3770753" y="1945"/>
          <a:ext cx="1295036" cy="966717"/>
        </a:xfrm>
      </dgm:spPr>
      <dgm:t>
        <a:bodyPr/>
        <a:lstStyle/>
        <a:p>
          <a:r>
            <a:rPr lang="en-US">
              <a:latin typeface="Times New Roman" panose="02020603050405020304"/>
              <a:ea typeface="+mn-ea"/>
              <a:cs typeface="+mn-cs"/>
            </a:rPr>
            <a:t>Material Failure</a:t>
          </a:r>
        </a:p>
      </dgm:t>
    </dgm:pt>
    <dgm:pt modelId="{4003A2C5-654B-412C-988F-E38DB023373F}" type="parTrans" cxnId="{6ECBC213-72B6-4781-AF77-4C6EF9CBF2DA}">
      <dgm:prSet/>
      <dgm:spPr/>
      <dgm:t>
        <a:bodyPr/>
        <a:lstStyle/>
        <a:p>
          <a:endParaRPr lang="en-US"/>
        </a:p>
      </dgm:t>
    </dgm:pt>
    <dgm:pt modelId="{55CD7CD8-40AD-4998-B982-1B9786D708DA}" type="sibTrans" cxnId="{6ECBC213-72B6-4781-AF77-4C6EF9CBF2DA}">
      <dgm:prSet/>
      <dgm:spPr/>
      <dgm:t>
        <a:bodyPr/>
        <a:lstStyle/>
        <a:p>
          <a:endParaRPr lang="en-US"/>
        </a:p>
      </dgm:t>
    </dgm:pt>
    <dgm:pt modelId="{4A894500-75AB-4923-B756-EBFE2105B2C5}">
      <dgm:prSet phldrT="[Text]"/>
      <dgm:spPr>
        <a:xfrm>
          <a:off x="3770753" y="1945"/>
          <a:ext cx="1295036" cy="966717"/>
        </a:xfrm>
        <a:ln>
          <a:solidFill>
            <a:schemeClr val="tx1"/>
          </a:solidFill>
        </a:ln>
      </dgm:spPr>
      <dgm:t>
        <a:bodyPr/>
        <a:lstStyle/>
        <a:p>
          <a:r>
            <a:rPr lang="en-US">
              <a:latin typeface="Times New Roman" panose="02020603050405020304"/>
              <a:ea typeface="+mn-ea"/>
              <a:cs typeface="+mn-cs"/>
            </a:rPr>
            <a:t>Landslide</a:t>
          </a:r>
        </a:p>
      </dgm:t>
    </dgm:pt>
    <dgm:pt modelId="{0A9636C1-1939-4744-B9F0-AF80B3F80E7C}" type="parTrans" cxnId="{4684B00A-A6D1-41A3-A1DD-2077CF2987FA}">
      <dgm:prSet/>
      <dgm:spPr/>
      <dgm:t>
        <a:bodyPr/>
        <a:lstStyle/>
        <a:p>
          <a:endParaRPr lang="en-US"/>
        </a:p>
      </dgm:t>
    </dgm:pt>
    <dgm:pt modelId="{C3C3B107-EE7B-4E28-8425-0E24D5A55B72}" type="sibTrans" cxnId="{4684B00A-A6D1-41A3-A1DD-2077CF2987FA}">
      <dgm:prSet/>
      <dgm:spPr/>
      <dgm:t>
        <a:bodyPr/>
        <a:lstStyle/>
        <a:p>
          <a:endParaRPr lang="en-US"/>
        </a:p>
      </dgm:t>
    </dgm:pt>
    <dgm:pt modelId="{77FBE271-CD23-40AE-BAC5-E8631C6F9792}">
      <dgm:prSet phldrT="[Text]"/>
      <dgm:spPr>
        <a:xfrm>
          <a:off x="3770753" y="1945"/>
          <a:ext cx="1295036" cy="966717"/>
        </a:xfrm>
      </dgm:spPr>
      <dgm:t>
        <a:bodyPr/>
        <a:lstStyle/>
        <a:p>
          <a:r>
            <a:rPr lang="en-US">
              <a:latin typeface="Times New Roman" panose="02020603050405020304"/>
              <a:ea typeface="+mn-ea"/>
              <a:cs typeface="+mn-cs"/>
            </a:rPr>
            <a:t>Snow/Ice</a:t>
          </a:r>
        </a:p>
      </dgm:t>
    </dgm:pt>
    <dgm:pt modelId="{87B58152-A86D-4D62-9262-0CA84A29C1C0}" type="parTrans" cxnId="{6BB71F03-B72B-419B-8542-2689B8215CFE}">
      <dgm:prSet/>
      <dgm:spPr/>
      <dgm:t>
        <a:bodyPr/>
        <a:lstStyle/>
        <a:p>
          <a:endParaRPr lang="en-US"/>
        </a:p>
      </dgm:t>
    </dgm:pt>
    <dgm:pt modelId="{8D4C7B2C-2855-4F32-A124-14A9E377555B}" type="sibTrans" cxnId="{6BB71F03-B72B-419B-8542-2689B8215CFE}">
      <dgm:prSet/>
      <dgm:spPr/>
      <dgm:t>
        <a:bodyPr/>
        <a:lstStyle/>
        <a:p>
          <a:endParaRPr lang="en-US"/>
        </a:p>
      </dgm:t>
    </dgm:pt>
    <dgm:pt modelId="{1DB07307-745C-4AAF-A532-04D2FA4CEBFE}">
      <dgm:prSet phldrT="[Text]"/>
      <dgm:spPr>
        <a:xfrm>
          <a:off x="3770753" y="2679163"/>
          <a:ext cx="1295036" cy="415688"/>
        </a:xfrm>
      </dgm:spPr>
      <dgm:t>
        <a:bodyPr/>
        <a:lstStyle/>
        <a:p>
          <a:r>
            <a:rPr lang="en-US" b="1">
              <a:latin typeface="Times New Roman" panose="02020603050405020304"/>
              <a:ea typeface="+mn-ea"/>
              <a:cs typeface="+mn-cs"/>
            </a:rPr>
            <a:t>Hazard</a:t>
          </a:r>
        </a:p>
      </dgm:t>
    </dgm:pt>
    <dgm:pt modelId="{F19264D8-597E-4612-8BDB-21A97BA410BE}" type="parTrans" cxnId="{C343315D-865A-49F8-9BF2-DA662088658E}">
      <dgm:prSet/>
      <dgm:spPr/>
      <dgm:t>
        <a:bodyPr/>
        <a:lstStyle/>
        <a:p>
          <a:endParaRPr lang="en-US"/>
        </a:p>
      </dgm:t>
    </dgm:pt>
    <dgm:pt modelId="{40BF4EBB-32D6-41AB-A30E-ECC12CEAF315}" type="sibTrans" cxnId="{C343315D-865A-49F8-9BF2-DA662088658E}">
      <dgm:prSet/>
      <dgm:spPr/>
      <dgm:t>
        <a:bodyPr/>
        <a:lstStyle/>
        <a:p>
          <a:endParaRPr lang="en-US"/>
        </a:p>
      </dgm:t>
    </dgm:pt>
    <dgm:pt modelId="{B90595E9-BD4A-44A4-9AD9-00082CD5D373}">
      <dgm:prSet phldrT="[Text]"/>
      <dgm:spPr>
        <a:xfrm>
          <a:off x="3770753" y="1712445"/>
          <a:ext cx="1295036" cy="966717"/>
        </a:xfrm>
        <a:ln>
          <a:solidFill>
            <a:schemeClr val="tx1"/>
          </a:solidFill>
        </a:ln>
      </dgm:spPr>
      <dgm:t>
        <a:bodyPr/>
        <a:lstStyle/>
        <a:p>
          <a:r>
            <a:rPr lang="en-US">
              <a:latin typeface="Times New Roman" panose="02020603050405020304"/>
              <a:ea typeface="+mn-ea"/>
              <a:cs typeface="+mn-cs"/>
            </a:rPr>
            <a:t>Percipitation</a:t>
          </a:r>
        </a:p>
      </dgm:t>
    </dgm:pt>
    <dgm:pt modelId="{9E30C00F-C10D-4996-8101-D8D6469EBD87}" type="parTrans" cxnId="{7DC47566-A8F0-4DCB-B02F-7E252517DD8C}">
      <dgm:prSet/>
      <dgm:spPr/>
      <dgm:t>
        <a:bodyPr/>
        <a:lstStyle/>
        <a:p>
          <a:endParaRPr lang="en-US"/>
        </a:p>
      </dgm:t>
    </dgm:pt>
    <dgm:pt modelId="{A447CEFB-65D3-4094-A4CD-2BFE156B68F9}" type="sibTrans" cxnId="{7DC47566-A8F0-4DCB-B02F-7E252517DD8C}">
      <dgm:prSet/>
      <dgm:spPr/>
      <dgm:t>
        <a:bodyPr/>
        <a:lstStyle/>
        <a:p>
          <a:endParaRPr lang="en-US"/>
        </a:p>
      </dgm:t>
    </dgm:pt>
    <dgm:pt modelId="{7A52280C-C3EF-485D-B77F-EE9CCEFF0C65}">
      <dgm:prSet phldrT="[Text]"/>
      <dgm:spPr>
        <a:xfrm>
          <a:off x="3770753" y="1712445"/>
          <a:ext cx="1295036" cy="966717"/>
        </a:xfrm>
      </dgm:spPr>
      <dgm:t>
        <a:bodyPr/>
        <a:lstStyle/>
        <a:p>
          <a:r>
            <a:rPr lang="en-US">
              <a:latin typeface="Times New Roman" panose="02020603050405020304"/>
              <a:ea typeface="+mn-ea"/>
              <a:cs typeface="+mn-cs"/>
            </a:rPr>
            <a:t>Sea Level Rise</a:t>
          </a:r>
        </a:p>
      </dgm:t>
    </dgm:pt>
    <dgm:pt modelId="{4B64B7F5-C3F8-4D3D-A9D7-2548222007E9}" type="parTrans" cxnId="{04BB571B-6B34-42C2-BCB3-8C2771A9B604}">
      <dgm:prSet/>
      <dgm:spPr/>
      <dgm:t>
        <a:bodyPr/>
        <a:lstStyle/>
        <a:p>
          <a:endParaRPr lang="en-US"/>
        </a:p>
      </dgm:t>
    </dgm:pt>
    <dgm:pt modelId="{99534CA2-B6BB-4ADE-9613-2C62221D1E13}" type="sibTrans" cxnId="{04BB571B-6B34-42C2-BCB3-8C2771A9B604}">
      <dgm:prSet/>
      <dgm:spPr/>
      <dgm:t>
        <a:bodyPr/>
        <a:lstStyle/>
        <a:p>
          <a:endParaRPr lang="en-US"/>
        </a:p>
      </dgm:t>
    </dgm:pt>
    <dgm:pt modelId="{DE6B5EA9-6153-410F-A46B-FBE09BD1F4DE}">
      <dgm:prSet phldrT="[Text]"/>
      <dgm:spPr>
        <a:xfrm>
          <a:off x="3770753" y="1712445"/>
          <a:ext cx="1295036" cy="966717"/>
        </a:xfrm>
        <a:ln>
          <a:solidFill>
            <a:schemeClr val="tx1"/>
          </a:solidFill>
        </a:ln>
      </dgm:spPr>
      <dgm:t>
        <a:bodyPr/>
        <a:lstStyle/>
        <a:p>
          <a:r>
            <a:rPr lang="en-US">
              <a:latin typeface="Times New Roman" panose="02020603050405020304"/>
              <a:ea typeface="+mn-ea"/>
              <a:cs typeface="+mn-cs"/>
            </a:rPr>
            <a:t>Heat</a:t>
          </a:r>
        </a:p>
      </dgm:t>
    </dgm:pt>
    <dgm:pt modelId="{98F8B06A-BD0D-4A0B-8F2D-A7063D3BAF96}" type="parTrans" cxnId="{120E5E14-1011-40A8-A3CB-A951F07EC3F9}">
      <dgm:prSet/>
      <dgm:spPr/>
      <dgm:t>
        <a:bodyPr/>
        <a:lstStyle/>
        <a:p>
          <a:endParaRPr lang="en-US"/>
        </a:p>
      </dgm:t>
    </dgm:pt>
    <dgm:pt modelId="{56B552C9-9395-463B-B94A-B27765FBF41C}" type="sibTrans" cxnId="{120E5E14-1011-40A8-A3CB-A951F07EC3F9}">
      <dgm:prSet/>
      <dgm:spPr/>
      <dgm:t>
        <a:bodyPr/>
        <a:lstStyle/>
        <a:p>
          <a:endParaRPr lang="en-US"/>
        </a:p>
      </dgm:t>
    </dgm:pt>
    <dgm:pt modelId="{447259E7-3EF4-4FEF-8A51-D4D818FEA834}">
      <dgm:prSet phldrT="[Text]"/>
      <dgm:spPr>
        <a:xfrm>
          <a:off x="3770753" y="1712445"/>
          <a:ext cx="1295036" cy="966717"/>
        </a:xfrm>
      </dgm:spPr>
      <dgm:t>
        <a:bodyPr/>
        <a:lstStyle/>
        <a:p>
          <a:r>
            <a:rPr lang="en-US">
              <a:latin typeface="Times New Roman" panose="02020603050405020304"/>
              <a:ea typeface="+mn-ea"/>
              <a:cs typeface="+mn-cs"/>
            </a:rPr>
            <a:t>Cold</a:t>
          </a:r>
        </a:p>
      </dgm:t>
    </dgm:pt>
    <dgm:pt modelId="{4D2A19E3-7FB8-48BD-8C78-44F61D93DDA0}" type="parTrans" cxnId="{9F10F64B-90CB-4A67-BDCC-E3E85483535A}">
      <dgm:prSet/>
      <dgm:spPr/>
      <dgm:t>
        <a:bodyPr/>
        <a:lstStyle/>
        <a:p>
          <a:endParaRPr lang="en-US"/>
        </a:p>
      </dgm:t>
    </dgm:pt>
    <dgm:pt modelId="{B8C96C43-C56D-4000-966F-8F192185846A}" type="sibTrans" cxnId="{9F10F64B-90CB-4A67-BDCC-E3E85483535A}">
      <dgm:prSet/>
      <dgm:spPr/>
      <dgm:t>
        <a:bodyPr/>
        <a:lstStyle/>
        <a:p>
          <a:endParaRPr lang="en-US"/>
        </a:p>
      </dgm:t>
    </dgm:pt>
    <dgm:pt modelId="{9DC07F53-1817-42DB-A50F-61D9620E98E3}">
      <dgm:prSet phldrT="[Text]"/>
      <dgm:spPr>
        <a:xfrm>
          <a:off x="3770753" y="1712445"/>
          <a:ext cx="1295036" cy="966717"/>
        </a:xfrm>
      </dgm:spPr>
      <dgm:t>
        <a:bodyPr/>
        <a:lstStyle/>
        <a:p>
          <a:r>
            <a:rPr lang="en-US">
              <a:latin typeface="Times New Roman" panose="02020603050405020304"/>
              <a:ea typeface="+mn-ea"/>
              <a:cs typeface="+mn-cs"/>
            </a:rPr>
            <a:t>Wind</a:t>
          </a:r>
        </a:p>
      </dgm:t>
    </dgm:pt>
    <dgm:pt modelId="{EE745F39-2CFF-4939-8445-92F81E37D247}" type="parTrans" cxnId="{6B7345CF-7EF6-41BB-8F1D-360CCEB11775}">
      <dgm:prSet/>
      <dgm:spPr/>
      <dgm:t>
        <a:bodyPr/>
        <a:lstStyle/>
        <a:p>
          <a:endParaRPr lang="en-US"/>
        </a:p>
      </dgm:t>
    </dgm:pt>
    <dgm:pt modelId="{180B4E90-108D-48D6-B98D-C3C5FD2F8154}" type="sibTrans" cxnId="{6B7345CF-7EF6-41BB-8F1D-360CCEB11775}">
      <dgm:prSet/>
      <dgm:spPr/>
      <dgm:t>
        <a:bodyPr/>
        <a:lstStyle/>
        <a:p>
          <a:endParaRPr lang="en-US"/>
        </a:p>
      </dgm:t>
    </dgm:pt>
    <dgm:pt modelId="{21D51A9D-E261-4542-A134-4370EF1AA7BF}">
      <dgm:prSet phldrT="[Text]"/>
      <dgm:spPr>
        <a:xfrm>
          <a:off x="3770753" y="1712445"/>
          <a:ext cx="1295036" cy="966717"/>
        </a:xfrm>
      </dgm:spPr>
      <dgm:t>
        <a:bodyPr/>
        <a:lstStyle/>
        <a:p>
          <a:r>
            <a:rPr lang="en-US">
              <a:latin typeface="Times New Roman" panose="02020603050405020304"/>
              <a:ea typeface="+mn-ea"/>
              <a:cs typeface="+mn-cs"/>
            </a:rPr>
            <a:t>Storm Surge</a:t>
          </a:r>
          <a:endParaRPr lang="en-US"/>
        </a:p>
      </dgm:t>
    </dgm:pt>
    <dgm:pt modelId="{C6BEDF39-03F0-4CE5-BEDD-1069E0BEE2B4}" type="parTrans" cxnId="{05AE8DDE-B023-4CB3-BFEA-936E59ADD4F8}">
      <dgm:prSet/>
      <dgm:spPr/>
      <dgm:t>
        <a:bodyPr/>
        <a:lstStyle/>
        <a:p>
          <a:endParaRPr lang="en-US"/>
        </a:p>
      </dgm:t>
    </dgm:pt>
    <dgm:pt modelId="{F0DBDC8E-427F-4819-8001-9322E0CD143D}" type="sibTrans" cxnId="{05AE8DDE-B023-4CB3-BFEA-936E59ADD4F8}">
      <dgm:prSet/>
      <dgm:spPr/>
      <dgm:t>
        <a:bodyPr/>
        <a:lstStyle/>
        <a:p>
          <a:endParaRPr lang="en-US"/>
        </a:p>
      </dgm:t>
    </dgm:pt>
    <dgm:pt modelId="{99E90F5F-AFC6-47F0-A2DA-AEF8EFE89810}">
      <dgm:prSet phldrT="[Text]"/>
      <dgm:spPr>
        <a:xfrm>
          <a:off x="2256564" y="1712445"/>
          <a:ext cx="1295036" cy="966717"/>
        </a:xfrm>
        <a:ln>
          <a:solidFill>
            <a:schemeClr val="tx1"/>
          </a:solidFill>
        </a:ln>
      </dgm:spPr>
      <dgm:t>
        <a:bodyPr/>
        <a:lstStyle/>
        <a:p>
          <a:r>
            <a:rPr lang="en-US">
              <a:latin typeface="Times New Roman" panose="02020603050405020304"/>
              <a:ea typeface="+mn-ea"/>
              <a:cs typeface="+mn-cs"/>
            </a:rPr>
            <a:t>75th %</a:t>
          </a:r>
        </a:p>
      </dgm:t>
    </dgm:pt>
    <dgm:pt modelId="{FDCB38B1-AF1E-4ACB-9C00-B8A29ADA72A1}" type="parTrans" cxnId="{852A594C-1462-46A4-90FF-3EEBEA2C3067}">
      <dgm:prSet/>
      <dgm:spPr/>
      <dgm:t>
        <a:bodyPr/>
        <a:lstStyle/>
        <a:p>
          <a:endParaRPr lang="en-US"/>
        </a:p>
      </dgm:t>
    </dgm:pt>
    <dgm:pt modelId="{C6C1B91F-BEDC-4DD8-94B2-30A11C39492C}" type="sibTrans" cxnId="{852A594C-1462-46A4-90FF-3EEBEA2C3067}">
      <dgm:prSet/>
      <dgm:spPr/>
      <dgm:t>
        <a:bodyPr/>
        <a:lstStyle/>
        <a:p>
          <a:endParaRPr lang="en-US"/>
        </a:p>
      </dgm:t>
    </dgm:pt>
    <dgm:pt modelId="{84EC9327-8D02-483C-95FF-3DEE6328D1F7}" type="pres">
      <dgm:prSet presAssocID="{6F68A551-7E43-408A-B317-B66459EA04D9}" presName="theList" presStyleCnt="0">
        <dgm:presLayoutVars>
          <dgm:dir/>
          <dgm:animLvl val="lvl"/>
          <dgm:resizeHandles val="exact"/>
        </dgm:presLayoutVars>
      </dgm:prSet>
      <dgm:spPr/>
      <dgm:t>
        <a:bodyPr/>
        <a:lstStyle/>
        <a:p>
          <a:endParaRPr lang="en-US"/>
        </a:p>
      </dgm:t>
    </dgm:pt>
    <dgm:pt modelId="{0DDEB70D-8C46-40BF-A18A-B9D328AE5B3F}" type="pres">
      <dgm:prSet presAssocID="{3F3F95B3-9EEB-48B0-9B79-C84406B165FC}" presName="compNode" presStyleCnt="0"/>
      <dgm:spPr/>
    </dgm:pt>
    <dgm:pt modelId="{7A13265C-0B22-4B9D-8A8E-379A78F94C6F}" type="pres">
      <dgm:prSet presAssocID="{3F3F95B3-9EEB-48B0-9B79-C84406B165FC}" presName="aNode" presStyleLbl="bgShp" presStyleIdx="0" presStyleCnt="6"/>
      <dgm:spPr>
        <a:prstGeom prst="roundRect">
          <a:avLst/>
        </a:prstGeom>
      </dgm:spPr>
      <dgm:t>
        <a:bodyPr/>
        <a:lstStyle/>
        <a:p>
          <a:endParaRPr lang="en-US"/>
        </a:p>
      </dgm:t>
    </dgm:pt>
    <dgm:pt modelId="{6DE99998-CABC-486B-A196-186C5B7C02D3}" type="pres">
      <dgm:prSet presAssocID="{3F3F95B3-9EEB-48B0-9B79-C84406B165FC}" presName="textNode" presStyleLbl="bgShp" presStyleIdx="0" presStyleCnt="6"/>
      <dgm:spPr/>
      <dgm:t>
        <a:bodyPr/>
        <a:lstStyle/>
        <a:p>
          <a:endParaRPr lang="en-US"/>
        </a:p>
      </dgm:t>
    </dgm:pt>
    <dgm:pt modelId="{00720F54-03BC-4F56-B1BD-DAA94DC5D7AA}" type="pres">
      <dgm:prSet presAssocID="{3F3F95B3-9EEB-48B0-9B79-C84406B165FC}" presName="compChildNode" presStyleCnt="0"/>
      <dgm:spPr/>
    </dgm:pt>
    <dgm:pt modelId="{771C6DA5-73D0-4DA3-BA4B-B2456BB7977B}" type="pres">
      <dgm:prSet presAssocID="{3F3F95B3-9EEB-48B0-9B79-C84406B165FC}" presName="theInnerList" presStyleCnt="0"/>
      <dgm:spPr/>
    </dgm:pt>
    <dgm:pt modelId="{A9213B6B-AFD0-418A-845A-56A54BF2F623}" type="pres">
      <dgm:prSet presAssocID="{4CE9E562-3FE6-407F-8CE1-30BC68127994}" presName="childNode" presStyleLbl="node1" presStyleIdx="0" presStyleCnt="26">
        <dgm:presLayoutVars>
          <dgm:bulletEnabled val="1"/>
        </dgm:presLayoutVars>
      </dgm:prSet>
      <dgm:spPr>
        <a:prstGeom prst="round2SameRect">
          <a:avLst>
            <a:gd name="adj1" fmla="val 8000"/>
            <a:gd name="adj2" fmla="val 0"/>
          </a:avLst>
        </a:prstGeom>
      </dgm:spPr>
      <dgm:t>
        <a:bodyPr/>
        <a:lstStyle/>
        <a:p>
          <a:endParaRPr lang="en-US"/>
        </a:p>
      </dgm:t>
    </dgm:pt>
    <dgm:pt modelId="{C8ECAB21-9DB5-45F0-8417-F734E22C14FF}" type="pres">
      <dgm:prSet presAssocID="{4CE9E562-3FE6-407F-8CE1-30BC68127994}" presName="aSpace2" presStyleCnt="0"/>
      <dgm:spPr/>
    </dgm:pt>
    <dgm:pt modelId="{881451FF-C1D5-4857-A043-742F95A09659}" type="pres">
      <dgm:prSet presAssocID="{3A7D99EA-A0BE-4ADE-90EB-541506F0DAA8}" presName="childNode" presStyleLbl="node1" presStyleIdx="1" presStyleCnt="26">
        <dgm:presLayoutVars>
          <dgm:bulletEnabled val="1"/>
        </dgm:presLayoutVars>
      </dgm:prSet>
      <dgm:spPr/>
      <dgm:t>
        <a:bodyPr/>
        <a:lstStyle/>
        <a:p>
          <a:endParaRPr lang="en-US"/>
        </a:p>
      </dgm:t>
    </dgm:pt>
    <dgm:pt modelId="{14F4850A-2A83-4AE0-BEE1-338F7C3FF16E}" type="pres">
      <dgm:prSet presAssocID="{3A7D99EA-A0BE-4ADE-90EB-541506F0DAA8}" presName="aSpace2" presStyleCnt="0"/>
      <dgm:spPr/>
    </dgm:pt>
    <dgm:pt modelId="{6E291A2E-B053-4CEE-B63E-9438110E9374}" type="pres">
      <dgm:prSet presAssocID="{D1D59C95-D2B4-432B-B956-0AE441DD0493}" presName="childNode" presStyleLbl="node1" presStyleIdx="2" presStyleCnt="26">
        <dgm:presLayoutVars>
          <dgm:bulletEnabled val="1"/>
        </dgm:presLayoutVars>
      </dgm:prSet>
      <dgm:spPr/>
      <dgm:t>
        <a:bodyPr/>
        <a:lstStyle/>
        <a:p>
          <a:endParaRPr lang="en-US"/>
        </a:p>
      </dgm:t>
    </dgm:pt>
    <dgm:pt modelId="{DC9EE1E7-17B4-4501-B24F-E9F36BCED450}" type="pres">
      <dgm:prSet presAssocID="{D1D59C95-D2B4-432B-B956-0AE441DD0493}" presName="aSpace2" presStyleCnt="0"/>
      <dgm:spPr/>
    </dgm:pt>
    <dgm:pt modelId="{E7C44452-B449-4B8E-AE54-3D3C66A09930}" type="pres">
      <dgm:prSet presAssocID="{1976E9B3-238A-4263-B91D-68342FF8A923}" presName="childNode" presStyleLbl="node1" presStyleIdx="3" presStyleCnt="26">
        <dgm:presLayoutVars>
          <dgm:bulletEnabled val="1"/>
        </dgm:presLayoutVars>
      </dgm:prSet>
      <dgm:spPr/>
      <dgm:t>
        <a:bodyPr/>
        <a:lstStyle/>
        <a:p>
          <a:endParaRPr lang="en-US"/>
        </a:p>
      </dgm:t>
    </dgm:pt>
    <dgm:pt modelId="{1EA38475-26DC-4D6F-9AA0-4A942307C75C}" type="pres">
      <dgm:prSet presAssocID="{1976E9B3-238A-4263-B91D-68342FF8A923}" presName="aSpace2" presStyleCnt="0"/>
      <dgm:spPr/>
    </dgm:pt>
    <dgm:pt modelId="{A49E3DC5-0E0A-4802-9FF8-19749D60574A}" type="pres">
      <dgm:prSet presAssocID="{4C0D835A-B65A-44C2-BB43-0C37904F64EB}" presName="childNode" presStyleLbl="node1" presStyleIdx="4" presStyleCnt="26">
        <dgm:presLayoutVars>
          <dgm:bulletEnabled val="1"/>
        </dgm:presLayoutVars>
      </dgm:prSet>
      <dgm:spPr/>
      <dgm:t>
        <a:bodyPr/>
        <a:lstStyle/>
        <a:p>
          <a:endParaRPr lang="en-US"/>
        </a:p>
      </dgm:t>
    </dgm:pt>
    <dgm:pt modelId="{8604CFFF-6938-4E18-8D06-9C65FFDF936B}" type="pres">
      <dgm:prSet presAssocID="{3F3F95B3-9EEB-48B0-9B79-C84406B165FC}" presName="aSpace" presStyleCnt="0"/>
      <dgm:spPr/>
    </dgm:pt>
    <dgm:pt modelId="{ACE7A1FF-B061-4A13-917A-89FB23DB6E5F}" type="pres">
      <dgm:prSet presAssocID="{D9F5310C-4511-455F-92A9-00BA44C19991}" presName="compNode" presStyleCnt="0"/>
      <dgm:spPr/>
    </dgm:pt>
    <dgm:pt modelId="{4FD24DDE-7D70-45F0-9ADA-1E12A591D2DA}" type="pres">
      <dgm:prSet presAssocID="{D9F5310C-4511-455F-92A9-00BA44C19991}" presName="aNode" presStyleLbl="bgShp" presStyleIdx="1" presStyleCnt="6"/>
      <dgm:spPr>
        <a:prstGeom prst="roundRect">
          <a:avLst/>
        </a:prstGeom>
      </dgm:spPr>
      <dgm:t>
        <a:bodyPr/>
        <a:lstStyle/>
        <a:p>
          <a:endParaRPr lang="en-US"/>
        </a:p>
      </dgm:t>
    </dgm:pt>
    <dgm:pt modelId="{08A9C4FC-4A7C-42D3-930E-1BE1C4348D23}" type="pres">
      <dgm:prSet presAssocID="{D9F5310C-4511-455F-92A9-00BA44C19991}" presName="textNode" presStyleLbl="bgShp" presStyleIdx="1" presStyleCnt="6"/>
      <dgm:spPr/>
      <dgm:t>
        <a:bodyPr/>
        <a:lstStyle/>
        <a:p>
          <a:endParaRPr lang="en-US"/>
        </a:p>
      </dgm:t>
    </dgm:pt>
    <dgm:pt modelId="{7B0F8F4A-7828-4D6B-B6C5-DB1F793AA420}" type="pres">
      <dgm:prSet presAssocID="{D9F5310C-4511-455F-92A9-00BA44C19991}" presName="compChildNode" presStyleCnt="0"/>
      <dgm:spPr/>
    </dgm:pt>
    <dgm:pt modelId="{C1FCAFD4-64FC-400F-9A13-192DF7D4A67F}" type="pres">
      <dgm:prSet presAssocID="{D9F5310C-4511-455F-92A9-00BA44C19991}" presName="theInnerList" presStyleCnt="0"/>
      <dgm:spPr/>
    </dgm:pt>
    <dgm:pt modelId="{683FF6C4-CBB0-4877-99B3-C67E55BFC765}" type="pres">
      <dgm:prSet presAssocID="{6ECD7908-6F5B-4AB4-B281-C507AFBD4C3E}" presName="childNode" presStyleLbl="node1" presStyleIdx="5" presStyleCnt="26">
        <dgm:presLayoutVars>
          <dgm:bulletEnabled val="1"/>
        </dgm:presLayoutVars>
      </dgm:prSet>
      <dgm:spPr>
        <a:prstGeom prst="round2SameRect">
          <a:avLst>
            <a:gd name="adj1" fmla="val 8000"/>
            <a:gd name="adj2" fmla="val 0"/>
          </a:avLst>
        </a:prstGeom>
      </dgm:spPr>
      <dgm:t>
        <a:bodyPr/>
        <a:lstStyle/>
        <a:p>
          <a:endParaRPr lang="en-US"/>
        </a:p>
      </dgm:t>
    </dgm:pt>
    <dgm:pt modelId="{E71AC322-0289-4941-B68E-13589A9051E6}" type="pres">
      <dgm:prSet presAssocID="{6ECD7908-6F5B-4AB4-B281-C507AFBD4C3E}" presName="aSpace2" presStyleCnt="0"/>
      <dgm:spPr/>
    </dgm:pt>
    <dgm:pt modelId="{0B493253-197A-401D-A3EC-9EE6D5B1C472}" type="pres">
      <dgm:prSet presAssocID="{DA1FBAA2-DD42-4C54-B804-156F3ED215A0}" presName="childNode" presStyleLbl="node1" presStyleIdx="6" presStyleCnt="26">
        <dgm:presLayoutVars>
          <dgm:bulletEnabled val="1"/>
        </dgm:presLayoutVars>
      </dgm:prSet>
      <dgm:spPr/>
      <dgm:t>
        <a:bodyPr/>
        <a:lstStyle/>
        <a:p>
          <a:endParaRPr lang="en-US"/>
        </a:p>
      </dgm:t>
    </dgm:pt>
    <dgm:pt modelId="{9473C5B9-C062-49A9-8C2B-ECB463BB3EB9}" type="pres">
      <dgm:prSet presAssocID="{DA1FBAA2-DD42-4C54-B804-156F3ED215A0}" presName="aSpace2" presStyleCnt="0"/>
      <dgm:spPr/>
    </dgm:pt>
    <dgm:pt modelId="{75AD852E-355B-420A-B55E-2883E49B2B09}" type="pres">
      <dgm:prSet presAssocID="{83393304-4AD9-4C5B-AF48-27D862C55F72}" presName="childNode" presStyleLbl="node1" presStyleIdx="7" presStyleCnt="26">
        <dgm:presLayoutVars>
          <dgm:bulletEnabled val="1"/>
        </dgm:presLayoutVars>
      </dgm:prSet>
      <dgm:spPr/>
      <dgm:t>
        <a:bodyPr/>
        <a:lstStyle/>
        <a:p>
          <a:endParaRPr lang="en-US"/>
        </a:p>
      </dgm:t>
    </dgm:pt>
    <dgm:pt modelId="{8E105F54-9206-4321-A3D2-1D0431364400}" type="pres">
      <dgm:prSet presAssocID="{83393304-4AD9-4C5B-AF48-27D862C55F72}" presName="aSpace2" presStyleCnt="0"/>
      <dgm:spPr/>
    </dgm:pt>
    <dgm:pt modelId="{5417DB4D-C77E-4A93-AF87-AD2C0DE9C8E9}" type="pres">
      <dgm:prSet presAssocID="{B51E2B9D-A705-4703-8AD8-8FF30CB96C43}" presName="childNode" presStyleLbl="node1" presStyleIdx="8" presStyleCnt="26">
        <dgm:presLayoutVars>
          <dgm:bulletEnabled val="1"/>
        </dgm:presLayoutVars>
      </dgm:prSet>
      <dgm:spPr/>
      <dgm:t>
        <a:bodyPr/>
        <a:lstStyle/>
        <a:p>
          <a:endParaRPr lang="en-US"/>
        </a:p>
      </dgm:t>
    </dgm:pt>
    <dgm:pt modelId="{92121FFF-F932-4886-80E2-6C3D1BCBB174}" type="pres">
      <dgm:prSet presAssocID="{D9F5310C-4511-455F-92A9-00BA44C19991}" presName="aSpace" presStyleCnt="0"/>
      <dgm:spPr/>
    </dgm:pt>
    <dgm:pt modelId="{FE570624-1039-4A64-AC29-AC03ADA0FF17}" type="pres">
      <dgm:prSet presAssocID="{1DB07307-745C-4AAF-A532-04D2FA4CEBFE}" presName="compNode" presStyleCnt="0"/>
      <dgm:spPr/>
    </dgm:pt>
    <dgm:pt modelId="{A7EBD67B-0417-46AF-B15C-F8C362167C7E}" type="pres">
      <dgm:prSet presAssocID="{1DB07307-745C-4AAF-A532-04D2FA4CEBFE}" presName="aNode" presStyleLbl="bgShp" presStyleIdx="2" presStyleCnt="6"/>
      <dgm:spPr>
        <a:prstGeom prst="roundRect">
          <a:avLst/>
        </a:prstGeom>
      </dgm:spPr>
      <dgm:t>
        <a:bodyPr/>
        <a:lstStyle/>
        <a:p>
          <a:endParaRPr lang="en-US"/>
        </a:p>
      </dgm:t>
    </dgm:pt>
    <dgm:pt modelId="{B7CE2255-F5B0-4FE4-B00F-B90D0F10A4EB}" type="pres">
      <dgm:prSet presAssocID="{1DB07307-745C-4AAF-A532-04D2FA4CEBFE}" presName="textNode" presStyleLbl="bgShp" presStyleIdx="2" presStyleCnt="6"/>
      <dgm:spPr/>
      <dgm:t>
        <a:bodyPr/>
        <a:lstStyle/>
        <a:p>
          <a:endParaRPr lang="en-US"/>
        </a:p>
      </dgm:t>
    </dgm:pt>
    <dgm:pt modelId="{65BEC902-A0A7-46E2-8270-AF2FA293A846}" type="pres">
      <dgm:prSet presAssocID="{1DB07307-745C-4AAF-A532-04D2FA4CEBFE}" presName="compChildNode" presStyleCnt="0"/>
      <dgm:spPr/>
    </dgm:pt>
    <dgm:pt modelId="{2E86E2F3-3A7A-47DC-B16F-782E3FE9EBE1}" type="pres">
      <dgm:prSet presAssocID="{1DB07307-745C-4AAF-A532-04D2FA4CEBFE}" presName="theInnerList" presStyleCnt="0"/>
      <dgm:spPr/>
    </dgm:pt>
    <dgm:pt modelId="{0CC11804-3875-4930-8766-8CDB221CCEC9}" type="pres">
      <dgm:prSet presAssocID="{B90595E9-BD4A-44A4-9AD9-00082CD5D373}" presName="childNode" presStyleLbl="node1" presStyleIdx="9" presStyleCnt="26">
        <dgm:presLayoutVars>
          <dgm:bulletEnabled val="1"/>
        </dgm:presLayoutVars>
      </dgm:prSet>
      <dgm:spPr>
        <a:prstGeom prst="roundRect">
          <a:avLst/>
        </a:prstGeom>
      </dgm:spPr>
      <dgm:t>
        <a:bodyPr/>
        <a:lstStyle/>
        <a:p>
          <a:endParaRPr lang="en-US"/>
        </a:p>
      </dgm:t>
    </dgm:pt>
    <dgm:pt modelId="{9FEC2F67-7AEC-48DC-B4C6-25DDC2A42396}" type="pres">
      <dgm:prSet presAssocID="{B90595E9-BD4A-44A4-9AD9-00082CD5D373}" presName="aSpace2" presStyleCnt="0"/>
      <dgm:spPr/>
    </dgm:pt>
    <dgm:pt modelId="{7DB1D492-8454-4013-9BEF-B8BC9C5D66BC}" type="pres">
      <dgm:prSet presAssocID="{7A52280C-C3EF-485D-B77F-EE9CCEFF0C65}" presName="childNode" presStyleLbl="node1" presStyleIdx="10" presStyleCnt="26">
        <dgm:presLayoutVars>
          <dgm:bulletEnabled val="1"/>
        </dgm:presLayoutVars>
      </dgm:prSet>
      <dgm:spPr/>
      <dgm:t>
        <a:bodyPr/>
        <a:lstStyle/>
        <a:p>
          <a:endParaRPr lang="en-US"/>
        </a:p>
      </dgm:t>
    </dgm:pt>
    <dgm:pt modelId="{CD2131A4-94F5-4745-BCF6-B408B7876CC4}" type="pres">
      <dgm:prSet presAssocID="{7A52280C-C3EF-485D-B77F-EE9CCEFF0C65}" presName="aSpace2" presStyleCnt="0"/>
      <dgm:spPr/>
    </dgm:pt>
    <dgm:pt modelId="{2314BA4B-09A5-4C4A-8EF4-DD16254BE0EE}" type="pres">
      <dgm:prSet presAssocID="{DE6B5EA9-6153-410F-A46B-FBE09BD1F4DE}" presName="childNode" presStyleLbl="node1" presStyleIdx="11" presStyleCnt="26">
        <dgm:presLayoutVars>
          <dgm:bulletEnabled val="1"/>
        </dgm:presLayoutVars>
      </dgm:prSet>
      <dgm:spPr/>
      <dgm:t>
        <a:bodyPr/>
        <a:lstStyle/>
        <a:p>
          <a:endParaRPr lang="en-US"/>
        </a:p>
      </dgm:t>
    </dgm:pt>
    <dgm:pt modelId="{B52FFEC4-6A3C-41DF-B68A-3BB3BF20382D}" type="pres">
      <dgm:prSet presAssocID="{DE6B5EA9-6153-410F-A46B-FBE09BD1F4DE}" presName="aSpace2" presStyleCnt="0"/>
      <dgm:spPr/>
    </dgm:pt>
    <dgm:pt modelId="{D33F3292-576E-4098-9AA1-F98A9E76FF8E}" type="pres">
      <dgm:prSet presAssocID="{447259E7-3EF4-4FEF-8A51-D4D818FEA834}" presName="childNode" presStyleLbl="node1" presStyleIdx="12" presStyleCnt="26">
        <dgm:presLayoutVars>
          <dgm:bulletEnabled val="1"/>
        </dgm:presLayoutVars>
      </dgm:prSet>
      <dgm:spPr/>
      <dgm:t>
        <a:bodyPr/>
        <a:lstStyle/>
        <a:p>
          <a:endParaRPr lang="en-US"/>
        </a:p>
      </dgm:t>
    </dgm:pt>
    <dgm:pt modelId="{EC935FCB-57CC-471F-A7E5-6D30944B9EA9}" type="pres">
      <dgm:prSet presAssocID="{447259E7-3EF4-4FEF-8A51-D4D818FEA834}" presName="aSpace2" presStyleCnt="0"/>
      <dgm:spPr/>
    </dgm:pt>
    <dgm:pt modelId="{5BC82F9B-0B2D-415E-B1CC-3B0C0D27CF43}" type="pres">
      <dgm:prSet presAssocID="{9DC07F53-1817-42DB-A50F-61D9620E98E3}" presName="childNode" presStyleLbl="node1" presStyleIdx="13" presStyleCnt="26">
        <dgm:presLayoutVars>
          <dgm:bulletEnabled val="1"/>
        </dgm:presLayoutVars>
      </dgm:prSet>
      <dgm:spPr/>
      <dgm:t>
        <a:bodyPr/>
        <a:lstStyle/>
        <a:p>
          <a:endParaRPr lang="en-US"/>
        </a:p>
      </dgm:t>
    </dgm:pt>
    <dgm:pt modelId="{4EA2CC04-B8D8-42D8-9BDA-E16AAFB07839}" type="pres">
      <dgm:prSet presAssocID="{9DC07F53-1817-42DB-A50F-61D9620E98E3}" presName="aSpace2" presStyleCnt="0"/>
      <dgm:spPr/>
    </dgm:pt>
    <dgm:pt modelId="{C3431DFE-5226-4433-9413-D5DF05A00B66}" type="pres">
      <dgm:prSet presAssocID="{21D51A9D-E261-4542-A134-4370EF1AA7BF}" presName="childNode" presStyleLbl="node1" presStyleIdx="14" presStyleCnt="26">
        <dgm:presLayoutVars>
          <dgm:bulletEnabled val="1"/>
        </dgm:presLayoutVars>
      </dgm:prSet>
      <dgm:spPr/>
      <dgm:t>
        <a:bodyPr/>
        <a:lstStyle/>
        <a:p>
          <a:endParaRPr lang="en-US"/>
        </a:p>
      </dgm:t>
    </dgm:pt>
    <dgm:pt modelId="{815A4D1F-6731-4624-81DF-6D9EAE50B269}" type="pres">
      <dgm:prSet presAssocID="{1DB07307-745C-4AAF-A532-04D2FA4CEBFE}" presName="aSpace" presStyleCnt="0"/>
      <dgm:spPr/>
    </dgm:pt>
    <dgm:pt modelId="{9F2495BB-17FE-45D1-832F-01FC5A5E2AC0}" type="pres">
      <dgm:prSet presAssocID="{A630C113-DA40-478A-9754-EC83605356CA}" presName="compNode" presStyleCnt="0"/>
      <dgm:spPr/>
    </dgm:pt>
    <dgm:pt modelId="{427054C7-1136-44E4-866C-A10DB3570D9F}" type="pres">
      <dgm:prSet presAssocID="{A630C113-DA40-478A-9754-EC83605356CA}" presName="aNode" presStyleLbl="bgShp" presStyleIdx="3" presStyleCnt="6"/>
      <dgm:spPr>
        <a:prstGeom prst="roundRect">
          <a:avLst/>
        </a:prstGeom>
      </dgm:spPr>
      <dgm:t>
        <a:bodyPr/>
        <a:lstStyle/>
        <a:p>
          <a:endParaRPr lang="en-US"/>
        </a:p>
      </dgm:t>
    </dgm:pt>
    <dgm:pt modelId="{34AC75A0-24E2-48B8-8639-08B485C7FBD3}" type="pres">
      <dgm:prSet presAssocID="{A630C113-DA40-478A-9754-EC83605356CA}" presName="textNode" presStyleLbl="bgShp" presStyleIdx="3" presStyleCnt="6"/>
      <dgm:spPr/>
      <dgm:t>
        <a:bodyPr/>
        <a:lstStyle/>
        <a:p>
          <a:endParaRPr lang="en-US"/>
        </a:p>
      </dgm:t>
    </dgm:pt>
    <dgm:pt modelId="{E0E2AC1C-D742-4B3B-8675-8F3552FFBFFC}" type="pres">
      <dgm:prSet presAssocID="{A630C113-DA40-478A-9754-EC83605356CA}" presName="compChildNode" presStyleCnt="0"/>
      <dgm:spPr/>
    </dgm:pt>
    <dgm:pt modelId="{472D110E-5211-48FA-A61D-8ADE707E16C8}" type="pres">
      <dgm:prSet presAssocID="{A630C113-DA40-478A-9754-EC83605356CA}" presName="theInnerList" presStyleCnt="0"/>
      <dgm:spPr/>
    </dgm:pt>
    <dgm:pt modelId="{8237130C-CFC1-458B-B4C8-4DBAF4D22636}" type="pres">
      <dgm:prSet presAssocID="{BBD7B213-F004-4007-B073-BA0AFB9DAE02}" presName="childNode" presStyleLbl="node1" presStyleIdx="15" presStyleCnt="26">
        <dgm:presLayoutVars>
          <dgm:bulletEnabled val="1"/>
        </dgm:presLayoutVars>
      </dgm:prSet>
      <dgm:spPr>
        <a:prstGeom prst="roundRect">
          <a:avLst/>
        </a:prstGeom>
      </dgm:spPr>
      <dgm:t>
        <a:bodyPr/>
        <a:lstStyle/>
        <a:p>
          <a:endParaRPr lang="en-US"/>
        </a:p>
      </dgm:t>
    </dgm:pt>
    <dgm:pt modelId="{6DA114C9-7265-4280-B2D3-277C623C54F7}" type="pres">
      <dgm:prSet presAssocID="{BBD7B213-F004-4007-B073-BA0AFB9DAE02}" presName="aSpace2" presStyleCnt="0"/>
      <dgm:spPr/>
    </dgm:pt>
    <dgm:pt modelId="{25770E3C-D575-434C-9FA3-9B4B4E5F51D3}" type="pres">
      <dgm:prSet presAssocID="{4A894500-75AB-4923-B756-EBFE2105B2C5}" presName="childNode" presStyleLbl="node1" presStyleIdx="16" presStyleCnt="26">
        <dgm:presLayoutVars>
          <dgm:bulletEnabled val="1"/>
        </dgm:presLayoutVars>
      </dgm:prSet>
      <dgm:spPr/>
      <dgm:t>
        <a:bodyPr/>
        <a:lstStyle/>
        <a:p>
          <a:endParaRPr lang="en-US"/>
        </a:p>
      </dgm:t>
    </dgm:pt>
    <dgm:pt modelId="{AD4F079E-489D-4A4C-852A-6DDEC878E4BF}" type="pres">
      <dgm:prSet presAssocID="{4A894500-75AB-4923-B756-EBFE2105B2C5}" presName="aSpace2" presStyleCnt="0"/>
      <dgm:spPr/>
    </dgm:pt>
    <dgm:pt modelId="{FEBDB620-9732-485A-BF23-75777F50BF53}" type="pres">
      <dgm:prSet presAssocID="{054411EE-63EB-4F74-9C8D-629E1E7FE60F}" presName="childNode" presStyleLbl="node1" presStyleIdx="17" presStyleCnt="26">
        <dgm:presLayoutVars>
          <dgm:bulletEnabled val="1"/>
        </dgm:presLayoutVars>
      </dgm:prSet>
      <dgm:spPr/>
      <dgm:t>
        <a:bodyPr/>
        <a:lstStyle/>
        <a:p>
          <a:endParaRPr lang="en-US"/>
        </a:p>
      </dgm:t>
    </dgm:pt>
    <dgm:pt modelId="{091755C8-C939-4304-BD13-7568D1CF03C4}" type="pres">
      <dgm:prSet presAssocID="{054411EE-63EB-4F74-9C8D-629E1E7FE60F}" presName="aSpace2" presStyleCnt="0"/>
      <dgm:spPr/>
    </dgm:pt>
    <dgm:pt modelId="{FCADB838-A3CA-4A8D-AEC9-14EC767CCF35}" type="pres">
      <dgm:prSet presAssocID="{77FBE271-CD23-40AE-BAC5-E8631C6F9792}" presName="childNode" presStyleLbl="node1" presStyleIdx="18" presStyleCnt="26">
        <dgm:presLayoutVars>
          <dgm:bulletEnabled val="1"/>
        </dgm:presLayoutVars>
      </dgm:prSet>
      <dgm:spPr/>
      <dgm:t>
        <a:bodyPr/>
        <a:lstStyle/>
        <a:p>
          <a:endParaRPr lang="en-US"/>
        </a:p>
      </dgm:t>
    </dgm:pt>
    <dgm:pt modelId="{288E52B6-0211-4BE9-8DD2-1EF7D6A09A76}" type="pres">
      <dgm:prSet presAssocID="{A630C113-DA40-478A-9754-EC83605356CA}" presName="aSpace" presStyleCnt="0"/>
      <dgm:spPr/>
    </dgm:pt>
    <dgm:pt modelId="{5F5CD2E7-715F-49CD-9749-774C77F722A3}" type="pres">
      <dgm:prSet presAssocID="{CADE6A3C-0098-4BAF-9975-D9A973030982}" presName="compNode" presStyleCnt="0"/>
      <dgm:spPr/>
    </dgm:pt>
    <dgm:pt modelId="{13CA8D46-D4CC-4ADF-A576-ED1A5A75012F}" type="pres">
      <dgm:prSet presAssocID="{CADE6A3C-0098-4BAF-9975-D9A973030982}" presName="aNode" presStyleLbl="bgShp" presStyleIdx="4" presStyleCnt="6"/>
      <dgm:spPr>
        <a:prstGeom prst="roundRect">
          <a:avLst/>
        </a:prstGeom>
      </dgm:spPr>
      <dgm:t>
        <a:bodyPr/>
        <a:lstStyle/>
        <a:p>
          <a:endParaRPr lang="en-US"/>
        </a:p>
      </dgm:t>
    </dgm:pt>
    <dgm:pt modelId="{042F6B52-6D19-4493-A3E1-3F82594D8C49}" type="pres">
      <dgm:prSet presAssocID="{CADE6A3C-0098-4BAF-9975-D9A973030982}" presName="textNode" presStyleLbl="bgShp" presStyleIdx="4" presStyleCnt="6"/>
      <dgm:spPr/>
      <dgm:t>
        <a:bodyPr/>
        <a:lstStyle/>
        <a:p>
          <a:endParaRPr lang="en-US"/>
        </a:p>
      </dgm:t>
    </dgm:pt>
    <dgm:pt modelId="{5A6011DF-B550-4184-939F-3D003C714FE6}" type="pres">
      <dgm:prSet presAssocID="{CADE6A3C-0098-4BAF-9975-D9A973030982}" presName="compChildNode" presStyleCnt="0"/>
      <dgm:spPr/>
    </dgm:pt>
    <dgm:pt modelId="{22C4B52D-9150-433E-B058-EF9A8BBF92C1}" type="pres">
      <dgm:prSet presAssocID="{CADE6A3C-0098-4BAF-9975-D9A973030982}" presName="theInnerList" presStyleCnt="0"/>
      <dgm:spPr/>
    </dgm:pt>
    <dgm:pt modelId="{2D9E9755-6C19-4D9F-8697-2A78908BB979}" type="pres">
      <dgm:prSet presAssocID="{934AD681-DBD8-45AF-AAB6-CEC2DC16A520}" presName="childNode" presStyleLbl="node1" presStyleIdx="19" presStyleCnt="26">
        <dgm:presLayoutVars>
          <dgm:bulletEnabled val="1"/>
        </dgm:presLayoutVars>
      </dgm:prSet>
      <dgm:spPr>
        <a:prstGeom prst="round2SameRect">
          <a:avLst>
            <a:gd name="adj1" fmla="val 8000"/>
            <a:gd name="adj2" fmla="val 0"/>
          </a:avLst>
        </a:prstGeom>
      </dgm:spPr>
      <dgm:t>
        <a:bodyPr/>
        <a:lstStyle/>
        <a:p>
          <a:endParaRPr lang="en-US"/>
        </a:p>
      </dgm:t>
    </dgm:pt>
    <dgm:pt modelId="{83A16FC1-88CF-45A8-A519-925BEFFAF23D}" type="pres">
      <dgm:prSet presAssocID="{934AD681-DBD8-45AF-AAB6-CEC2DC16A520}" presName="aSpace2" presStyleCnt="0"/>
      <dgm:spPr/>
    </dgm:pt>
    <dgm:pt modelId="{4AE5FFDD-1BF1-4B95-82F9-DE99E74A98AF}" type="pres">
      <dgm:prSet presAssocID="{0CD0DDAF-039C-4FF3-9CB2-A945878277AB}" presName="childNode" presStyleLbl="node1" presStyleIdx="20" presStyleCnt="26">
        <dgm:presLayoutVars>
          <dgm:bulletEnabled val="1"/>
        </dgm:presLayoutVars>
      </dgm:prSet>
      <dgm:spPr/>
      <dgm:t>
        <a:bodyPr/>
        <a:lstStyle/>
        <a:p>
          <a:endParaRPr lang="en-US"/>
        </a:p>
      </dgm:t>
    </dgm:pt>
    <dgm:pt modelId="{6E051FFB-F5F5-4D6F-A315-A81F7946DE2E}" type="pres">
      <dgm:prSet presAssocID="{0CD0DDAF-039C-4FF3-9CB2-A945878277AB}" presName="aSpace2" presStyleCnt="0"/>
      <dgm:spPr/>
    </dgm:pt>
    <dgm:pt modelId="{0E8CD5D9-1964-4D84-84BA-638805FD3C5D}" type="pres">
      <dgm:prSet presAssocID="{2CC241A4-A199-477E-9411-E482481D33F9}" presName="childNode" presStyleLbl="node1" presStyleIdx="21" presStyleCnt="26">
        <dgm:presLayoutVars>
          <dgm:bulletEnabled val="1"/>
        </dgm:presLayoutVars>
      </dgm:prSet>
      <dgm:spPr/>
      <dgm:t>
        <a:bodyPr/>
        <a:lstStyle/>
        <a:p>
          <a:endParaRPr lang="en-US"/>
        </a:p>
      </dgm:t>
    </dgm:pt>
    <dgm:pt modelId="{1ED1064A-3008-4BFF-A3D6-2F557052F8DF}" type="pres">
      <dgm:prSet presAssocID="{CADE6A3C-0098-4BAF-9975-D9A973030982}" presName="aSpace" presStyleCnt="0"/>
      <dgm:spPr/>
    </dgm:pt>
    <dgm:pt modelId="{B5F0DFAB-012D-435A-B1F0-C38A1B08AC2D}" type="pres">
      <dgm:prSet presAssocID="{B56DA29E-7137-4D44-96FE-08794490ABBD}" presName="compNode" presStyleCnt="0"/>
      <dgm:spPr/>
    </dgm:pt>
    <dgm:pt modelId="{27591124-774B-46CA-899A-9DE9E08D368C}" type="pres">
      <dgm:prSet presAssocID="{B56DA29E-7137-4D44-96FE-08794490ABBD}" presName="aNode" presStyleLbl="bgShp" presStyleIdx="5" presStyleCnt="6"/>
      <dgm:spPr>
        <a:prstGeom prst="roundRect">
          <a:avLst/>
        </a:prstGeom>
      </dgm:spPr>
      <dgm:t>
        <a:bodyPr/>
        <a:lstStyle/>
        <a:p>
          <a:endParaRPr lang="en-US"/>
        </a:p>
      </dgm:t>
    </dgm:pt>
    <dgm:pt modelId="{989CC85C-D9D8-466C-AB0F-D105D3D10D77}" type="pres">
      <dgm:prSet presAssocID="{B56DA29E-7137-4D44-96FE-08794490ABBD}" presName="textNode" presStyleLbl="bgShp" presStyleIdx="5" presStyleCnt="6"/>
      <dgm:spPr/>
      <dgm:t>
        <a:bodyPr/>
        <a:lstStyle/>
        <a:p>
          <a:endParaRPr lang="en-US"/>
        </a:p>
      </dgm:t>
    </dgm:pt>
    <dgm:pt modelId="{B858D084-5C11-4784-9EC1-FF99A0C65BA6}" type="pres">
      <dgm:prSet presAssocID="{B56DA29E-7137-4D44-96FE-08794490ABBD}" presName="compChildNode" presStyleCnt="0"/>
      <dgm:spPr/>
    </dgm:pt>
    <dgm:pt modelId="{C8A812AA-F9A2-4715-B4BD-8A3860466455}" type="pres">
      <dgm:prSet presAssocID="{B56DA29E-7137-4D44-96FE-08794490ABBD}" presName="theInnerList" presStyleCnt="0"/>
      <dgm:spPr/>
    </dgm:pt>
    <dgm:pt modelId="{553F750D-4F62-4DE8-8E31-65D8991E5DDE}" type="pres">
      <dgm:prSet presAssocID="{A15EA1DA-247C-484A-80A0-DF1752D9D38F}" presName="childNode" presStyleLbl="node1" presStyleIdx="22" presStyleCnt="26">
        <dgm:presLayoutVars>
          <dgm:bulletEnabled val="1"/>
        </dgm:presLayoutVars>
      </dgm:prSet>
      <dgm:spPr>
        <a:prstGeom prst="round2SameRect">
          <a:avLst>
            <a:gd name="adj1" fmla="val 8000"/>
            <a:gd name="adj2" fmla="val 0"/>
          </a:avLst>
        </a:prstGeom>
      </dgm:spPr>
      <dgm:t>
        <a:bodyPr/>
        <a:lstStyle/>
        <a:p>
          <a:endParaRPr lang="en-US"/>
        </a:p>
      </dgm:t>
    </dgm:pt>
    <dgm:pt modelId="{09C15547-5C7A-4908-BB73-74C2B2DC10F0}" type="pres">
      <dgm:prSet presAssocID="{A15EA1DA-247C-484A-80A0-DF1752D9D38F}" presName="aSpace2" presStyleCnt="0"/>
      <dgm:spPr/>
    </dgm:pt>
    <dgm:pt modelId="{17CC3CF1-D57E-4CE2-88DC-3295D8EB1AA5}" type="pres">
      <dgm:prSet presAssocID="{99E90F5F-AFC6-47F0-A2DA-AEF8EFE89810}" presName="childNode" presStyleLbl="node1" presStyleIdx="23" presStyleCnt="26">
        <dgm:presLayoutVars>
          <dgm:bulletEnabled val="1"/>
        </dgm:presLayoutVars>
      </dgm:prSet>
      <dgm:spPr/>
      <dgm:t>
        <a:bodyPr/>
        <a:lstStyle/>
        <a:p>
          <a:endParaRPr lang="en-US"/>
        </a:p>
      </dgm:t>
    </dgm:pt>
    <dgm:pt modelId="{0AD2CE50-8C8F-4946-A913-2464428DFDEA}" type="pres">
      <dgm:prSet presAssocID="{99E90F5F-AFC6-47F0-A2DA-AEF8EFE89810}" presName="aSpace2" presStyleCnt="0"/>
      <dgm:spPr/>
    </dgm:pt>
    <dgm:pt modelId="{3AFB6A47-98C1-4448-BD2B-0207C5C095F4}" type="pres">
      <dgm:prSet presAssocID="{2F150AFA-A4ED-4B63-9B0D-D68E6361C285}" presName="childNode" presStyleLbl="node1" presStyleIdx="24" presStyleCnt="26">
        <dgm:presLayoutVars>
          <dgm:bulletEnabled val="1"/>
        </dgm:presLayoutVars>
      </dgm:prSet>
      <dgm:spPr/>
      <dgm:t>
        <a:bodyPr/>
        <a:lstStyle/>
        <a:p>
          <a:endParaRPr lang="en-US"/>
        </a:p>
      </dgm:t>
    </dgm:pt>
    <dgm:pt modelId="{93C24563-4F99-4E64-918D-A34306377C09}" type="pres">
      <dgm:prSet presAssocID="{2F150AFA-A4ED-4B63-9B0D-D68E6361C285}" presName="aSpace2" presStyleCnt="0"/>
      <dgm:spPr/>
    </dgm:pt>
    <dgm:pt modelId="{44DF4F1E-C3CE-4E69-8FE0-FB81A896E57D}" type="pres">
      <dgm:prSet presAssocID="{EC740010-BAC3-454D-BFC2-6997C01CB64A}" presName="childNode" presStyleLbl="node1" presStyleIdx="25" presStyleCnt="26">
        <dgm:presLayoutVars>
          <dgm:bulletEnabled val="1"/>
        </dgm:presLayoutVars>
      </dgm:prSet>
      <dgm:spPr/>
      <dgm:t>
        <a:bodyPr/>
        <a:lstStyle/>
        <a:p>
          <a:endParaRPr lang="en-US"/>
        </a:p>
      </dgm:t>
    </dgm:pt>
  </dgm:ptLst>
  <dgm:cxnLst>
    <dgm:cxn modelId="{9BB5D179-B3E1-47AE-A7F6-7EB511A52273}" type="presOf" srcId="{447259E7-3EF4-4FEF-8A51-D4D818FEA834}" destId="{D33F3292-576E-4098-9AA1-F98A9E76FF8E}" srcOrd="0" destOrd="0" presId="urn:microsoft.com/office/officeart/2005/8/layout/lProcess2"/>
    <dgm:cxn modelId="{A053EE13-AB64-427F-AB90-3073238EF672}" type="presOf" srcId="{0CD0DDAF-039C-4FF3-9CB2-A945878277AB}" destId="{4AE5FFDD-1BF1-4B95-82F9-DE99E74A98AF}" srcOrd="0" destOrd="0" presId="urn:microsoft.com/office/officeart/2005/8/layout/lProcess2"/>
    <dgm:cxn modelId="{AF7516A5-9541-49E5-AEF6-C3083A3D3C67}" srcId="{B56DA29E-7137-4D44-96FE-08794490ABBD}" destId="{EC740010-BAC3-454D-BFC2-6997C01CB64A}" srcOrd="3" destOrd="0" parTransId="{85D1E880-2359-4C63-97A6-66A4E1CDBC47}" sibTransId="{0F79BECB-2363-4E7D-91BC-69E5A798C2AA}"/>
    <dgm:cxn modelId="{6B7345CF-7EF6-41BB-8F1D-360CCEB11775}" srcId="{1DB07307-745C-4AAF-A532-04D2FA4CEBFE}" destId="{9DC07F53-1817-42DB-A50F-61D9620E98E3}" srcOrd="4" destOrd="0" parTransId="{EE745F39-2CFF-4939-8445-92F81E37D247}" sibTransId="{180B4E90-108D-48D6-B98D-C3C5FD2F8154}"/>
    <dgm:cxn modelId="{68D9E2EE-C54C-4871-8FC4-8F47FA346670}" type="presOf" srcId="{2F150AFA-A4ED-4B63-9B0D-D68E6361C285}" destId="{3AFB6A47-98C1-4448-BD2B-0207C5C095F4}" srcOrd="0" destOrd="0" presId="urn:microsoft.com/office/officeart/2005/8/layout/lProcess2"/>
    <dgm:cxn modelId="{A2E90A0D-412E-4B41-A5A1-4308B696A7B4}" type="presOf" srcId="{B51E2B9D-A705-4703-8AD8-8FF30CB96C43}" destId="{5417DB4D-C77E-4A93-AF87-AD2C0DE9C8E9}" srcOrd="0" destOrd="0" presId="urn:microsoft.com/office/officeart/2005/8/layout/lProcess2"/>
    <dgm:cxn modelId="{D4A3403F-B5B7-4048-B404-AD9043F74445}" srcId="{6F68A551-7E43-408A-B317-B66459EA04D9}" destId="{D9F5310C-4511-455F-92A9-00BA44C19991}" srcOrd="1" destOrd="0" parTransId="{F876E5C5-70A4-4EB4-9ACC-9655F9E43614}" sibTransId="{47F70D03-E16E-493E-818D-4523158665EF}"/>
    <dgm:cxn modelId="{55109333-6E6D-4175-A4DC-B72820CE8759}" type="presOf" srcId="{1DB07307-745C-4AAF-A532-04D2FA4CEBFE}" destId="{A7EBD67B-0417-46AF-B15C-F8C362167C7E}" srcOrd="0" destOrd="0" presId="urn:microsoft.com/office/officeart/2005/8/layout/lProcess2"/>
    <dgm:cxn modelId="{951FB373-5191-44C9-AE7D-BFE0198B4771}" type="presOf" srcId="{A15EA1DA-247C-484A-80A0-DF1752D9D38F}" destId="{553F750D-4F62-4DE8-8E31-65D8991E5DDE}" srcOrd="0" destOrd="0" presId="urn:microsoft.com/office/officeart/2005/8/layout/lProcess2"/>
    <dgm:cxn modelId="{120E5E14-1011-40A8-A3CB-A951F07EC3F9}" srcId="{1DB07307-745C-4AAF-A532-04D2FA4CEBFE}" destId="{DE6B5EA9-6153-410F-A46B-FBE09BD1F4DE}" srcOrd="2" destOrd="0" parTransId="{98F8B06A-BD0D-4A0B-8F2D-A7063D3BAF96}" sibTransId="{56B552C9-9395-463B-B94A-B27765FBF41C}"/>
    <dgm:cxn modelId="{9F10F64B-90CB-4A67-BDCC-E3E85483535A}" srcId="{1DB07307-745C-4AAF-A532-04D2FA4CEBFE}" destId="{447259E7-3EF4-4FEF-8A51-D4D818FEA834}" srcOrd="3" destOrd="0" parTransId="{4D2A19E3-7FB8-48BD-8C78-44F61D93DDA0}" sibTransId="{B8C96C43-C56D-4000-966F-8F192185846A}"/>
    <dgm:cxn modelId="{FE76A152-FF0B-4F05-B7D5-629C0968163D}" type="presOf" srcId="{4CE9E562-3FE6-407F-8CE1-30BC68127994}" destId="{A9213B6B-AFD0-418A-845A-56A54BF2F623}" srcOrd="0" destOrd="0" presId="urn:microsoft.com/office/officeart/2005/8/layout/lProcess2"/>
    <dgm:cxn modelId="{EFEB8489-1E9B-4DB7-8F1B-9B178327D117}" type="presOf" srcId="{DE6B5EA9-6153-410F-A46B-FBE09BD1F4DE}" destId="{2314BA4B-09A5-4C4A-8EF4-DD16254BE0EE}" srcOrd="0" destOrd="0" presId="urn:microsoft.com/office/officeart/2005/8/layout/lProcess2"/>
    <dgm:cxn modelId="{AF842B7B-F5DA-47C4-8591-AB06A93F0627}" type="presOf" srcId="{1DB07307-745C-4AAF-A532-04D2FA4CEBFE}" destId="{B7CE2255-F5B0-4FE4-B00F-B90D0F10A4EB}" srcOrd="1" destOrd="0" presId="urn:microsoft.com/office/officeart/2005/8/layout/lProcess2"/>
    <dgm:cxn modelId="{B3A3F05D-8FCB-48AB-BAB8-1545DC0EB021}" srcId="{3F3F95B3-9EEB-48B0-9B79-C84406B165FC}" destId="{D1D59C95-D2B4-432B-B956-0AE441DD0493}" srcOrd="2" destOrd="0" parTransId="{0C83D02E-F3C2-46CC-80CF-E485C825159A}" sibTransId="{2DE3A07A-D215-4813-B2DB-8D376BACD198}"/>
    <dgm:cxn modelId="{4DC409E3-6D14-41D6-994F-3690B7E47652}" type="presOf" srcId="{A630C113-DA40-478A-9754-EC83605356CA}" destId="{427054C7-1136-44E4-866C-A10DB3570D9F}" srcOrd="0" destOrd="0" presId="urn:microsoft.com/office/officeart/2005/8/layout/lProcess2"/>
    <dgm:cxn modelId="{D6403456-7042-4F2D-9D11-6C3E2BDC9290}" type="presOf" srcId="{3A7D99EA-A0BE-4ADE-90EB-541506F0DAA8}" destId="{881451FF-C1D5-4857-A043-742F95A09659}" srcOrd="0" destOrd="0" presId="urn:microsoft.com/office/officeart/2005/8/layout/lProcess2"/>
    <dgm:cxn modelId="{53BA3C5B-0019-403F-BC20-B04A62A436CF}" srcId="{A630C113-DA40-478A-9754-EC83605356CA}" destId="{BBD7B213-F004-4007-B073-BA0AFB9DAE02}" srcOrd="0" destOrd="0" parTransId="{B626C08D-5656-409A-8635-7025CD88A70C}" sibTransId="{6A03D9BE-7993-4DE8-921D-10A623A540EB}"/>
    <dgm:cxn modelId="{F316AA89-30BB-426C-A21F-B3D843BEC57A}" type="presOf" srcId="{054411EE-63EB-4F74-9C8D-629E1E7FE60F}" destId="{FEBDB620-9732-485A-BF23-75777F50BF53}" srcOrd="0" destOrd="0" presId="urn:microsoft.com/office/officeart/2005/8/layout/lProcess2"/>
    <dgm:cxn modelId="{FD6BEDF7-1082-421B-A488-56BC16FBFAB9}" srcId="{D9F5310C-4511-455F-92A9-00BA44C19991}" destId="{6ECD7908-6F5B-4AB4-B281-C507AFBD4C3E}" srcOrd="0" destOrd="0" parTransId="{002E5A4A-5820-4F27-93AA-C5A5122CD0A1}" sibTransId="{7AAB4C61-513F-4B36-BF6A-9C61E0A72952}"/>
    <dgm:cxn modelId="{DF84974B-5243-4EFF-A152-B6FBF53AEFCA}" srcId="{CADE6A3C-0098-4BAF-9975-D9A973030982}" destId="{0CD0DDAF-039C-4FF3-9CB2-A945878277AB}" srcOrd="1" destOrd="0" parTransId="{E67D1DB4-2411-4A6D-B99D-E64C6ACD6D85}" sibTransId="{2F174FE7-7521-42E9-9565-7749B6E38CD0}"/>
    <dgm:cxn modelId="{EE0700B8-6CF1-470D-8607-02FAB3C64917}" type="presOf" srcId="{D1D59C95-D2B4-432B-B956-0AE441DD0493}" destId="{6E291A2E-B053-4CEE-B63E-9438110E9374}" srcOrd="0" destOrd="0" presId="urn:microsoft.com/office/officeart/2005/8/layout/lProcess2"/>
    <dgm:cxn modelId="{D9740185-15D6-4EA0-BD31-40874D35C583}" type="presOf" srcId="{DA1FBAA2-DD42-4C54-B804-156F3ED215A0}" destId="{0B493253-197A-401D-A3EC-9EE6D5B1C472}" srcOrd="0" destOrd="0" presId="urn:microsoft.com/office/officeart/2005/8/layout/lProcess2"/>
    <dgm:cxn modelId="{CF6BF33D-4C5A-4B05-8C7F-5B4CEEA8AAE3}" srcId="{CADE6A3C-0098-4BAF-9975-D9A973030982}" destId="{934AD681-DBD8-45AF-AAB6-CEC2DC16A520}" srcOrd="0" destOrd="0" parTransId="{EA86F5E3-C6A4-4E6C-AB62-210CAAF1D3EF}" sibTransId="{7FD2EBD7-5519-483C-8C33-BFC033668FDE}"/>
    <dgm:cxn modelId="{9282C88B-A780-495F-B761-019EC3064285}" type="presOf" srcId="{B56DA29E-7137-4D44-96FE-08794490ABBD}" destId="{27591124-774B-46CA-899A-9DE9E08D368C}" srcOrd="0" destOrd="0" presId="urn:microsoft.com/office/officeart/2005/8/layout/lProcess2"/>
    <dgm:cxn modelId="{05AE8DDE-B023-4CB3-BFEA-936E59ADD4F8}" srcId="{1DB07307-745C-4AAF-A532-04D2FA4CEBFE}" destId="{21D51A9D-E261-4542-A134-4370EF1AA7BF}" srcOrd="5" destOrd="0" parTransId="{C6BEDF39-03F0-4CE5-BEDD-1069E0BEE2B4}" sibTransId="{F0DBDC8E-427F-4819-8001-9322E0CD143D}"/>
    <dgm:cxn modelId="{B1A2FCD3-4C71-4BA5-8416-5505546210A4}" type="presOf" srcId="{1976E9B3-238A-4263-B91D-68342FF8A923}" destId="{E7C44452-B449-4B8E-AE54-3D3C66A09930}" srcOrd="0" destOrd="0" presId="urn:microsoft.com/office/officeart/2005/8/layout/lProcess2"/>
    <dgm:cxn modelId="{38CD535D-1448-4F8C-ABE5-061E148A107E}" type="presOf" srcId="{CADE6A3C-0098-4BAF-9975-D9A973030982}" destId="{13CA8D46-D4CC-4ADF-A576-ED1A5A75012F}" srcOrd="0" destOrd="0" presId="urn:microsoft.com/office/officeart/2005/8/layout/lProcess2"/>
    <dgm:cxn modelId="{B0A6B6D2-0FCC-45E9-93F9-8DF2F0B8AF20}" type="presOf" srcId="{99E90F5F-AFC6-47F0-A2DA-AEF8EFE89810}" destId="{17CC3CF1-D57E-4CE2-88DC-3295D8EB1AA5}" srcOrd="0" destOrd="0" presId="urn:microsoft.com/office/officeart/2005/8/layout/lProcess2"/>
    <dgm:cxn modelId="{4684B00A-A6D1-41A3-A1DD-2077CF2987FA}" srcId="{A630C113-DA40-478A-9754-EC83605356CA}" destId="{4A894500-75AB-4923-B756-EBFE2105B2C5}" srcOrd="1" destOrd="0" parTransId="{0A9636C1-1939-4744-B9F0-AF80B3F80E7C}" sibTransId="{C3C3B107-EE7B-4E28-8425-0E24D5A55B72}"/>
    <dgm:cxn modelId="{10D0A68B-51A2-401F-AA40-F1CE7B6495A1}" srcId="{D9F5310C-4511-455F-92A9-00BA44C19991}" destId="{83393304-4AD9-4C5B-AF48-27D862C55F72}" srcOrd="2" destOrd="0" parTransId="{F4AE1700-77A1-4B47-A0DC-D6EA6B68D517}" sibTransId="{529B5AB2-CB2C-4024-9216-BBAF02C2DF03}"/>
    <dgm:cxn modelId="{D052143C-4AF4-49B8-9384-75B939C12AD5}" type="presOf" srcId="{77FBE271-CD23-40AE-BAC5-E8631C6F9792}" destId="{FCADB838-A3CA-4A8D-AEC9-14EC767CCF35}" srcOrd="0" destOrd="0" presId="urn:microsoft.com/office/officeart/2005/8/layout/lProcess2"/>
    <dgm:cxn modelId="{71432C69-62CE-4A90-B5A4-780DECB4A97B}" srcId="{6F68A551-7E43-408A-B317-B66459EA04D9}" destId="{3F3F95B3-9EEB-48B0-9B79-C84406B165FC}" srcOrd="0" destOrd="0" parTransId="{2E4DE36E-D491-49AA-8DB8-57902F107C9F}" sibTransId="{754B3D68-21A5-456C-8C02-DC8D25C45CDD}"/>
    <dgm:cxn modelId="{90080139-C49D-44C4-80FD-CF8547B6E7A3}" type="presOf" srcId="{D9F5310C-4511-455F-92A9-00BA44C19991}" destId="{08A9C4FC-4A7C-42D3-930E-1BE1C4348D23}" srcOrd="1" destOrd="0" presId="urn:microsoft.com/office/officeart/2005/8/layout/lProcess2"/>
    <dgm:cxn modelId="{8FB5B256-7880-4D98-B28A-1D9BECFD5C6B}" type="presOf" srcId="{4A894500-75AB-4923-B756-EBFE2105B2C5}" destId="{25770E3C-D575-434C-9FA3-9B4B4E5F51D3}" srcOrd="0" destOrd="0" presId="urn:microsoft.com/office/officeart/2005/8/layout/lProcess2"/>
    <dgm:cxn modelId="{3C3EC2B4-FA06-4DA3-A41E-08BE333B2547}" type="presOf" srcId="{CADE6A3C-0098-4BAF-9975-D9A973030982}" destId="{042F6B52-6D19-4493-A3E1-3F82594D8C49}" srcOrd="1" destOrd="0" presId="urn:microsoft.com/office/officeart/2005/8/layout/lProcess2"/>
    <dgm:cxn modelId="{405A0106-3F71-4E55-9780-AC5CE8145D9A}" srcId="{3F3F95B3-9EEB-48B0-9B79-C84406B165FC}" destId="{3A7D99EA-A0BE-4ADE-90EB-541506F0DAA8}" srcOrd="1" destOrd="0" parTransId="{702981CB-634E-45F2-82AE-F6C87882C03B}" sibTransId="{0B3EC0EC-DA0A-42C8-9B25-5AE97BE611D5}"/>
    <dgm:cxn modelId="{73C2E74E-2744-46A0-A3DF-52A813604B1E}" srcId="{B56DA29E-7137-4D44-96FE-08794490ABBD}" destId="{A15EA1DA-247C-484A-80A0-DF1752D9D38F}" srcOrd="0" destOrd="0" parTransId="{EF20EC1D-F171-45D0-BCBE-0130A6990045}" sibTransId="{71777BA1-5B5B-48F7-8AE9-C24CBE90250D}"/>
    <dgm:cxn modelId="{114BCB81-CC4F-4293-AAA5-5036C78EEF8D}" type="presOf" srcId="{6ECD7908-6F5B-4AB4-B281-C507AFBD4C3E}" destId="{683FF6C4-CBB0-4877-99B3-C67E55BFC765}" srcOrd="0" destOrd="0" presId="urn:microsoft.com/office/officeart/2005/8/layout/lProcess2"/>
    <dgm:cxn modelId="{436BF64A-C6C1-44B6-BCB5-B4009739E08D}" type="presOf" srcId="{3F3F95B3-9EEB-48B0-9B79-C84406B165FC}" destId="{6DE99998-CABC-486B-A196-186C5B7C02D3}" srcOrd="1" destOrd="0" presId="urn:microsoft.com/office/officeart/2005/8/layout/lProcess2"/>
    <dgm:cxn modelId="{5A5C9B7E-0F09-48AB-B905-760A1AF56F52}" type="presOf" srcId="{83393304-4AD9-4C5B-AF48-27D862C55F72}" destId="{75AD852E-355B-420A-B55E-2883E49B2B09}" srcOrd="0" destOrd="0" presId="urn:microsoft.com/office/officeart/2005/8/layout/lProcess2"/>
    <dgm:cxn modelId="{45ED0B06-EC40-46D0-91DA-23CF6B095C58}" srcId="{B56DA29E-7137-4D44-96FE-08794490ABBD}" destId="{2F150AFA-A4ED-4B63-9B0D-D68E6361C285}" srcOrd="2" destOrd="0" parTransId="{BF9B26FC-B33E-4341-B054-C04F5AE91858}" sibTransId="{F53A471B-09C0-46AC-BE69-F3A367D3BDEF}"/>
    <dgm:cxn modelId="{742AF575-2B0F-41CB-98E9-B3E65D0272DD}" type="presOf" srcId="{B90595E9-BD4A-44A4-9AD9-00082CD5D373}" destId="{0CC11804-3875-4930-8766-8CDB221CCEC9}" srcOrd="0" destOrd="0" presId="urn:microsoft.com/office/officeart/2005/8/layout/lProcess2"/>
    <dgm:cxn modelId="{07A99C1C-F229-4FCE-8114-D974C903079C}" srcId="{6F68A551-7E43-408A-B317-B66459EA04D9}" destId="{CADE6A3C-0098-4BAF-9975-D9A973030982}" srcOrd="4" destOrd="0" parTransId="{2C6D08D8-77A6-4E71-8622-D93E803294E6}" sibTransId="{2F6BEC9C-D18D-431C-94A1-65F0FB6826DF}"/>
    <dgm:cxn modelId="{6BB71F03-B72B-419B-8542-2689B8215CFE}" srcId="{A630C113-DA40-478A-9754-EC83605356CA}" destId="{77FBE271-CD23-40AE-BAC5-E8631C6F9792}" srcOrd="3" destOrd="0" parTransId="{87B58152-A86D-4D62-9262-0CA84A29C1C0}" sibTransId="{8D4C7B2C-2855-4F32-A124-14A9E377555B}"/>
    <dgm:cxn modelId="{C343315D-865A-49F8-9BF2-DA662088658E}" srcId="{6F68A551-7E43-408A-B317-B66459EA04D9}" destId="{1DB07307-745C-4AAF-A532-04D2FA4CEBFE}" srcOrd="2" destOrd="0" parTransId="{F19264D8-597E-4612-8BDB-21A97BA410BE}" sibTransId="{40BF4EBB-32D6-41AB-A30E-ECC12CEAF315}"/>
    <dgm:cxn modelId="{1E8AE1BE-CE7B-4123-92BA-B0093785DEFD}" srcId="{D9F5310C-4511-455F-92A9-00BA44C19991}" destId="{B51E2B9D-A705-4703-8AD8-8FF30CB96C43}" srcOrd="3" destOrd="0" parTransId="{3421D73C-BA70-431D-9297-48D3D348078D}" sibTransId="{C5D57453-BE24-4BB8-9DFA-ADFDE343CD6F}"/>
    <dgm:cxn modelId="{BE865E55-9568-4EDE-8164-336BE7C6404F}" type="presOf" srcId="{4C0D835A-B65A-44C2-BB43-0C37904F64EB}" destId="{A49E3DC5-0E0A-4802-9FF8-19749D60574A}" srcOrd="0" destOrd="0" presId="urn:microsoft.com/office/officeart/2005/8/layout/lProcess2"/>
    <dgm:cxn modelId="{3445BDB5-61CA-471A-9975-365DE0A09B5A}" type="presOf" srcId="{D9F5310C-4511-455F-92A9-00BA44C19991}" destId="{4FD24DDE-7D70-45F0-9ADA-1E12A591D2DA}" srcOrd="0" destOrd="0" presId="urn:microsoft.com/office/officeart/2005/8/layout/lProcess2"/>
    <dgm:cxn modelId="{C1EFF5BF-2354-46A9-B8A1-B49ED43AC56B}" type="presOf" srcId="{9DC07F53-1817-42DB-A50F-61D9620E98E3}" destId="{5BC82F9B-0B2D-415E-B1CC-3B0C0D27CF43}" srcOrd="0" destOrd="0" presId="urn:microsoft.com/office/officeart/2005/8/layout/lProcess2"/>
    <dgm:cxn modelId="{BA2E6923-2171-4626-A5D0-A0F276AFCD88}" srcId="{D9F5310C-4511-455F-92A9-00BA44C19991}" destId="{DA1FBAA2-DD42-4C54-B804-156F3ED215A0}" srcOrd="1" destOrd="0" parTransId="{63F08C69-C4C6-42C9-9912-CE1CBAD732EB}" sibTransId="{7AE585B0-6B4A-444D-9733-F6AB43544759}"/>
    <dgm:cxn modelId="{A0B06948-7B2F-4CC8-B95D-ECEBEA8CEEFB}" type="presOf" srcId="{6F68A551-7E43-408A-B317-B66459EA04D9}" destId="{84EC9327-8D02-483C-95FF-3DEE6328D1F7}" srcOrd="0" destOrd="0" presId="urn:microsoft.com/office/officeart/2005/8/layout/lProcess2"/>
    <dgm:cxn modelId="{70D73E7C-EEA3-47B8-A4C7-31A3125146F5}" type="presOf" srcId="{934AD681-DBD8-45AF-AAB6-CEC2DC16A520}" destId="{2D9E9755-6C19-4D9F-8697-2A78908BB979}" srcOrd="0" destOrd="0" presId="urn:microsoft.com/office/officeart/2005/8/layout/lProcess2"/>
    <dgm:cxn modelId="{59FC832C-3D4F-42CD-80E4-397170BF9F30}" type="presOf" srcId="{EC740010-BAC3-454D-BFC2-6997C01CB64A}" destId="{44DF4F1E-C3CE-4E69-8FE0-FB81A896E57D}" srcOrd="0" destOrd="0" presId="urn:microsoft.com/office/officeart/2005/8/layout/lProcess2"/>
    <dgm:cxn modelId="{29FF8C78-0F9C-422F-8404-AF40EC660FDC}" srcId="{6F68A551-7E43-408A-B317-B66459EA04D9}" destId="{B56DA29E-7137-4D44-96FE-08794490ABBD}" srcOrd="5" destOrd="0" parTransId="{5C308700-BCA5-40CD-9848-48B6FDF0A893}" sibTransId="{B60F70D2-D5FC-467C-9E30-7E4E891A5BEF}"/>
    <dgm:cxn modelId="{28571303-A53F-48EA-A929-A8E469B55109}" srcId="{3F3F95B3-9EEB-48B0-9B79-C84406B165FC}" destId="{4C0D835A-B65A-44C2-BB43-0C37904F64EB}" srcOrd="4" destOrd="0" parTransId="{04241C9D-AE49-448C-A4EA-291A96CA4473}" sibTransId="{97F64DCB-4967-4226-A605-CF8D662B9918}"/>
    <dgm:cxn modelId="{BA31D3CD-175D-4D8B-B551-C9C79F57B31E}" type="presOf" srcId="{BBD7B213-F004-4007-B073-BA0AFB9DAE02}" destId="{8237130C-CFC1-458B-B4C8-4DBAF4D22636}" srcOrd="0" destOrd="0" presId="urn:microsoft.com/office/officeart/2005/8/layout/lProcess2"/>
    <dgm:cxn modelId="{EA5B27D5-EEDE-4B56-96C8-A1DFF595EAE2}" type="presOf" srcId="{3F3F95B3-9EEB-48B0-9B79-C84406B165FC}" destId="{7A13265C-0B22-4B9D-8A8E-379A78F94C6F}" srcOrd="0" destOrd="0" presId="urn:microsoft.com/office/officeart/2005/8/layout/lProcess2"/>
    <dgm:cxn modelId="{E6156D0B-078E-45BB-A32F-F76CE00C6491}" srcId="{3F3F95B3-9EEB-48B0-9B79-C84406B165FC}" destId="{1976E9B3-238A-4263-B91D-68342FF8A923}" srcOrd="3" destOrd="0" parTransId="{77EA2897-109E-4E57-9A9C-33C3A00CFACC}" sibTransId="{F633FE9C-336C-42E2-B5A9-70850D350146}"/>
    <dgm:cxn modelId="{056D34EA-2B9A-4265-82A3-090EBD4A8105}" type="presOf" srcId="{A630C113-DA40-478A-9754-EC83605356CA}" destId="{34AC75A0-24E2-48B8-8639-08B485C7FBD3}" srcOrd="1" destOrd="0" presId="urn:microsoft.com/office/officeart/2005/8/layout/lProcess2"/>
    <dgm:cxn modelId="{04BB571B-6B34-42C2-BCB3-8C2771A9B604}" srcId="{1DB07307-745C-4AAF-A532-04D2FA4CEBFE}" destId="{7A52280C-C3EF-485D-B77F-EE9CCEFF0C65}" srcOrd="1" destOrd="0" parTransId="{4B64B7F5-C3F8-4D3D-A9D7-2548222007E9}" sibTransId="{99534CA2-B6BB-4ADE-9613-2C62221D1E13}"/>
    <dgm:cxn modelId="{C55C3E49-43A1-4CB7-9DF6-1487AB76A42E}" srcId="{3F3F95B3-9EEB-48B0-9B79-C84406B165FC}" destId="{4CE9E562-3FE6-407F-8CE1-30BC68127994}" srcOrd="0" destOrd="0" parTransId="{D8776E7A-98C7-4564-B0E9-512B122EA563}" sibTransId="{DB85C9A5-FB34-4EC5-8913-D5342840D893}"/>
    <dgm:cxn modelId="{F559BEA2-7115-470F-9853-350925ADC585}" type="presOf" srcId="{7A52280C-C3EF-485D-B77F-EE9CCEFF0C65}" destId="{7DB1D492-8454-4013-9BEF-B8BC9C5D66BC}" srcOrd="0" destOrd="0" presId="urn:microsoft.com/office/officeart/2005/8/layout/lProcess2"/>
    <dgm:cxn modelId="{852A594C-1462-46A4-90FF-3EEBEA2C3067}" srcId="{B56DA29E-7137-4D44-96FE-08794490ABBD}" destId="{99E90F5F-AFC6-47F0-A2DA-AEF8EFE89810}" srcOrd="1" destOrd="0" parTransId="{FDCB38B1-AF1E-4ACB-9C00-B8A29ADA72A1}" sibTransId="{C6C1B91F-BEDC-4DD8-94B2-30A11C39492C}"/>
    <dgm:cxn modelId="{40FBA41E-ABE5-4F3F-8940-0DB2D1981226}" type="presOf" srcId="{B56DA29E-7137-4D44-96FE-08794490ABBD}" destId="{989CC85C-D9D8-466C-AB0F-D105D3D10D77}" srcOrd="1" destOrd="0" presId="urn:microsoft.com/office/officeart/2005/8/layout/lProcess2"/>
    <dgm:cxn modelId="{6ECBC213-72B6-4781-AF77-4C6EF9CBF2DA}" srcId="{A630C113-DA40-478A-9754-EC83605356CA}" destId="{054411EE-63EB-4F74-9C8D-629E1E7FE60F}" srcOrd="2" destOrd="0" parTransId="{4003A2C5-654B-412C-988F-E38DB023373F}" sibTransId="{55CD7CD8-40AD-4998-B982-1B9786D708DA}"/>
    <dgm:cxn modelId="{BAD3E0E3-C01B-4610-9848-4B170CE2BB44}" srcId="{6F68A551-7E43-408A-B317-B66459EA04D9}" destId="{A630C113-DA40-478A-9754-EC83605356CA}" srcOrd="3" destOrd="0" parTransId="{E16659A8-9B51-4CF4-AA64-4920F3F5DD41}" sibTransId="{A3B7FF09-911C-49BF-98BB-E2FD6BBF744B}"/>
    <dgm:cxn modelId="{3BE40E63-2CA4-4281-AB28-8B9EF912AFA4}" type="presOf" srcId="{2CC241A4-A199-477E-9411-E482481D33F9}" destId="{0E8CD5D9-1964-4D84-84BA-638805FD3C5D}" srcOrd="0" destOrd="0" presId="urn:microsoft.com/office/officeart/2005/8/layout/lProcess2"/>
    <dgm:cxn modelId="{AE9EB193-2535-4D6D-8103-A37352825E1E}" type="presOf" srcId="{21D51A9D-E261-4542-A134-4370EF1AA7BF}" destId="{C3431DFE-5226-4433-9413-D5DF05A00B66}" srcOrd="0" destOrd="0" presId="urn:microsoft.com/office/officeart/2005/8/layout/lProcess2"/>
    <dgm:cxn modelId="{B1C6A9EC-A8B8-432F-887D-66C5B66FF7EA}" srcId="{CADE6A3C-0098-4BAF-9975-D9A973030982}" destId="{2CC241A4-A199-477E-9411-E482481D33F9}" srcOrd="2" destOrd="0" parTransId="{11E44B46-BC17-48FB-9B06-5E860BB9CD5C}" sibTransId="{CFF742CF-DCF5-4DBA-84A5-95ED87F959EA}"/>
    <dgm:cxn modelId="{7DC47566-A8F0-4DCB-B02F-7E252517DD8C}" srcId="{1DB07307-745C-4AAF-A532-04D2FA4CEBFE}" destId="{B90595E9-BD4A-44A4-9AD9-00082CD5D373}" srcOrd="0" destOrd="0" parTransId="{9E30C00F-C10D-4996-8101-D8D6469EBD87}" sibTransId="{A447CEFB-65D3-4094-A4CD-2BFE156B68F9}"/>
    <dgm:cxn modelId="{510A678F-F1EF-4B20-B07F-39DCA37A86B3}" type="presParOf" srcId="{84EC9327-8D02-483C-95FF-3DEE6328D1F7}" destId="{0DDEB70D-8C46-40BF-A18A-B9D328AE5B3F}" srcOrd="0" destOrd="0" presId="urn:microsoft.com/office/officeart/2005/8/layout/lProcess2"/>
    <dgm:cxn modelId="{5957F888-65CB-4AFF-94C6-E6A9D68DE5A7}" type="presParOf" srcId="{0DDEB70D-8C46-40BF-A18A-B9D328AE5B3F}" destId="{7A13265C-0B22-4B9D-8A8E-379A78F94C6F}" srcOrd="0" destOrd="0" presId="urn:microsoft.com/office/officeart/2005/8/layout/lProcess2"/>
    <dgm:cxn modelId="{008C6363-24F2-44FB-BCAD-28E28FE2B2C0}" type="presParOf" srcId="{0DDEB70D-8C46-40BF-A18A-B9D328AE5B3F}" destId="{6DE99998-CABC-486B-A196-186C5B7C02D3}" srcOrd="1" destOrd="0" presId="urn:microsoft.com/office/officeart/2005/8/layout/lProcess2"/>
    <dgm:cxn modelId="{38F81B08-0C25-47D5-B7F7-E7999CB4D556}" type="presParOf" srcId="{0DDEB70D-8C46-40BF-A18A-B9D328AE5B3F}" destId="{00720F54-03BC-4F56-B1BD-DAA94DC5D7AA}" srcOrd="2" destOrd="0" presId="urn:microsoft.com/office/officeart/2005/8/layout/lProcess2"/>
    <dgm:cxn modelId="{31155807-2852-4B3F-9051-61AA64FA88F9}" type="presParOf" srcId="{00720F54-03BC-4F56-B1BD-DAA94DC5D7AA}" destId="{771C6DA5-73D0-4DA3-BA4B-B2456BB7977B}" srcOrd="0" destOrd="0" presId="urn:microsoft.com/office/officeart/2005/8/layout/lProcess2"/>
    <dgm:cxn modelId="{FFE2FA5C-3D8C-486D-B76A-90FE97AF2D58}" type="presParOf" srcId="{771C6DA5-73D0-4DA3-BA4B-B2456BB7977B}" destId="{A9213B6B-AFD0-418A-845A-56A54BF2F623}" srcOrd="0" destOrd="0" presId="urn:microsoft.com/office/officeart/2005/8/layout/lProcess2"/>
    <dgm:cxn modelId="{BD2CE75E-7821-4408-BB57-3328E361F0EE}" type="presParOf" srcId="{771C6DA5-73D0-4DA3-BA4B-B2456BB7977B}" destId="{C8ECAB21-9DB5-45F0-8417-F734E22C14FF}" srcOrd="1" destOrd="0" presId="urn:microsoft.com/office/officeart/2005/8/layout/lProcess2"/>
    <dgm:cxn modelId="{D3396A42-B543-4118-91F4-2B96E6BCE09D}" type="presParOf" srcId="{771C6DA5-73D0-4DA3-BA4B-B2456BB7977B}" destId="{881451FF-C1D5-4857-A043-742F95A09659}" srcOrd="2" destOrd="0" presId="urn:microsoft.com/office/officeart/2005/8/layout/lProcess2"/>
    <dgm:cxn modelId="{E79FD93E-3664-4761-80FA-C34EC5A97FF6}" type="presParOf" srcId="{771C6DA5-73D0-4DA3-BA4B-B2456BB7977B}" destId="{14F4850A-2A83-4AE0-BEE1-338F7C3FF16E}" srcOrd="3" destOrd="0" presId="urn:microsoft.com/office/officeart/2005/8/layout/lProcess2"/>
    <dgm:cxn modelId="{1CE57D8E-F07B-416B-941E-B91DAB44536D}" type="presParOf" srcId="{771C6DA5-73D0-4DA3-BA4B-B2456BB7977B}" destId="{6E291A2E-B053-4CEE-B63E-9438110E9374}" srcOrd="4" destOrd="0" presId="urn:microsoft.com/office/officeart/2005/8/layout/lProcess2"/>
    <dgm:cxn modelId="{08DFD67C-721A-4AED-80C4-0D4A0284B3CC}" type="presParOf" srcId="{771C6DA5-73D0-4DA3-BA4B-B2456BB7977B}" destId="{DC9EE1E7-17B4-4501-B24F-E9F36BCED450}" srcOrd="5" destOrd="0" presId="urn:microsoft.com/office/officeart/2005/8/layout/lProcess2"/>
    <dgm:cxn modelId="{EC34F7FE-8985-40E3-87FF-4F9A7C731187}" type="presParOf" srcId="{771C6DA5-73D0-4DA3-BA4B-B2456BB7977B}" destId="{E7C44452-B449-4B8E-AE54-3D3C66A09930}" srcOrd="6" destOrd="0" presId="urn:microsoft.com/office/officeart/2005/8/layout/lProcess2"/>
    <dgm:cxn modelId="{9BC709B0-9572-4470-BA32-D860341EDC56}" type="presParOf" srcId="{771C6DA5-73D0-4DA3-BA4B-B2456BB7977B}" destId="{1EA38475-26DC-4D6F-9AA0-4A942307C75C}" srcOrd="7" destOrd="0" presId="urn:microsoft.com/office/officeart/2005/8/layout/lProcess2"/>
    <dgm:cxn modelId="{0FDB8BEA-ECC9-4BEE-A62A-1D33AF24740C}" type="presParOf" srcId="{771C6DA5-73D0-4DA3-BA4B-B2456BB7977B}" destId="{A49E3DC5-0E0A-4802-9FF8-19749D60574A}" srcOrd="8" destOrd="0" presId="urn:microsoft.com/office/officeart/2005/8/layout/lProcess2"/>
    <dgm:cxn modelId="{93A42C14-159C-4E30-BFD4-CEDA579CC0E1}" type="presParOf" srcId="{84EC9327-8D02-483C-95FF-3DEE6328D1F7}" destId="{8604CFFF-6938-4E18-8D06-9C65FFDF936B}" srcOrd="1" destOrd="0" presId="urn:microsoft.com/office/officeart/2005/8/layout/lProcess2"/>
    <dgm:cxn modelId="{BBD6402A-833C-4DF4-A036-E4EFAA17187A}" type="presParOf" srcId="{84EC9327-8D02-483C-95FF-3DEE6328D1F7}" destId="{ACE7A1FF-B061-4A13-917A-89FB23DB6E5F}" srcOrd="2" destOrd="0" presId="urn:microsoft.com/office/officeart/2005/8/layout/lProcess2"/>
    <dgm:cxn modelId="{35D83C03-87C8-4DB8-A14B-C229FF7DBCF3}" type="presParOf" srcId="{ACE7A1FF-B061-4A13-917A-89FB23DB6E5F}" destId="{4FD24DDE-7D70-45F0-9ADA-1E12A591D2DA}" srcOrd="0" destOrd="0" presId="urn:microsoft.com/office/officeart/2005/8/layout/lProcess2"/>
    <dgm:cxn modelId="{2416FE24-CC8B-41B9-AA9C-1B628992BD6F}" type="presParOf" srcId="{ACE7A1FF-B061-4A13-917A-89FB23DB6E5F}" destId="{08A9C4FC-4A7C-42D3-930E-1BE1C4348D23}" srcOrd="1" destOrd="0" presId="urn:microsoft.com/office/officeart/2005/8/layout/lProcess2"/>
    <dgm:cxn modelId="{BC227317-E7F5-4D11-8BB2-B68486250ED7}" type="presParOf" srcId="{ACE7A1FF-B061-4A13-917A-89FB23DB6E5F}" destId="{7B0F8F4A-7828-4D6B-B6C5-DB1F793AA420}" srcOrd="2" destOrd="0" presId="urn:microsoft.com/office/officeart/2005/8/layout/lProcess2"/>
    <dgm:cxn modelId="{D39121F9-C329-46E9-A205-DCEA7ADE2A10}" type="presParOf" srcId="{7B0F8F4A-7828-4D6B-B6C5-DB1F793AA420}" destId="{C1FCAFD4-64FC-400F-9A13-192DF7D4A67F}" srcOrd="0" destOrd="0" presId="urn:microsoft.com/office/officeart/2005/8/layout/lProcess2"/>
    <dgm:cxn modelId="{DC55AE8D-7A10-4FCA-A2C7-488CCE7F6F52}" type="presParOf" srcId="{C1FCAFD4-64FC-400F-9A13-192DF7D4A67F}" destId="{683FF6C4-CBB0-4877-99B3-C67E55BFC765}" srcOrd="0" destOrd="0" presId="urn:microsoft.com/office/officeart/2005/8/layout/lProcess2"/>
    <dgm:cxn modelId="{FF5A6E2D-F04D-4C1E-949E-3D6A33A66899}" type="presParOf" srcId="{C1FCAFD4-64FC-400F-9A13-192DF7D4A67F}" destId="{E71AC322-0289-4941-B68E-13589A9051E6}" srcOrd="1" destOrd="0" presId="urn:microsoft.com/office/officeart/2005/8/layout/lProcess2"/>
    <dgm:cxn modelId="{5ABEAA5E-CE29-4243-9423-38259B9D7E99}" type="presParOf" srcId="{C1FCAFD4-64FC-400F-9A13-192DF7D4A67F}" destId="{0B493253-197A-401D-A3EC-9EE6D5B1C472}" srcOrd="2" destOrd="0" presId="urn:microsoft.com/office/officeart/2005/8/layout/lProcess2"/>
    <dgm:cxn modelId="{9704BDDA-2815-4ED5-AD12-029785C43E00}" type="presParOf" srcId="{C1FCAFD4-64FC-400F-9A13-192DF7D4A67F}" destId="{9473C5B9-C062-49A9-8C2B-ECB463BB3EB9}" srcOrd="3" destOrd="0" presId="urn:microsoft.com/office/officeart/2005/8/layout/lProcess2"/>
    <dgm:cxn modelId="{B56FA007-F561-4844-90F1-F660AB75327B}" type="presParOf" srcId="{C1FCAFD4-64FC-400F-9A13-192DF7D4A67F}" destId="{75AD852E-355B-420A-B55E-2883E49B2B09}" srcOrd="4" destOrd="0" presId="urn:microsoft.com/office/officeart/2005/8/layout/lProcess2"/>
    <dgm:cxn modelId="{F12326D1-1D73-4111-8BFB-9BE033EAA73F}" type="presParOf" srcId="{C1FCAFD4-64FC-400F-9A13-192DF7D4A67F}" destId="{8E105F54-9206-4321-A3D2-1D0431364400}" srcOrd="5" destOrd="0" presId="urn:microsoft.com/office/officeart/2005/8/layout/lProcess2"/>
    <dgm:cxn modelId="{BB6F75B7-375E-4143-88C6-C5C7F0725EDB}" type="presParOf" srcId="{C1FCAFD4-64FC-400F-9A13-192DF7D4A67F}" destId="{5417DB4D-C77E-4A93-AF87-AD2C0DE9C8E9}" srcOrd="6" destOrd="0" presId="urn:microsoft.com/office/officeart/2005/8/layout/lProcess2"/>
    <dgm:cxn modelId="{2CD805A9-4FF3-4B41-9361-E683834CCEAB}" type="presParOf" srcId="{84EC9327-8D02-483C-95FF-3DEE6328D1F7}" destId="{92121FFF-F932-4886-80E2-6C3D1BCBB174}" srcOrd="3" destOrd="0" presId="urn:microsoft.com/office/officeart/2005/8/layout/lProcess2"/>
    <dgm:cxn modelId="{13BC7378-574F-4A45-88F6-30F7A8F55969}" type="presParOf" srcId="{84EC9327-8D02-483C-95FF-3DEE6328D1F7}" destId="{FE570624-1039-4A64-AC29-AC03ADA0FF17}" srcOrd="4" destOrd="0" presId="urn:microsoft.com/office/officeart/2005/8/layout/lProcess2"/>
    <dgm:cxn modelId="{46747E0C-C91C-48E4-B240-402CEC4E9494}" type="presParOf" srcId="{FE570624-1039-4A64-AC29-AC03ADA0FF17}" destId="{A7EBD67B-0417-46AF-B15C-F8C362167C7E}" srcOrd="0" destOrd="0" presId="urn:microsoft.com/office/officeart/2005/8/layout/lProcess2"/>
    <dgm:cxn modelId="{D2839183-B6A5-4277-BCCF-4E16C00E5EA7}" type="presParOf" srcId="{FE570624-1039-4A64-AC29-AC03ADA0FF17}" destId="{B7CE2255-F5B0-4FE4-B00F-B90D0F10A4EB}" srcOrd="1" destOrd="0" presId="urn:microsoft.com/office/officeart/2005/8/layout/lProcess2"/>
    <dgm:cxn modelId="{01249F3C-33E6-4F53-81E5-11FF94FEEA44}" type="presParOf" srcId="{FE570624-1039-4A64-AC29-AC03ADA0FF17}" destId="{65BEC902-A0A7-46E2-8270-AF2FA293A846}" srcOrd="2" destOrd="0" presId="urn:microsoft.com/office/officeart/2005/8/layout/lProcess2"/>
    <dgm:cxn modelId="{A570EDFC-D4FE-4264-9CA8-1E0D3178F006}" type="presParOf" srcId="{65BEC902-A0A7-46E2-8270-AF2FA293A846}" destId="{2E86E2F3-3A7A-47DC-B16F-782E3FE9EBE1}" srcOrd="0" destOrd="0" presId="urn:microsoft.com/office/officeart/2005/8/layout/lProcess2"/>
    <dgm:cxn modelId="{64AFB38B-1F4B-4A94-A5ED-8FE62C6DB5C4}" type="presParOf" srcId="{2E86E2F3-3A7A-47DC-B16F-782E3FE9EBE1}" destId="{0CC11804-3875-4930-8766-8CDB221CCEC9}" srcOrd="0" destOrd="0" presId="urn:microsoft.com/office/officeart/2005/8/layout/lProcess2"/>
    <dgm:cxn modelId="{033F0339-35BA-4FA9-B534-09BCD9DE9754}" type="presParOf" srcId="{2E86E2F3-3A7A-47DC-B16F-782E3FE9EBE1}" destId="{9FEC2F67-7AEC-48DC-B4C6-25DDC2A42396}" srcOrd="1" destOrd="0" presId="urn:microsoft.com/office/officeart/2005/8/layout/lProcess2"/>
    <dgm:cxn modelId="{79DF9AC8-FE49-4676-A3DB-641705FEB432}" type="presParOf" srcId="{2E86E2F3-3A7A-47DC-B16F-782E3FE9EBE1}" destId="{7DB1D492-8454-4013-9BEF-B8BC9C5D66BC}" srcOrd="2" destOrd="0" presId="urn:microsoft.com/office/officeart/2005/8/layout/lProcess2"/>
    <dgm:cxn modelId="{C50DF13B-701E-4241-A35A-317BAAFAC451}" type="presParOf" srcId="{2E86E2F3-3A7A-47DC-B16F-782E3FE9EBE1}" destId="{CD2131A4-94F5-4745-BCF6-B408B7876CC4}" srcOrd="3" destOrd="0" presId="urn:microsoft.com/office/officeart/2005/8/layout/lProcess2"/>
    <dgm:cxn modelId="{7E7FD53E-22DE-4B44-AA87-2C739D2EC098}" type="presParOf" srcId="{2E86E2F3-3A7A-47DC-B16F-782E3FE9EBE1}" destId="{2314BA4B-09A5-4C4A-8EF4-DD16254BE0EE}" srcOrd="4" destOrd="0" presId="urn:microsoft.com/office/officeart/2005/8/layout/lProcess2"/>
    <dgm:cxn modelId="{D48715E5-03DE-466D-B296-BF4503976E58}" type="presParOf" srcId="{2E86E2F3-3A7A-47DC-B16F-782E3FE9EBE1}" destId="{B52FFEC4-6A3C-41DF-B68A-3BB3BF20382D}" srcOrd="5" destOrd="0" presId="urn:microsoft.com/office/officeart/2005/8/layout/lProcess2"/>
    <dgm:cxn modelId="{F873C8F0-F6B4-4095-8CE2-EF16B93573C6}" type="presParOf" srcId="{2E86E2F3-3A7A-47DC-B16F-782E3FE9EBE1}" destId="{D33F3292-576E-4098-9AA1-F98A9E76FF8E}" srcOrd="6" destOrd="0" presId="urn:microsoft.com/office/officeart/2005/8/layout/lProcess2"/>
    <dgm:cxn modelId="{2E60A382-AFCE-42AE-872F-CBAC4C0B02D2}" type="presParOf" srcId="{2E86E2F3-3A7A-47DC-B16F-782E3FE9EBE1}" destId="{EC935FCB-57CC-471F-A7E5-6D30944B9EA9}" srcOrd="7" destOrd="0" presId="urn:microsoft.com/office/officeart/2005/8/layout/lProcess2"/>
    <dgm:cxn modelId="{B55DC313-367F-40FC-B522-286DF9190F18}" type="presParOf" srcId="{2E86E2F3-3A7A-47DC-B16F-782E3FE9EBE1}" destId="{5BC82F9B-0B2D-415E-B1CC-3B0C0D27CF43}" srcOrd="8" destOrd="0" presId="urn:microsoft.com/office/officeart/2005/8/layout/lProcess2"/>
    <dgm:cxn modelId="{F4A5EFE4-58B9-43ED-88BD-8EFCA4125FA0}" type="presParOf" srcId="{2E86E2F3-3A7A-47DC-B16F-782E3FE9EBE1}" destId="{4EA2CC04-B8D8-42D8-9BDA-E16AAFB07839}" srcOrd="9" destOrd="0" presId="urn:microsoft.com/office/officeart/2005/8/layout/lProcess2"/>
    <dgm:cxn modelId="{A16EC6FE-8B11-48A8-AEBC-A59CB507741E}" type="presParOf" srcId="{2E86E2F3-3A7A-47DC-B16F-782E3FE9EBE1}" destId="{C3431DFE-5226-4433-9413-D5DF05A00B66}" srcOrd="10" destOrd="0" presId="urn:microsoft.com/office/officeart/2005/8/layout/lProcess2"/>
    <dgm:cxn modelId="{E0601674-D9B7-4985-A9F0-255691F39ECD}" type="presParOf" srcId="{84EC9327-8D02-483C-95FF-3DEE6328D1F7}" destId="{815A4D1F-6731-4624-81DF-6D9EAE50B269}" srcOrd="5" destOrd="0" presId="urn:microsoft.com/office/officeart/2005/8/layout/lProcess2"/>
    <dgm:cxn modelId="{C8FC135A-52D1-4F57-B8A7-302AD33E3402}" type="presParOf" srcId="{84EC9327-8D02-483C-95FF-3DEE6328D1F7}" destId="{9F2495BB-17FE-45D1-832F-01FC5A5E2AC0}" srcOrd="6" destOrd="0" presId="urn:microsoft.com/office/officeart/2005/8/layout/lProcess2"/>
    <dgm:cxn modelId="{6809B954-E907-43AF-AF8D-35A30FB8013C}" type="presParOf" srcId="{9F2495BB-17FE-45D1-832F-01FC5A5E2AC0}" destId="{427054C7-1136-44E4-866C-A10DB3570D9F}" srcOrd="0" destOrd="0" presId="urn:microsoft.com/office/officeart/2005/8/layout/lProcess2"/>
    <dgm:cxn modelId="{F4312F77-2FC2-43C7-B61D-5B52731B52DA}" type="presParOf" srcId="{9F2495BB-17FE-45D1-832F-01FC5A5E2AC0}" destId="{34AC75A0-24E2-48B8-8639-08B485C7FBD3}" srcOrd="1" destOrd="0" presId="urn:microsoft.com/office/officeart/2005/8/layout/lProcess2"/>
    <dgm:cxn modelId="{8FF7A1AE-47E7-4D6E-ACAD-7AC4E65D383F}" type="presParOf" srcId="{9F2495BB-17FE-45D1-832F-01FC5A5E2AC0}" destId="{E0E2AC1C-D742-4B3B-8675-8F3552FFBFFC}" srcOrd="2" destOrd="0" presId="urn:microsoft.com/office/officeart/2005/8/layout/lProcess2"/>
    <dgm:cxn modelId="{7843A253-0C2C-4D75-A556-F7A604D2F6D8}" type="presParOf" srcId="{E0E2AC1C-D742-4B3B-8675-8F3552FFBFFC}" destId="{472D110E-5211-48FA-A61D-8ADE707E16C8}" srcOrd="0" destOrd="0" presId="urn:microsoft.com/office/officeart/2005/8/layout/lProcess2"/>
    <dgm:cxn modelId="{568C594C-F35E-490D-8D71-963DF780B17A}" type="presParOf" srcId="{472D110E-5211-48FA-A61D-8ADE707E16C8}" destId="{8237130C-CFC1-458B-B4C8-4DBAF4D22636}" srcOrd="0" destOrd="0" presId="urn:microsoft.com/office/officeart/2005/8/layout/lProcess2"/>
    <dgm:cxn modelId="{D24D5DBF-A6CB-4F6F-8061-B893D99619CE}" type="presParOf" srcId="{472D110E-5211-48FA-A61D-8ADE707E16C8}" destId="{6DA114C9-7265-4280-B2D3-277C623C54F7}" srcOrd="1" destOrd="0" presId="urn:microsoft.com/office/officeart/2005/8/layout/lProcess2"/>
    <dgm:cxn modelId="{20777805-548C-45CC-9332-3232E0B58521}" type="presParOf" srcId="{472D110E-5211-48FA-A61D-8ADE707E16C8}" destId="{25770E3C-D575-434C-9FA3-9B4B4E5F51D3}" srcOrd="2" destOrd="0" presId="urn:microsoft.com/office/officeart/2005/8/layout/lProcess2"/>
    <dgm:cxn modelId="{76BBDA3B-5050-4501-862E-224CDE252F40}" type="presParOf" srcId="{472D110E-5211-48FA-A61D-8ADE707E16C8}" destId="{AD4F079E-489D-4A4C-852A-6DDEC878E4BF}" srcOrd="3" destOrd="0" presId="urn:microsoft.com/office/officeart/2005/8/layout/lProcess2"/>
    <dgm:cxn modelId="{7DFDC27D-E759-4989-96EB-5FCAE4A6E80F}" type="presParOf" srcId="{472D110E-5211-48FA-A61D-8ADE707E16C8}" destId="{FEBDB620-9732-485A-BF23-75777F50BF53}" srcOrd="4" destOrd="0" presId="urn:microsoft.com/office/officeart/2005/8/layout/lProcess2"/>
    <dgm:cxn modelId="{C7B0FE27-49B2-4B97-87E0-BE944FBA9DC6}" type="presParOf" srcId="{472D110E-5211-48FA-A61D-8ADE707E16C8}" destId="{091755C8-C939-4304-BD13-7568D1CF03C4}" srcOrd="5" destOrd="0" presId="urn:microsoft.com/office/officeart/2005/8/layout/lProcess2"/>
    <dgm:cxn modelId="{0883AFA1-C96B-4212-BA4E-48E35139E9D2}" type="presParOf" srcId="{472D110E-5211-48FA-A61D-8ADE707E16C8}" destId="{FCADB838-A3CA-4A8D-AEC9-14EC767CCF35}" srcOrd="6" destOrd="0" presId="urn:microsoft.com/office/officeart/2005/8/layout/lProcess2"/>
    <dgm:cxn modelId="{4473299E-A051-49C2-90AA-4E5CB67AF2EB}" type="presParOf" srcId="{84EC9327-8D02-483C-95FF-3DEE6328D1F7}" destId="{288E52B6-0211-4BE9-8DD2-1EF7D6A09A76}" srcOrd="7" destOrd="0" presId="urn:microsoft.com/office/officeart/2005/8/layout/lProcess2"/>
    <dgm:cxn modelId="{053C0CCD-2258-428A-AF7D-83DB25DC62B2}" type="presParOf" srcId="{84EC9327-8D02-483C-95FF-3DEE6328D1F7}" destId="{5F5CD2E7-715F-49CD-9749-774C77F722A3}" srcOrd="8" destOrd="0" presId="urn:microsoft.com/office/officeart/2005/8/layout/lProcess2"/>
    <dgm:cxn modelId="{43FF69E1-4807-4561-9010-5BFAD4995D24}" type="presParOf" srcId="{5F5CD2E7-715F-49CD-9749-774C77F722A3}" destId="{13CA8D46-D4CC-4ADF-A576-ED1A5A75012F}" srcOrd="0" destOrd="0" presId="urn:microsoft.com/office/officeart/2005/8/layout/lProcess2"/>
    <dgm:cxn modelId="{E7D220BE-2686-4A7A-844D-9CEA79D2838D}" type="presParOf" srcId="{5F5CD2E7-715F-49CD-9749-774C77F722A3}" destId="{042F6B52-6D19-4493-A3E1-3F82594D8C49}" srcOrd="1" destOrd="0" presId="urn:microsoft.com/office/officeart/2005/8/layout/lProcess2"/>
    <dgm:cxn modelId="{A359439F-FA41-4982-9D9B-88C40FF47985}" type="presParOf" srcId="{5F5CD2E7-715F-49CD-9749-774C77F722A3}" destId="{5A6011DF-B550-4184-939F-3D003C714FE6}" srcOrd="2" destOrd="0" presId="urn:microsoft.com/office/officeart/2005/8/layout/lProcess2"/>
    <dgm:cxn modelId="{55C6432A-14CD-42CF-A04E-5B629669F161}" type="presParOf" srcId="{5A6011DF-B550-4184-939F-3D003C714FE6}" destId="{22C4B52D-9150-433E-B058-EF9A8BBF92C1}" srcOrd="0" destOrd="0" presId="urn:microsoft.com/office/officeart/2005/8/layout/lProcess2"/>
    <dgm:cxn modelId="{BF1D0BCA-5EF6-40DE-B291-26F11BB84428}" type="presParOf" srcId="{22C4B52D-9150-433E-B058-EF9A8BBF92C1}" destId="{2D9E9755-6C19-4D9F-8697-2A78908BB979}" srcOrd="0" destOrd="0" presId="urn:microsoft.com/office/officeart/2005/8/layout/lProcess2"/>
    <dgm:cxn modelId="{758150DC-C343-4B56-92D4-D66875AD16D7}" type="presParOf" srcId="{22C4B52D-9150-433E-B058-EF9A8BBF92C1}" destId="{83A16FC1-88CF-45A8-A519-925BEFFAF23D}" srcOrd="1" destOrd="0" presId="urn:microsoft.com/office/officeart/2005/8/layout/lProcess2"/>
    <dgm:cxn modelId="{9F8972C7-38C5-4E51-80F2-6D7BF11A852A}" type="presParOf" srcId="{22C4B52D-9150-433E-B058-EF9A8BBF92C1}" destId="{4AE5FFDD-1BF1-4B95-82F9-DE99E74A98AF}" srcOrd="2" destOrd="0" presId="urn:microsoft.com/office/officeart/2005/8/layout/lProcess2"/>
    <dgm:cxn modelId="{26A5610A-52C2-4866-A243-CBB45BA24942}" type="presParOf" srcId="{22C4B52D-9150-433E-B058-EF9A8BBF92C1}" destId="{6E051FFB-F5F5-4D6F-A315-A81F7946DE2E}" srcOrd="3" destOrd="0" presId="urn:microsoft.com/office/officeart/2005/8/layout/lProcess2"/>
    <dgm:cxn modelId="{C718B4F3-5799-411F-83F7-A44BDE16144E}" type="presParOf" srcId="{22C4B52D-9150-433E-B058-EF9A8BBF92C1}" destId="{0E8CD5D9-1964-4D84-84BA-638805FD3C5D}" srcOrd="4" destOrd="0" presId="urn:microsoft.com/office/officeart/2005/8/layout/lProcess2"/>
    <dgm:cxn modelId="{1E153896-2A2E-4068-8CFB-18A28B1D62B0}" type="presParOf" srcId="{84EC9327-8D02-483C-95FF-3DEE6328D1F7}" destId="{1ED1064A-3008-4BFF-A3D6-2F557052F8DF}" srcOrd="9" destOrd="0" presId="urn:microsoft.com/office/officeart/2005/8/layout/lProcess2"/>
    <dgm:cxn modelId="{FAD9FA58-7C44-4F5F-9568-24E950F39164}" type="presParOf" srcId="{84EC9327-8D02-483C-95FF-3DEE6328D1F7}" destId="{B5F0DFAB-012D-435A-B1F0-C38A1B08AC2D}" srcOrd="10" destOrd="0" presId="urn:microsoft.com/office/officeart/2005/8/layout/lProcess2"/>
    <dgm:cxn modelId="{31162835-CCB5-414D-AE05-E6C23022B723}" type="presParOf" srcId="{B5F0DFAB-012D-435A-B1F0-C38A1B08AC2D}" destId="{27591124-774B-46CA-899A-9DE9E08D368C}" srcOrd="0" destOrd="0" presId="urn:microsoft.com/office/officeart/2005/8/layout/lProcess2"/>
    <dgm:cxn modelId="{AC592D8B-5C46-454F-B745-1EC38347DDF2}" type="presParOf" srcId="{B5F0DFAB-012D-435A-B1F0-C38A1B08AC2D}" destId="{989CC85C-D9D8-466C-AB0F-D105D3D10D77}" srcOrd="1" destOrd="0" presId="urn:microsoft.com/office/officeart/2005/8/layout/lProcess2"/>
    <dgm:cxn modelId="{6E5F0A2C-BD2D-4267-97EE-BD68F595A64F}" type="presParOf" srcId="{B5F0DFAB-012D-435A-B1F0-C38A1B08AC2D}" destId="{B858D084-5C11-4784-9EC1-FF99A0C65BA6}" srcOrd="2" destOrd="0" presId="urn:microsoft.com/office/officeart/2005/8/layout/lProcess2"/>
    <dgm:cxn modelId="{5FE455C1-CFF0-4D0F-97F5-BB3C32EB6E5C}" type="presParOf" srcId="{B858D084-5C11-4784-9EC1-FF99A0C65BA6}" destId="{C8A812AA-F9A2-4715-B4BD-8A3860466455}" srcOrd="0" destOrd="0" presId="urn:microsoft.com/office/officeart/2005/8/layout/lProcess2"/>
    <dgm:cxn modelId="{BB0D7D4D-2A5E-4CBD-8143-32F3C5BD03FE}" type="presParOf" srcId="{C8A812AA-F9A2-4715-B4BD-8A3860466455}" destId="{553F750D-4F62-4DE8-8E31-65D8991E5DDE}" srcOrd="0" destOrd="0" presId="urn:microsoft.com/office/officeart/2005/8/layout/lProcess2"/>
    <dgm:cxn modelId="{BBFACBAE-A397-4AB7-9453-367A7C07A09E}" type="presParOf" srcId="{C8A812AA-F9A2-4715-B4BD-8A3860466455}" destId="{09C15547-5C7A-4908-BB73-74C2B2DC10F0}" srcOrd="1" destOrd="0" presId="urn:microsoft.com/office/officeart/2005/8/layout/lProcess2"/>
    <dgm:cxn modelId="{4BCB7F37-B4BE-41AF-BA4D-E80126E2AA44}" type="presParOf" srcId="{C8A812AA-F9A2-4715-B4BD-8A3860466455}" destId="{17CC3CF1-D57E-4CE2-88DC-3295D8EB1AA5}" srcOrd="2" destOrd="0" presId="urn:microsoft.com/office/officeart/2005/8/layout/lProcess2"/>
    <dgm:cxn modelId="{3DD6D741-5164-44BA-8A55-A88A1010A608}" type="presParOf" srcId="{C8A812AA-F9A2-4715-B4BD-8A3860466455}" destId="{0AD2CE50-8C8F-4946-A913-2464428DFDEA}" srcOrd="3" destOrd="0" presId="urn:microsoft.com/office/officeart/2005/8/layout/lProcess2"/>
    <dgm:cxn modelId="{CE7B11F3-E589-4DD3-A2C2-7F62E4358245}" type="presParOf" srcId="{C8A812AA-F9A2-4715-B4BD-8A3860466455}" destId="{3AFB6A47-98C1-4448-BD2B-0207C5C095F4}" srcOrd="4" destOrd="0" presId="urn:microsoft.com/office/officeart/2005/8/layout/lProcess2"/>
    <dgm:cxn modelId="{F28FF872-D3B5-4D0C-9348-AF88682A4AFF}" type="presParOf" srcId="{C8A812AA-F9A2-4715-B4BD-8A3860466455}" destId="{93C24563-4F99-4E64-918D-A34306377C09}" srcOrd="5" destOrd="0" presId="urn:microsoft.com/office/officeart/2005/8/layout/lProcess2"/>
    <dgm:cxn modelId="{F2A8B11F-B2CA-4CE6-896A-DB71BE64EFDE}" type="presParOf" srcId="{C8A812AA-F9A2-4715-B4BD-8A3860466455}" destId="{44DF4F1E-C3CE-4E69-8FE0-FB81A896E57D}" srcOrd="6" destOrd="0" presId="urn:microsoft.com/office/officeart/2005/8/layout/l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246C051-FCD7-4BB3-828C-F4FDA8AAAFCD}" type="doc">
      <dgm:prSet loTypeId="urn:microsoft.com/office/officeart/2008/layout/AccentedPicture" loCatId="picture" qsTypeId="urn:microsoft.com/office/officeart/2005/8/quickstyle/simple2" qsCatId="simple" csTypeId="urn:microsoft.com/office/officeart/2005/8/colors/accent2_2" csCatId="accent2" phldr="1"/>
      <dgm:spPr/>
      <dgm:t>
        <a:bodyPr/>
        <a:lstStyle/>
        <a:p>
          <a:endParaRPr lang="en-US"/>
        </a:p>
      </dgm:t>
    </dgm:pt>
    <dgm:pt modelId="{BE957EC3-3AB8-4F87-84B5-6DA34F630729}">
      <dgm:prSet/>
      <dgm:spPr/>
      <dgm:t>
        <a:bodyPr/>
        <a:lstStyle/>
        <a:p>
          <a:endParaRPr lang="en-US" dirty="0"/>
        </a:p>
      </dgm:t>
    </dgm:pt>
    <dgm:pt modelId="{4E7498A9-DACC-4E74-9A4F-A0FAEAE486A2}" type="sibTrans" cxnId="{14C05858-A97E-4101-9F03-04B6A8EB14A1}">
      <dgm:prSet/>
      <dgm:spPr/>
      <dgm:t>
        <a:bodyPr/>
        <a:lstStyle/>
        <a:p>
          <a:endParaRPr lang="en-US"/>
        </a:p>
      </dgm:t>
    </dgm:pt>
    <dgm:pt modelId="{2A06BB0B-F985-43A8-944B-996FB4805E33}" type="parTrans" cxnId="{14C05858-A97E-4101-9F03-04B6A8EB14A1}">
      <dgm:prSet/>
      <dgm:spPr/>
      <dgm:t>
        <a:bodyPr/>
        <a:lstStyle/>
        <a:p>
          <a:endParaRPr lang="en-US"/>
        </a:p>
      </dgm:t>
    </dgm:pt>
    <dgm:pt modelId="{22284D83-A558-4C50-928E-C2C00E11C5D3}">
      <dgm:prSet phldrT="[Text]"/>
      <dgm:spPr/>
      <dgm:t>
        <a:bodyPr/>
        <a:lstStyle/>
        <a:p>
          <a:r>
            <a:rPr lang="en-US" dirty="0"/>
            <a:t> </a:t>
          </a:r>
          <a:r>
            <a:rPr lang="en-US" dirty="0" smtClean="0"/>
            <a:t>Maintenance</a:t>
          </a:r>
          <a:endParaRPr lang="en-US" dirty="0"/>
        </a:p>
      </dgm:t>
    </dgm:pt>
    <dgm:pt modelId="{89497D68-6D65-40A4-A6C4-14D2DF60F6D8}" type="sibTrans" cxnId="{C6627D09-F643-4FE5-8B67-00B466190233}">
      <dgm:prSet/>
      <dgm:spPr/>
      <dgm:t>
        <a:bodyPr/>
        <a:lstStyle/>
        <a:p>
          <a:endParaRPr lang="en-US"/>
        </a:p>
      </dgm:t>
    </dgm:pt>
    <dgm:pt modelId="{52302786-3CD4-4870-991A-7AEADB79B1F8}" type="parTrans" cxnId="{C6627D09-F643-4FE5-8B67-00B466190233}">
      <dgm:prSet/>
      <dgm:spPr/>
      <dgm:t>
        <a:bodyPr/>
        <a:lstStyle/>
        <a:p>
          <a:endParaRPr lang="en-US"/>
        </a:p>
      </dgm:t>
    </dgm:pt>
    <dgm:pt modelId="{C0A9A5DC-B261-4506-B005-CF6BFE0E02EF}">
      <dgm:prSet phldrT="[Text]"/>
      <dgm:spPr/>
      <dgm:t>
        <a:bodyPr/>
        <a:lstStyle/>
        <a:p>
          <a:r>
            <a:rPr lang="en-US" dirty="0"/>
            <a:t> </a:t>
          </a:r>
          <a:r>
            <a:rPr lang="en-US" dirty="0" smtClean="0"/>
            <a:t>Payments</a:t>
          </a:r>
          <a:endParaRPr lang="en-US" dirty="0"/>
        </a:p>
      </dgm:t>
    </dgm:pt>
    <dgm:pt modelId="{F4D55190-4D31-481F-A8DA-5395FB478FF1}" type="sibTrans" cxnId="{1675AF1D-4ACC-4B6B-974E-C375E381EB53}">
      <dgm:prSet/>
      <dgm:spPr/>
      <dgm:t>
        <a:bodyPr/>
        <a:lstStyle/>
        <a:p>
          <a:endParaRPr lang="en-US"/>
        </a:p>
      </dgm:t>
    </dgm:pt>
    <dgm:pt modelId="{97696877-088E-41B7-AA79-B583368A744D}" type="parTrans" cxnId="{1675AF1D-4ACC-4B6B-974E-C375E381EB53}">
      <dgm:prSet/>
      <dgm:spPr/>
      <dgm:t>
        <a:bodyPr/>
        <a:lstStyle/>
        <a:p>
          <a:endParaRPr lang="en-US"/>
        </a:p>
      </dgm:t>
    </dgm:pt>
    <dgm:pt modelId="{5FD3416B-C662-4337-8384-71258C742187}">
      <dgm:prSet phldrT="[Text]"/>
      <dgm:spPr/>
      <dgm:t>
        <a:bodyPr/>
        <a:lstStyle/>
        <a:p>
          <a:r>
            <a:rPr lang="en-US" dirty="0" smtClean="0"/>
            <a:t>Usage</a:t>
          </a:r>
          <a:endParaRPr lang="en-US" dirty="0"/>
        </a:p>
      </dgm:t>
    </dgm:pt>
    <dgm:pt modelId="{0242DD3A-A365-47A9-96DB-A0D421B8DFD2}" type="sibTrans" cxnId="{265FC24A-E4C5-4895-99E9-F80411959246}">
      <dgm:prSet/>
      <dgm:spPr/>
      <dgm:t>
        <a:bodyPr/>
        <a:lstStyle/>
        <a:p>
          <a:endParaRPr lang="en-US"/>
        </a:p>
      </dgm:t>
    </dgm:pt>
    <dgm:pt modelId="{5D19858E-F776-4E17-927C-22315F2DA476}" type="parTrans" cxnId="{265FC24A-E4C5-4895-99E9-F80411959246}">
      <dgm:prSet/>
      <dgm:spPr/>
      <dgm:t>
        <a:bodyPr/>
        <a:lstStyle/>
        <a:p>
          <a:endParaRPr lang="en-US"/>
        </a:p>
      </dgm:t>
    </dgm:pt>
    <dgm:pt modelId="{2E9A5D43-CA27-491C-9CE4-F18147CF1EAD}">
      <dgm:prSet/>
      <dgm:spPr/>
      <dgm:t>
        <a:bodyPr/>
        <a:lstStyle/>
        <a:p>
          <a:r>
            <a:rPr lang="en-US" dirty="0" smtClean="0"/>
            <a:t>Operations</a:t>
          </a:r>
          <a:endParaRPr lang="en-US" dirty="0"/>
        </a:p>
      </dgm:t>
    </dgm:pt>
    <dgm:pt modelId="{D94998FF-55D8-47DE-9C1E-81FCB72F5A06}" type="parTrans" cxnId="{08408272-E42E-4B98-95D0-7E94138E31CD}">
      <dgm:prSet/>
      <dgm:spPr/>
      <dgm:t>
        <a:bodyPr/>
        <a:lstStyle/>
        <a:p>
          <a:endParaRPr lang="en-US"/>
        </a:p>
      </dgm:t>
    </dgm:pt>
    <dgm:pt modelId="{39B3ACEF-E8C0-48AD-9CDA-B5562162B906}" type="sibTrans" cxnId="{08408272-E42E-4B98-95D0-7E94138E31CD}">
      <dgm:prSet/>
      <dgm:spPr/>
      <dgm:t>
        <a:bodyPr/>
        <a:lstStyle/>
        <a:p>
          <a:endParaRPr lang="en-US"/>
        </a:p>
      </dgm:t>
    </dgm:pt>
    <dgm:pt modelId="{624C342D-B7E3-4A13-A68F-334D83A4B253}">
      <dgm:prSet/>
      <dgm:spPr/>
      <dgm:t>
        <a:bodyPr/>
        <a:lstStyle/>
        <a:p>
          <a:r>
            <a:rPr lang="en-US" dirty="0" smtClean="0"/>
            <a:t>Snow Removal</a:t>
          </a:r>
          <a:endParaRPr lang="en-US" dirty="0"/>
        </a:p>
      </dgm:t>
    </dgm:pt>
    <dgm:pt modelId="{53AE15D5-798E-4A8B-886D-B95FFDB61125}" type="parTrans" cxnId="{CFD4358F-B3BB-4178-B6EF-6AE37C15DCAA}">
      <dgm:prSet/>
      <dgm:spPr/>
      <dgm:t>
        <a:bodyPr/>
        <a:lstStyle/>
        <a:p>
          <a:endParaRPr lang="en-US"/>
        </a:p>
      </dgm:t>
    </dgm:pt>
    <dgm:pt modelId="{7EA30237-BD57-4615-B272-E037E936E4CC}" type="sibTrans" cxnId="{CFD4358F-B3BB-4178-B6EF-6AE37C15DCAA}">
      <dgm:prSet/>
      <dgm:spPr/>
      <dgm:t>
        <a:bodyPr/>
        <a:lstStyle/>
        <a:p>
          <a:endParaRPr lang="en-US"/>
        </a:p>
      </dgm:t>
    </dgm:pt>
    <dgm:pt modelId="{844B1604-6BF2-4238-9A8A-B7DF4AFA1B6B}">
      <dgm:prSet/>
      <dgm:spPr/>
      <dgm:t>
        <a:bodyPr/>
        <a:lstStyle/>
        <a:p>
          <a:r>
            <a:rPr lang="en-US" dirty="0" smtClean="0"/>
            <a:t>Electrical Costs</a:t>
          </a:r>
          <a:endParaRPr lang="en-US" dirty="0"/>
        </a:p>
      </dgm:t>
    </dgm:pt>
    <dgm:pt modelId="{E72B98FD-10CF-43CA-B76D-A2460BBBB50D}" type="parTrans" cxnId="{D24DC2E1-7085-4033-89BE-E87EC90E8C4F}">
      <dgm:prSet/>
      <dgm:spPr/>
      <dgm:t>
        <a:bodyPr/>
        <a:lstStyle/>
        <a:p>
          <a:endParaRPr lang="en-US"/>
        </a:p>
      </dgm:t>
    </dgm:pt>
    <dgm:pt modelId="{2675119D-ECCA-43AB-A22E-56C5FBEFECA8}" type="sibTrans" cxnId="{D24DC2E1-7085-4033-89BE-E87EC90E8C4F}">
      <dgm:prSet/>
      <dgm:spPr/>
      <dgm:t>
        <a:bodyPr/>
        <a:lstStyle/>
        <a:p>
          <a:endParaRPr lang="en-US"/>
        </a:p>
      </dgm:t>
    </dgm:pt>
    <dgm:pt modelId="{81ED0FFF-04A2-4223-88B8-ED71CEA7DFE8}">
      <dgm:prSet phldrT="[Text]"/>
      <dgm:spPr/>
      <dgm:t>
        <a:bodyPr/>
        <a:lstStyle/>
        <a:p>
          <a:r>
            <a:rPr lang="en-US" dirty="0" smtClean="0"/>
            <a:t>Revenue</a:t>
          </a:r>
          <a:endParaRPr lang="en-US" dirty="0"/>
        </a:p>
      </dgm:t>
    </dgm:pt>
    <dgm:pt modelId="{1DC11871-59C1-4F7F-BCF6-37A9782E5680}" type="parTrans" cxnId="{55D2CB5E-95F3-490C-A43A-7346BF81A271}">
      <dgm:prSet/>
      <dgm:spPr/>
      <dgm:t>
        <a:bodyPr/>
        <a:lstStyle/>
        <a:p>
          <a:endParaRPr lang="en-US"/>
        </a:p>
      </dgm:t>
    </dgm:pt>
    <dgm:pt modelId="{3D02FF99-E074-4649-9289-D1B922DA0B51}" type="sibTrans" cxnId="{55D2CB5E-95F3-490C-A43A-7346BF81A271}">
      <dgm:prSet/>
      <dgm:spPr/>
      <dgm:t>
        <a:bodyPr/>
        <a:lstStyle/>
        <a:p>
          <a:endParaRPr lang="en-US"/>
        </a:p>
      </dgm:t>
    </dgm:pt>
    <dgm:pt modelId="{696B06A7-5F1B-4EB6-A176-EC009594C00B}">
      <dgm:prSet phldrT="[Text]"/>
      <dgm:spPr/>
      <dgm:t>
        <a:bodyPr/>
        <a:lstStyle/>
        <a:p>
          <a:r>
            <a:rPr lang="en-US" dirty="0" smtClean="0"/>
            <a:t>Funding</a:t>
          </a:r>
          <a:endParaRPr lang="en-US" dirty="0"/>
        </a:p>
      </dgm:t>
    </dgm:pt>
    <dgm:pt modelId="{FD8527DB-6C6F-4321-B66E-B67A001D4E20}" type="parTrans" cxnId="{82A2A35B-1CD4-47B7-AC8F-FAFAF26F4D61}">
      <dgm:prSet/>
      <dgm:spPr/>
      <dgm:t>
        <a:bodyPr/>
        <a:lstStyle/>
        <a:p>
          <a:endParaRPr lang="en-US"/>
        </a:p>
      </dgm:t>
    </dgm:pt>
    <dgm:pt modelId="{491F5CE0-D250-40E8-B7F1-DF7534D23014}" type="sibTrans" cxnId="{82A2A35B-1CD4-47B7-AC8F-FAFAF26F4D61}">
      <dgm:prSet/>
      <dgm:spPr/>
      <dgm:t>
        <a:bodyPr/>
        <a:lstStyle/>
        <a:p>
          <a:endParaRPr lang="en-US"/>
        </a:p>
      </dgm:t>
    </dgm:pt>
    <dgm:pt modelId="{29388FAF-3EC5-4A9F-9A66-F031CE0F7851}">
      <dgm:prSet phldrT="[Text]"/>
      <dgm:spPr/>
      <dgm:t>
        <a:bodyPr/>
        <a:lstStyle/>
        <a:p>
          <a:r>
            <a:rPr lang="en-US" dirty="0" smtClean="0"/>
            <a:t>Pump Replacements</a:t>
          </a:r>
          <a:endParaRPr lang="en-US" dirty="0"/>
        </a:p>
      </dgm:t>
    </dgm:pt>
    <dgm:pt modelId="{9473A7EB-5E65-4063-BD30-8DCAB053A44C}" type="parTrans" cxnId="{AE0D430D-FC52-4590-8BF7-793E570CFE55}">
      <dgm:prSet/>
      <dgm:spPr/>
      <dgm:t>
        <a:bodyPr/>
        <a:lstStyle/>
        <a:p>
          <a:endParaRPr lang="en-US"/>
        </a:p>
      </dgm:t>
    </dgm:pt>
    <dgm:pt modelId="{353CC85F-33DF-4E84-A059-93FD608DAE10}" type="sibTrans" cxnId="{AE0D430D-FC52-4590-8BF7-793E570CFE55}">
      <dgm:prSet/>
      <dgm:spPr/>
      <dgm:t>
        <a:bodyPr/>
        <a:lstStyle/>
        <a:p>
          <a:endParaRPr lang="en-US"/>
        </a:p>
      </dgm:t>
    </dgm:pt>
    <dgm:pt modelId="{DAF354FC-FE29-4D1E-848F-3425EED29199}">
      <dgm:prSet phldrT="[Text]"/>
      <dgm:spPr/>
      <dgm:t>
        <a:bodyPr/>
        <a:lstStyle/>
        <a:p>
          <a:r>
            <a:rPr lang="en-US" dirty="0" smtClean="0"/>
            <a:t>Failed KPIs</a:t>
          </a:r>
          <a:endParaRPr lang="en-US" dirty="0"/>
        </a:p>
      </dgm:t>
    </dgm:pt>
    <dgm:pt modelId="{89D8AEC3-B222-4178-807F-4D96FF826281}" type="parTrans" cxnId="{41944B44-34E1-4E24-BBCF-A4CB7AFAD480}">
      <dgm:prSet/>
      <dgm:spPr/>
      <dgm:t>
        <a:bodyPr/>
        <a:lstStyle/>
        <a:p>
          <a:endParaRPr lang="en-US"/>
        </a:p>
      </dgm:t>
    </dgm:pt>
    <dgm:pt modelId="{56510461-178F-4850-B76D-AAE48F2B130D}" type="sibTrans" cxnId="{41944B44-34E1-4E24-BBCF-A4CB7AFAD480}">
      <dgm:prSet/>
      <dgm:spPr/>
      <dgm:t>
        <a:bodyPr/>
        <a:lstStyle/>
        <a:p>
          <a:endParaRPr lang="en-US"/>
        </a:p>
      </dgm:t>
    </dgm:pt>
    <dgm:pt modelId="{AB40CC5F-0AFC-4977-894A-EDF9F7F62D17}">
      <dgm:prSet phldrT="[Text]"/>
      <dgm:spPr/>
      <dgm:t>
        <a:bodyPr/>
        <a:lstStyle/>
        <a:p>
          <a:r>
            <a:rPr lang="en-US" dirty="0" smtClean="0"/>
            <a:t>Availability Loss</a:t>
          </a:r>
          <a:endParaRPr lang="en-US" dirty="0"/>
        </a:p>
      </dgm:t>
    </dgm:pt>
    <dgm:pt modelId="{0A318F1F-5E73-4787-9F4D-4DE359DBAA4F}" type="parTrans" cxnId="{8FE113CE-65ED-4F05-9764-1DBFF572A971}">
      <dgm:prSet/>
      <dgm:spPr/>
      <dgm:t>
        <a:bodyPr/>
        <a:lstStyle/>
        <a:p>
          <a:endParaRPr lang="en-US"/>
        </a:p>
      </dgm:t>
    </dgm:pt>
    <dgm:pt modelId="{13F30782-1A5C-47EC-8A81-7855B9FF28D0}" type="sibTrans" cxnId="{8FE113CE-65ED-4F05-9764-1DBFF572A971}">
      <dgm:prSet/>
      <dgm:spPr/>
      <dgm:t>
        <a:bodyPr/>
        <a:lstStyle/>
        <a:p>
          <a:endParaRPr lang="en-US"/>
        </a:p>
      </dgm:t>
    </dgm:pt>
    <dgm:pt modelId="{DC4B5FDC-CC1D-46A8-BC8B-9201FCB04CB6}">
      <dgm:prSet phldrT="[Text]"/>
      <dgm:spPr/>
      <dgm:t>
        <a:bodyPr/>
        <a:lstStyle/>
        <a:p>
          <a:r>
            <a:rPr lang="en-US" dirty="0" smtClean="0"/>
            <a:t>Asphalt Wear</a:t>
          </a:r>
          <a:endParaRPr lang="en-US" dirty="0"/>
        </a:p>
      </dgm:t>
    </dgm:pt>
    <dgm:pt modelId="{9248885A-F6A1-4905-8F87-53E47CAF3887}" type="parTrans" cxnId="{CFF773AC-1F70-4629-AA63-D36ECDE39338}">
      <dgm:prSet/>
      <dgm:spPr/>
      <dgm:t>
        <a:bodyPr/>
        <a:lstStyle/>
        <a:p>
          <a:endParaRPr lang="en-US"/>
        </a:p>
      </dgm:t>
    </dgm:pt>
    <dgm:pt modelId="{9BE653CF-2509-4DDE-A0AF-B1FF8C021A8F}" type="sibTrans" cxnId="{CFF773AC-1F70-4629-AA63-D36ECDE39338}">
      <dgm:prSet/>
      <dgm:spPr/>
      <dgm:t>
        <a:bodyPr/>
        <a:lstStyle/>
        <a:p>
          <a:endParaRPr lang="en-US"/>
        </a:p>
      </dgm:t>
    </dgm:pt>
    <dgm:pt modelId="{878DABCC-2E70-401C-8B5F-9BF4C77368C6}">
      <dgm:prSet/>
      <dgm:spPr/>
      <dgm:t>
        <a:bodyPr/>
        <a:lstStyle/>
        <a:p>
          <a:endParaRPr lang="en-US" dirty="0"/>
        </a:p>
      </dgm:t>
    </dgm:pt>
    <dgm:pt modelId="{BCBB825E-33E3-429A-B08A-CB32B51A6023}" type="parTrans" cxnId="{ADE3454C-BBB2-4E39-AD05-CA053CA24293}">
      <dgm:prSet/>
      <dgm:spPr/>
      <dgm:t>
        <a:bodyPr/>
        <a:lstStyle/>
        <a:p>
          <a:endParaRPr lang="en-US"/>
        </a:p>
      </dgm:t>
    </dgm:pt>
    <dgm:pt modelId="{205DAAEF-C62C-4E8C-89C4-4D64CC8CCB90}" type="sibTrans" cxnId="{ADE3454C-BBB2-4E39-AD05-CA053CA24293}">
      <dgm:prSet/>
      <dgm:spPr/>
      <dgm:t>
        <a:bodyPr/>
        <a:lstStyle/>
        <a:p>
          <a:endParaRPr lang="en-US"/>
        </a:p>
      </dgm:t>
    </dgm:pt>
    <dgm:pt modelId="{8712C92F-7B05-4A8D-A708-7877BED4C8BA}">
      <dgm:prSet phldrT="[Text]"/>
      <dgm:spPr/>
      <dgm:t>
        <a:bodyPr/>
        <a:lstStyle/>
        <a:p>
          <a:endParaRPr lang="en-US" dirty="0"/>
        </a:p>
      </dgm:t>
    </dgm:pt>
    <dgm:pt modelId="{BD12661A-AB93-4F16-9E9F-41504C05ECC7}" type="parTrans" cxnId="{03A2AE3D-F218-4798-82F4-2EAE7EED6259}">
      <dgm:prSet/>
      <dgm:spPr/>
      <dgm:t>
        <a:bodyPr/>
        <a:lstStyle/>
        <a:p>
          <a:endParaRPr lang="en-US"/>
        </a:p>
      </dgm:t>
    </dgm:pt>
    <dgm:pt modelId="{A26840E0-A66C-48CB-AE6C-B6A4D5214059}" type="sibTrans" cxnId="{03A2AE3D-F218-4798-82F4-2EAE7EED6259}">
      <dgm:prSet/>
      <dgm:spPr/>
      <dgm:t>
        <a:bodyPr/>
        <a:lstStyle/>
        <a:p>
          <a:endParaRPr lang="en-US"/>
        </a:p>
      </dgm:t>
    </dgm:pt>
    <dgm:pt modelId="{1AC037C9-D17E-4D5D-9EAB-03C2AA07BAD9}">
      <dgm:prSet phldrT="[Text]"/>
      <dgm:spPr/>
      <dgm:t>
        <a:bodyPr/>
        <a:lstStyle/>
        <a:p>
          <a:endParaRPr lang="en-US" dirty="0"/>
        </a:p>
      </dgm:t>
    </dgm:pt>
    <dgm:pt modelId="{7F1B3D0A-5D37-4307-A81E-D9217E6833FE}" type="parTrans" cxnId="{CF81A3C1-F70C-4CFD-8739-033518B67FB8}">
      <dgm:prSet/>
      <dgm:spPr/>
      <dgm:t>
        <a:bodyPr/>
        <a:lstStyle/>
        <a:p>
          <a:endParaRPr lang="en-US"/>
        </a:p>
      </dgm:t>
    </dgm:pt>
    <dgm:pt modelId="{7D0DFBBE-2E3E-4BE5-BC2A-9DAB5B187160}" type="sibTrans" cxnId="{CF81A3C1-F70C-4CFD-8739-033518B67FB8}">
      <dgm:prSet/>
      <dgm:spPr/>
      <dgm:t>
        <a:bodyPr/>
        <a:lstStyle/>
        <a:p>
          <a:endParaRPr lang="en-US"/>
        </a:p>
      </dgm:t>
    </dgm:pt>
    <dgm:pt modelId="{A459C68D-35FF-484A-81AA-E98720A0A16F}">
      <dgm:prSet phldrT="[Text]"/>
      <dgm:spPr/>
      <dgm:t>
        <a:bodyPr/>
        <a:lstStyle/>
        <a:p>
          <a:endParaRPr lang="en-US" dirty="0"/>
        </a:p>
      </dgm:t>
    </dgm:pt>
    <dgm:pt modelId="{D6CE82BA-C66E-476E-ACB7-F68E479A5C59}" type="parTrans" cxnId="{16DB3AE9-FB76-4AA5-A868-40DC4E2E2555}">
      <dgm:prSet/>
      <dgm:spPr/>
      <dgm:t>
        <a:bodyPr/>
        <a:lstStyle/>
        <a:p>
          <a:endParaRPr lang="en-US"/>
        </a:p>
      </dgm:t>
    </dgm:pt>
    <dgm:pt modelId="{9280BBC3-E4AD-4D9C-ABEC-2606FD448C6D}" type="sibTrans" cxnId="{16DB3AE9-FB76-4AA5-A868-40DC4E2E2555}">
      <dgm:prSet/>
      <dgm:spPr/>
      <dgm:t>
        <a:bodyPr/>
        <a:lstStyle/>
        <a:p>
          <a:endParaRPr lang="en-US"/>
        </a:p>
      </dgm:t>
    </dgm:pt>
    <dgm:pt modelId="{6255BB09-0EC8-4357-96F7-79FE3D3B8095}" type="pres">
      <dgm:prSet presAssocID="{4246C051-FCD7-4BB3-828C-F4FDA8AAAFCD}" presName="Name0" presStyleCnt="0">
        <dgm:presLayoutVars>
          <dgm:dir/>
        </dgm:presLayoutVars>
      </dgm:prSet>
      <dgm:spPr/>
      <dgm:t>
        <a:bodyPr/>
        <a:lstStyle/>
        <a:p>
          <a:endParaRPr lang="en-US"/>
        </a:p>
      </dgm:t>
    </dgm:pt>
    <dgm:pt modelId="{9BE1C306-2CA4-4074-84B1-B9BFC0D31AF5}" type="pres">
      <dgm:prSet presAssocID="{4E7498A9-DACC-4E74-9A4F-A0FAEAE486A2}" presName="picture_1" presStyleLbl="bgImgPlace1" presStyleIdx="0" presStyleCnt="1" custFlipHor="1" custScaleX="108692" custScaleY="110011" custLinFactNeighborX="86197" custLinFactNeighborY="97"/>
      <dgm:spPr/>
      <dgm:t>
        <a:bodyPr/>
        <a:lstStyle/>
        <a:p>
          <a:endParaRPr lang="en-US"/>
        </a:p>
      </dgm:t>
    </dgm:pt>
    <dgm:pt modelId="{0BE5945A-5E54-4941-AA71-AEAE25209639}" type="pres">
      <dgm:prSet presAssocID="{BE957EC3-3AB8-4F87-84B5-6DA34F630729}" presName="text_1" presStyleLbl="node1" presStyleIdx="0" presStyleCnt="0">
        <dgm:presLayoutVars>
          <dgm:bulletEnabled val="1"/>
        </dgm:presLayoutVars>
      </dgm:prSet>
      <dgm:spPr/>
      <dgm:t>
        <a:bodyPr/>
        <a:lstStyle/>
        <a:p>
          <a:endParaRPr lang="en-US"/>
        </a:p>
      </dgm:t>
    </dgm:pt>
    <dgm:pt modelId="{718EA28D-01CE-41F7-87DE-134A02C5165B}" type="pres">
      <dgm:prSet presAssocID="{4246C051-FCD7-4BB3-828C-F4FDA8AAAFCD}" presName="linV" presStyleCnt="0"/>
      <dgm:spPr/>
      <dgm:t>
        <a:bodyPr/>
        <a:lstStyle/>
        <a:p>
          <a:endParaRPr lang="en-US"/>
        </a:p>
      </dgm:t>
    </dgm:pt>
    <dgm:pt modelId="{D2D38F9E-7FE6-4944-8F0A-9A3A1901DB03}" type="pres">
      <dgm:prSet presAssocID="{2E9A5D43-CA27-491C-9CE4-F18147CF1EAD}" presName="pair" presStyleCnt="0"/>
      <dgm:spPr/>
      <dgm:t>
        <a:bodyPr/>
        <a:lstStyle/>
        <a:p>
          <a:endParaRPr lang="en-US"/>
        </a:p>
      </dgm:t>
    </dgm:pt>
    <dgm:pt modelId="{0C5FD108-040C-44D4-95A7-107E505EDE65}" type="pres">
      <dgm:prSet presAssocID="{2E9A5D43-CA27-491C-9CE4-F18147CF1EAD}" presName="spaceH" presStyleLbl="node1" presStyleIdx="0" presStyleCnt="0"/>
      <dgm:spPr/>
      <dgm:t>
        <a:bodyPr/>
        <a:lstStyle/>
        <a:p>
          <a:endParaRPr lang="en-US"/>
        </a:p>
      </dgm:t>
    </dgm:pt>
    <dgm:pt modelId="{58BEC78A-E748-4AA5-9F8D-1E0851BBB91E}" type="pres">
      <dgm:prSet presAssocID="{2E9A5D43-CA27-491C-9CE4-F18147CF1EAD}" presName="desPictures" presStyleLbl="align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dgm:spPr>
      <dgm:t>
        <a:bodyPr/>
        <a:lstStyle/>
        <a:p>
          <a:endParaRPr lang="en-US"/>
        </a:p>
      </dgm:t>
    </dgm:pt>
    <dgm:pt modelId="{32C0D71A-67AB-461E-A841-13C860CFC327}" type="pres">
      <dgm:prSet presAssocID="{2E9A5D43-CA27-491C-9CE4-F18147CF1EAD}" presName="desTextWrapper" presStyleCnt="0"/>
      <dgm:spPr/>
      <dgm:t>
        <a:bodyPr/>
        <a:lstStyle/>
        <a:p>
          <a:endParaRPr lang="en-US"/>
        </a:p>
      </dgm:t>
    </dgm:pt>
    <dgm:pt modelId="{B6E2AEA7-9D17-4D9F-BF98-992626917D36}" type="pres">
      <dgm:prSet presAssocID="{2E9A5D43-CA27-491C-9CE4-F18147CF1EAD}" presName="desText" presStyleLbl="revTx" presStyleIdx="0" presStyleCnt="4">
        <dgm:presLayoutVars>
          <dgm:bulletEnabled val="1"/>
        </dgm:presLayoutVars>
      </dgm:prSet>
      <dgm:spPr/>
      <dgm:t>
        <a:bodyPr/>
        <a:lstStyle/>
        <a:p>
          <a:endParaRPr lang="en-US"/>
        </a:p>
      </dgm:t>
    </dgm:pt>
    <dgm:pt modelId="{C318C36C-DB81-42A4-A246-9043855CFF77}" type="pres">
      <dgm:prSet presAssocID="{39B3ACEF-E8C0-48AD-9CDA-B5562162B906}" presName="spaceV" presStyleCnt="0"/>
      <dgm:spPr/>
      <dgm:t>
        <a:bodyPr/>
        <a:lstStyle/>
        <a:p>
          <a:endParaRPr lang="en-US"/>
        </a:p>
      </dgm:t>
    </dgm:pt>
    <dgm:pt modelId="{80485F38-1042-42B8-913F-7B2DF5575D48}" type="pres">
      <dgm:prSet presAssocID="{22284D83-A558-4C50-928E-C2C00E11C5D3}" presName="pair" presStyleCnt="0"/>
      <dgm:spPr/>
      <dgm:t>
        <a:bodyPr/>
        <a:lstStyle/>
        <a:p>
          <a:endParaRPr lang="en-US"/>
        </a:p>
      </dgm:t>
    </dgm:pt>
    <dgm:pt modelId="{CD9D7518-6580-40FB-8A20-B9018EFA1A0C}" type="pres">
      <dgm:prSet presAssocID="{22284D83-A558-4C50-928E-C2C00E11C5D3}" presName="spaceH" presStyleLbl="node1" presStyleIdx="0" presStyleCnt="0"/>
      <dgm:spPr/>
      <dgm:t>
        <a:bodyPr/>
        <a:lstStyle/>
        <a:p>
          <a:endParaRPr lang="en-US"/>
        </a:p>
      </dgm:t>
    </dgm:pt>
    <dgm:pt modelId="{78413FD4-08FA-4382-AA29-48CB56D11F16}" type="pres">
      <dgm:prSet presAssocID="{22284D83-A558-4C50-928E-C2C00E11C5D3}" presName="desPictures" presStyleLbl="align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23000" r="-23000"/>
          </a:stretch>
        </a:blipFill>
      </dgm:spPr>
      <dgm:t>
        <a:bodyPr/>
        <a:lstStyle/>
        <a:p>
          <a:endParaRPr lang="en-US"/>
        </a:p>
      </dgm:t>
    </dgm:pt>
    <dgm:pt modelId="{0BEFD1B7-4AF8-4F13-8A2C-071480425CCF}" type="pres">
      <dgm:prSet presAssocID="{22284D83-A558-4C50-928E-C2C00E11C5D3}" presName="desTextWrapper" presStyleCnt="0"/>
      <dgm:spPr/>
      <dgm:t>
        <a:bodyPr/>
        <a:lstStyle/>
        <a:p>
          <a:endParaRPr lang="en-US"/>
        </a:p>
      </dgm:t>
    </dgm:pt>
    <dgm:pt modelId="{1E3FCE25-16C6-4707-834B-4C4AABE8EEE9}" type="pres">
      <dgm:prSet presAssocID="{22284D83-A558-4C50-928E-C2C00E11C5D3}" presName="desText" presStyleLbl="revTx" presStyleIdx="1" presStyleCnt="4">
        <dgm:presLayoutVars>
          <dgm:bulletEnabled val="1"/>
        </dgm:presLayoutVars>
      </dgm:prSet>
      <dgm:spPr/>
      <dgm:t>
        <a:bodyPr/>
        <a:lstStyle/>
        <a:p>
          <a:endParaRPr lang="en-US"/>
        </a:p>
      </dgm:t>
    </dgm:pt>
    <dgm:pt modelId="{361B8AA1-7769-469F-BC9B-644E9E1EECE2}" type="pres">
      <dgm:prSet presAssocID="{89497D68-6D65-40A4-A6C4-14D2DF60F6D8}" presName="spaceV" presStyleCnt="0"/>
      <dgm:spPr/>
      <dgm:t>
        <a:bodyPr/>
        <a:lstStyle/>
        <a:p>
          <a:endParaRPr lang="en-US"/>
        </a:p>
      </dgm:t>
    </dgm:pt>
    <dgm:pt modelId="{0A59C0C0-0ABC-4D21-865C-4C6EBC4C472B}" type="pres">
      <dgm:prSet presAssocID="{C0A9A5DC-B261-4506-B005-CF6BFE0E02EF}" presName="pair" presStyleCnt="0"/>
      <dgm:spPr/>
      <dgm:t>
        <a:bodyPr/>
        <a:lstStyle/>
        <a:p>
          <a:endParaRPr lang="en-US"/>
        </a:p>
      </dgm:t>
    </dgm:pt>
    <dgm:pt modelId="{8A3C78C6-580E-4584-A86E-5601C515166C}" type="pres">
      <dgm:prSet presAssocID="{C0A9A5DC-B261-4506-B005-CF6BFE0E02EF}" presName="spaceH" presStyleLbl="node1" presStyleIdx="0" presStyleCnt="0"/>
      <dgm:spPr/>
      <dgm:t>
        <a:bodyPr/>
        <a:lstStyle/>
        <a:p>
          <a:endParaRPr lang="en-US"/>
        </a:p>
      </dgm:t>
    </dgm:pt>
    <dgm:pt modelId="{B897D277-5C1C-491D-8AD9-6079B3389156}" type="pres">
      <dgm:prSet presAssocID="{C0A9A5DC-B261-4506-B005-CF6BFE0E02EF}" presName="desPictures" presStyleLbl="align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B02F28BE-56B5-4B92-9E1F-F41676609931}" type="pres">
      <dgm:prSet presAssocID="{C0A9A5DC-B261-4506-B005-CF6BFE0E02EF}" presName="desTextWrapper" presStyleCnt="0"/>
      <dgm:spPr/>
      <dgm:t>
        <a:bodyPr/>
        <a:lstStyle/>
        <a:p>
          <a:endParaRPr lang="en-US"/>
        </a:p>
      </dgm:t>
    </dgm:pt>
    <dgm:pt modelId="{46F94229-04DE-4AAF-92AA-5BDC6BB793CA}" type="pres">
      <dgm:prSet presAssocID="{C0A9A5DC-B261-4506-B005-CF6BFE0E02EF}" presName="desText" presStyleLbl="revTx" presStyleIdx="2" presStyleCnt="4">
        <dgm:presLayoutVars>
          <dgm:bulletEnabled val="1"/>
        </dgm:presLayoutVars>
      </dgm:prSet>
      <dgm:spPr/>
      <dgm:t>
        <a:bodyPr/>
        <a:lstStyle/>
        <a:p>
          <a:endParaRPr lang="en-US"/>
        </a:p>
      </dgm:t>
    </dgm:pt>
    <dgm:pt modelId="{669B2514-EF99-48D5-B6F3-A9BC747CFBC0}" type="pres">
      <dgm:prSet presAssocID="{F4D55190-4D31-481F-A8DA-5395FB478FF1}" presName="spaceV" presStyleCnt="0"/>
      <dgm:spPr/>
      <dgm:t>
        <a:bodyPr/>
        <a:lstStyle/>
        <a:p>
          <a:endParaRPr lang="en-US"/>
        </a:p>
      </dgm:t>
    </dgm:pt>
    <dgm:pt modelId="{D24977A3-F44F-4C56-9939-08F88EDA87F3}" type="pres">
      <dgm:prSet presAssocID="{5FD3416B-C662-4337-8384-71258C742187}" presName="pair" presStyleCnt="0"/>
      <dgm:spPr/>
      <dgm:t>
        <a:bodyPr/>
        <a:lstStyle/>
        <a:p>
          <a:endParaRPr lang="en-US"/>
        </a:p>
      </dgm:t>
    </dgm:pt>
    <dgm:pt modelId="{4DD541C2-0637-4A67-AD98-FD0AFC8B6632}" type="pres">
      <dgm:prSet presAssocID="{5FD3416B-C662-4337-8384-71258C742187}" presName="spaceH" presStyleLbl="node1" presStyleIdx="0" presStyleCnt="0"/>
      <dgm:spPr/>
      <dgm:t>
        <a:bodyPr/>
        <a:lstStyle/>
        <a:p>
          <a:endParaRPr lang="en-US"/>
        </a:p>
      </dgm:t>
    </dgm:pt>
    <dgm:pt modelId="{57EC1BD6-18E4-4015-8F7A-092B0F9617C5}" type="pres">
      <dgm:prSet presAssocID="{5FD3416B-C662-4337-8384-71258C742187}" presName="desPictures" presStyleLbl="align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14DA1B9C-A1B5-4363-BB76-5451B3F06BA5}" type="pres">
      <dgm:prSet presAssocID="{5FD3416B-C662-4337-8384-71258C742187}" presName="desTextWrapper" presStyleCnt="0"/>
      <dgm:spPr/>
      <dgm:t>
        <a:bodyPr/>
        <a:lstStyle/>
        <a:p>
          <a:endParaRPr lang="en-US"/>
        </a:p>
      </dgm:t>
    </dgm:pt>
    <dgm:pt modelId="{018370E7-8634-4BC6-9249-99505A31F8E3}" type="pres">
      <dgm:prSet presAssocID="{5FD3416B-C662-4337-8384-71258C742187}" presName="desText" presStyleLbl="revTx" presStyleIdx="3" presStyleCnt="4">
        <dgm:presLayoutVars>
          <dgm:bulletEnabled val="1"/>
        </dgm:presLayoutVars>
      </dgm:prSet>
      <dgm:spPr/>
      <dgm:t>
        <a:bodyPr/>
        <a:lstStyle/>
        <a:p>
          <a:endParaRPr lang="en-US"/>
        </a:p>
      </dgm:t>
    </dgm:pt>
    <dgm:pt modelId="{33AAE507-9FE2-4DC5-9ED4-C2D9C49A1A7F}" type="pres">
      <dgm:prSet presAssocID="{4246C051-FCD7-4BB3-828C-F4FDA8AAAFCD}" presName="maxNode" presStyleCnt="0"/>
      <dgm:spPr/>
      <dgm:t>
        <a:bodyPr/>
        <a:lstStyle/>
        <a:p>
          <a:endParaRPr lang="en-US"/>
        </a:p>
      </dgm:t>
    </dgm:pt>
    <dgm:pt modelId="{6B1C3C7E-F4C7-4BB2-821A-38D7994F1C97}" type="pres">
      <dgm:prSet presAssocID="{4246C051-FCD7-4BB3-828C-F4FDA8AAAFCD}" presName="Name33" presStyleCnt="0"/>
      <dgm:spPr/>
      <dgm:t>
        <a:bodyPr/>
        <a:lstStyle/>
        <a:p>
          <a:endParaRPr lang="en-US"/>
        </a:p>
      </dgm:t>
    </dgm:pt>
  </dgm:ptLst>
  <dgm:cxnLst>
    <dgm:cxn modelId="{FCB62EE7-11AF-4B9C-89A0-82346AAE41DF}" type="presOf" srcId="{878DABCC-2E70-401C-8B5F-9BF4C77368C6}" destId="{B6E2AEA7-9D17-4D9F-BF98-992626917D36}" srcOrd="0" destOrd="3" presId="urn:microsoft.com/office/officeart/2008/layout/AccentedPicture"/>
    <dgm:cxn modelId="{8FE113CE-65ED-4F05-9764-1DBFF572A971}" srcId="{C0A9A5DC-B261-4506-B005-CF6BFE0E02EF}" destId="{AB40CC5F-0AFC-4977-894A-EDF9F7F62D17}" srcOrd="1" destOrd="0" parTransId="{0A318F1F-5E73-4787-9F4D-4DE359DBAA4F}" sibTransId="{13F30782-1A5C-47EC-8A81-7855B9FF28D0}"/>
    <dgm:cxn modelId="{14C05858-A97E-4101-9F03-04B6A8EB14A1}" srcId="{4246C051-FCD7-4BB3-828C-F4FDA8AAAFCD}" destId="{BE957EC3-3AB8-4F87-84B5-6DA34F630729}" srcOrd="0" destOrd="0" parTransId="{2A06BB0B-F985-43A8-944B-996FB4805E33}" sibTransId="{4E7498A9-DACC-4E74-9A4F-A0FAEAE486A2}"/>
    <dgm:cxn modelId="{47D6C0CE-AD8C-47D6-AE17-3A582E752136}" type="presOf" srcId="{624C342D-B7E3-4A13-A68F-334D83A4B253}" destId="{B6E2AEA7-9D17-4D9F-BF98-992626917D36}" srcOrd="0" destOrd="1" presId="urn:microsoft.com/office/officeart/2008/layout/AccentedPicture"/>
    <dgm:cxn modelId="{D24DC2E1-7085-4033-89BE-E87EC90E8C4F}" srcId="{2E9A5D43-CA27-491C-9CE4-F18147CF1EAD}" destId="{844B1604-6BF2-4238-9A8A-B7DF4AFA1B6B}" srcOrd="1" destOrd="0" parTransId="{E72B98FD-10CF-43CA-B76D-A2460BBBB50D}" sibTransId="{2675119D-ECCA-43AB-A22E-56C5FBEFECA8}"/>
    <dgm:cxn modelId="{1675AF1D-4ACC-4B6B-974E-C375E381EB53}" srcId="{4246C051-FCD7-4BB3-828C-F4FDA8AAAFCD}" destId="{C0A9A5DC-B261-4506-B005-CF6BFE0E02EF}" srcOrd="3" destOrd="0" parTransId="{97696877-088E-41B7-AA79-B583368A744D}" sibTransId="{F4D55190-4D31-481F-A8DA-5395FB478FF1}"/>
    <dgm:cxn modelId="{2BCB36AE-046D-44D2-8596-EA69A197AA09}" type="presOf" srcId="{81ED0FFF-04A2-4223-88B8-ED71CEA7DFE8}" destId="{018370E7-8634-4BC6-9249-99505A31F8E3}" srcOrd="0" destOrd="1" presId="urn:microsoft.com/office/officeart/2008/layout/AccentedPicture"/>
    <dgm:cxn modelId="{ADE3454C-BBB2-4E39-AD05-CA053CA24293}" srcId="{2E9A5D43-CA27-491C-9CE4-F18147CF1EAD}" destId="{878DABCC-2E70-401C-8B5F-9BF4C77368C6}" srcOrd="2" destOrd="0" parTransId="{BCBB825E-33E3-429A-B08A-CB32B51A6023}" sibTransId="{205DAAEF-C62C-4E8C-89C4-4D64CC8CCB90}"/>
    <dgm:cxn modelId="{2A88D816-A849-46A9-8F6F-2F1C0EC82EBC}" type="presOf" srcId="{5FD3416B-C662-4337-8384-71258C742187}" destId="{018370E7-8634-4BC6-9249-99505A31F8E3}" srcOrd="0" destOrd="0" presId="urn:microsoft.com/office/officeart/2008/layout/AccentedPicture"/>
    <dgm:cxn modelId="{421B7EB6-85C5-4AB7-8D58-FFB48867532C}" type="presOf" srcId="{2E9A5D43-CA27-491C-9CE4-F18147CF1EAD}" destId="{B6E2AEA7-9D17-4D9F-BF98-992626917D36}" srcOrd="0" destOrd="0" presId="urn:microsoft.com/office/officeart/2008/layout/AccentedPicture"/>
    <dgm:cxn modelId="{3E7A5255-7909-4DE0-92AB-96B9A15F51FD}" type="presOf" srcId="{4246C051-FCD7-4BB3-828C-F4FDA8AAAFCD}" destId="{6255BB09-0EC8-4357-96F7-79FE3D3B8095}" srcOrd="0" destOrd="0" presId="urn:microsoft.com/office/officeart/2008/layout/AccentedPicture"/>
    <dgm:cxn modelId="{2D51DE3D-8951-4AB4-A7AB-CF4A00E4B16F}" type="presOf" srcId="{AB40CC5F-0AFC-4977-894A-EDF9F7F62D17}" destId="{46F94229-04DE-4AAF-92AA-5BDC6BB793CA}" srcOrd="0" destOrd="2" presId="urn:microsoft.com/office/officeart/2008/layout/AccentedPicture"/>
    <dgm:cxn modelId="{F585CBAD-0A87-4012-9EBF-5903E3DA2F03}" type="presOf" srcId="{BE957EC3-3AB8-4F87-84B5-6DA34F630729}" destId="{0BE5945A-5E54-4941-AA71-AEAE25209639}" srcOrd="0" destOrd="0" presId="urn:microsoft.com/office/officeart/2008/layout/AccentedPicture"/>
    <dgm:cxn modelId="{03A2AE3D-F218-4798-82F4-2EAE7EED6259}" srcId="{22284D83-A558-4C50-928E-C2C00E11C5D3}" destId="{8712C92F-7B05-4A8D-A708-7877BED4C8BA}" srcOrd="2" destOrd="0" parTransId="{BD12661A-AB93-4F16-9E9F-41504C05ECC7}" sibTransId="{A26840E0-A66C-48CB-AE6C-B6A4D5214059}"/>
    <dgm:cxn modelId="{5EC1B6BA-C802-4626-875C-B66BDE1BD3A9}" type="presOf" srcId="{8712C92F-7B05-4A8D-A708-7877BED4C8BA}" destId="{1E3FCE25-16C6-4707-834B-4C4AABE8EEE9}" srcOrd="0" destOrd="3" presId="urn:microsoft.com/office/officeart/2008/layout/AccentedPicture"/>
    <dgm:cxn modelId="{CF81A3C1-F70C-4CFD-8739-033518B67FB8}" srcId="{C0A9A5DC-B261-4506-B005-CF6BFE0E02EF}" destId="{1AC037C9-D17E-4D5D-9EAB-03C2AA07BAD9}" srcOrd="2" destOrd="0" parTransId="{7F1B3D0A-5D37-4307-A81E-D9217E6833FE}" sibTransId="{7D0DFBBE-2E3E-4BE5-BC2A-9DAB5B187160}"/>
    <dgm:cxn modelId="{6AD0FFC0-9DF2-403B-9B37-970BD5E55612}" type="presOf" srcId="{DC4B5FDC-CC1D-46A8-BC8B-9201FCB04CB6}" destId="{1E3FCE25-16C6-4707-834B-4C4AABE8EEE9}" srcOrd="0" destOrd="2" presId="urn:microsoft.com/office/officeart/2008/layout/AccentedPicture"/>
    <dgm:cxn modelId="{FC64B4E2-B605-4F5D-94C9-7C78B3B04A96}" type="presOf" srcId="{1AC037C9-D17E-4D5D-9EAB-03C2AA07BAD9}" destId="{46F94229-04DE-4AAF-92AA-5BDC6BB793CA}" srcOrd="0" destOrd="3" presId="urn:microsoft.com/office/officeart/2008/layout/AccentedPicture"/>
    <dgm:cxn modelId="{5C2B046D-14C7-4AF9-961A-A33966A3D934}" type="presOf" srcId="{C0A9A5DC-B261-4506-B005-CF6BFE0E02EF}" destId="{46F94229-04DE-4AAF-92AA-5BDC6BB793CA}" srcOrd="0" destOrd="0" presId="urn:microsoft.com/office/officeart/2008/layout/AccentedPicture"/>
    <dgm:cxn modelId="{55D2CB5E-95F3-490C-A43A-7346BF81A271}" srcId="{5FD3416B-C662-4337-8384-71258C742187}" destId="{81ED0FFF-04A2-4223-88B8-ED71CEA7DFE8}" srcOrd="0" destOrd="0" parTransId="{1DC11871-59C1-4F7F-BCF6-37A9782E5680}" sibTransId="{3D02FF99-E074-4649-9289-D1B922DA0B51}"/>
    <dgm:cxn modelId="{C5A85FE9-A373-4C06-9634-1C4782755F6C}" type="presOf" srcId="{A459C68D-35FF-484A-81AA-E98720A0A16F}" destId="{018370E7-8634-4BC6-9249-99505A31F8E3}" srcOrd="0" destOrd="3" presId="urn:microsoft.com/office/officeart/2008/layout/AccentedPicture"/>
    <dgm:cxn modelId="{82A2A35B-1CD4-47B7-AC8F-FAFAF26F4D61}" srcId="{5FD3416B-C662-4337-8384-71258C742187}" destId="{696B06A7-5F1B-4EB6-A176-EC009594C00B}" srcOrd="1" destOrd="0" parTransId="{FD8527DB-6C6F-4321-B66E-B67A001D4E20}" sibTransId="{491F5CE0-D250-40E8-B7F1-DF7534D23014}"/>
    <dgm:cxn modelId="{CFD4358F-B3BB-4178-B6EF-6AE37C15DCAA}" srcId="{2E9A5D43-CA27-491C-9CE4-F18147CF1EAD}" destId="{624C342D-B7E3-4A13-A68F-334D83A4B253}" srcOrd="0" destOrd="0" parTransId="{53AE15D5-798E-4A8B-886D-B95FFDB61125}" sibTransId="{7EA30237-BD57-4615-B272-E037E936E4CC}"/>
    <dgm:cxn modelId="{76BC2490-8C07-4FFB-9684-B4D1DA000FA2}" type="presOf" srcId="{DAF354FC-FE29-4D1E-848F-3425EED29199}" destId="{46F94229-04DE-4AAF-92AA-5BDC6BB793CA}" srcOrd="0" destOrd="1" presId="urn:microsoft.com/office/officeart/2008/layout/AccentedPicture"/>
    <dgm:cxn modelId="{41944B44-34E1-4E24-BBCF-A4CB7AFAD480}" srcId="{C0A9A5DC-B261-4506-B005-CF6BFE0E02EF}" destId="{DAF354FC-FE29-4D1E-848F-3425EED29199}" srcOrd="0" destOrd="0" parTransId="{89D8AEC3-B222-4178-807F-4D96FF826281}" sibTransId="{56510461-178F-4850-B76D-AAE48F2B130D}"/>
    <dgm:cxn modelId="{16DB3AE9-FB76-4AA5-A868-40DC4E2E2555}" srcId="{5FD3416B-C662-4337-8384-71258C742187}" destId="{A459C68D-35FF-484A-81AA-E98720A0A16F}" srcOrd="2" destOrd="0" parTransId="{D6CE82BA-C66E-476E-ACB7-F68E479A5C59}" sibTransId="{9280BBC3-E4AD-4D9C-ABEC-2606FD448C6D}"/>
    <dgm:cxn modelId="{08408272-E42E-4B98-95D0-7E94138E31CD}" srcId="{4246C051-FCD7-4BB3-828C-F4FDA8AAAFCD}" destId="{2E9A5D43-CA27-491C-9CE4-F18147CF1EAD}" srcOrd="1" destOrd="0" parTransId="{D94998FF-55D8-47DE-9C1E-81FCB72F5A06}" sibTransId="{39B3ACEF-E8C0-48AD-9CDA-B5562162B906}"/>
    <dgm:cxn modelId="{38D561A4-6F67-480D-B9F8-029500E79367}" type="presOf" srcId="{29388FAF-3EC5-4A9F-9A66-F031CE0F7851}" destId="{1E3FCE25-16C6-4707-834B-4C4AABE8EEE9}" srcOrd="0" destOrd="1" presId="urn:microsoft.com/office/officeart/2008/layout/AccentedPicture"/>
    <dgm:cxn modelId="{AE0D430D-FC52-4590-8BF7-793E570CFE55}" srcId="{22284D83-A558-4C50-928E-C2C00E11C5D3}" destId="{29388FAF-3EC5-4A9F-9A66-F031CE0F7851}" srcOrd="0" destOrd="0" parTransId="{9473A7EB-5E65-4063-BD30-8DCAB053A44C}" sibTransId="{353CC85F-33DF-4E84-A059-93FD608DAE10}"/>
    <dgm:cxn modelId="{CFF773AC-1F70-4629-AA63-D36ECDE39338}" srcId="{22284D83-A558-4C50-928E-C2C00E11C5D3}" destId="{DC4B5FDC-CC1D-46A8-BC8B-9201FCB04CB6}" srcOrd="1" destOrd="0" parTransId="{9248885A-F6A1-4905-8F87-53E47CAF3887}" sibTransId="{9BE653CF-2509-4DDE-A0AF-B1FF8C021A8F}"/>
    <dgm:cxn modelId="{2B66BA84-A1C8-41F9-A7B7-1FC44A5786A3}" type="presOf" srcId="{844B1604-6BF2-4238-9A8A-B7DF4AFA1B6B}" destId="{B6E2AEA7-9D17-4D9F-BF98-992626917D36}" srcOrd="0" destOrd="2" presId="urn:microsoft.com/office/officeart/2008/layout/AccentedPicture"/>
    <dgm:cxn modelId="{86E0DB1D-7A71-455E-BE16-EAA6CD7B5617}" type="presOf" srcId="{696B06A7-5F1B-4EB6-A176-EC009594C00B}" destId="{018370E7-8634-4BC6-9249-99505A31F8E3}" srcOrd="0" destOrd="2" presId="urn:microsoft.com/office/officeart/2008/layout/AccentedPicture"/>
    <dgm:cxn modelId="{90419843-EC83-4126-8620-F6B6A123E625}" type="presOf" srcId="{4E7498A9-DACC-4E74-9A4F-A0FAEAE486A2}" destId="{9BE1C306-2CA4-4074-84B1-B9BFC0D31AF5}" srcOrd="0" destOrd="0" presId="urn:microsoft.com/office/officeart/2008/layout/AccentedPicture"/>
    <dgm:cxn modelId="{C6627D09-F643-4FE5-8B67-00B466190233}" srcId="{4246C051-FCD7-4BB3-828C-F4FDA8AAAFCD}" destId="{22284D83-A558-4C50-928E-C2C00E11C5D3}" srcOrd="2" destOrd="0" parTransId="{52302786-3CD4-4870-991A-7AEADB79B1F8}" sibTransId="{89497D68-6D65-40A4-A6C4-14D2DF60F6D8}"/>
    <dgm:cxn modelId="{7AE197F5-FFC5-4513-BDB2-6DD665EC052C}" type="presOf" srcId="{22284D83-A558-4C50-928E-C2C00E11C5D3}" destId="{1E3FCE25-16C6-4707-834B-4C4AABE8EEE9}" srcOrd="0" destOrd="0" presId="urn:microsoft.com/office/officeart/2008/layout/AccentedPicture"/>
    <dgm:cxn modelId="{265FC24A-E4C5-4895-99E9-F80411959246}" srcId="{4246C051-FCD7-4BB3-828C-F4FDA8AAAFCD}" destId="{5FD3416B-C662-4337-8384-71258C742187}" srcOrd="4" destOrd="0" parTransId="{5D19858E-F776-4E17-927C-22315F2DA476}" sibTransId="{0242DD3A-A365-47A9-96DB-A0D421B8DFD2}"/>
    <dgm:cxn modelId="{813F4DF4-411C-4454-9277-80DA6F343FA7}" type="presParOf" srcId="{6255BB09-0EC8-4357-96F7-79FE3D3B8095}" destId="{9BE1C306-2CA4-4074-84B1-B9BFC0D31AF5}" srcOrd="0" destOrd="0" presId="urn:microsoft.com/office/officeart/2008/layout/AccentedPicture"/>
    <dgm:cxn modelId="{85CD963D-F40F-46D4-8142-85CEA190876B}" type="presParOf" srcId="{6255BB09-0EC8-4357-96F7-79FE3D3B8095}" destId="{0BE5945A-5E54-4941-AA71-AEAE25209639}" srcOrd="1" destOrd="0" presId="urn:microsoft.com/office/officeart/2008/layout/AccentedPicture"/>
    <dgm:cxn modelId="{64B9BD1B-66A5-46B2-9463-6D4B769C7943}" type="presParOf" srcId="{6255BB09-0EC8-4357-96F7-79FE3D3B8095}" destId="{718EA28D-01CE-41F7-87DE-134A02C5165B}" srcOrd="2" destOrd="0" presId="urn:microsoft.com/office/officeart/2008/layout/AccentedPicture"/>
    <dgm:cxn modelId="{6DA12A5C-1A64-4E3D-9CEB-78AAFCD5876B}" type="presParOf" srcId="{718EA28D-01CE-41F7-87DE-134A02C5165B}" destId="{D2D38F9E-7FE6-4944-8F0A-9A3A1901DB03}" srcOrd="0" destOrd="0" presId="urn:microsoft.com/office/officeart/2008/layout/AccentedPicture"/>
    <dgm:cxn modelId="{1D4B56A1-1E8E-4085-BCD5-486A4D3CA6A9}" type="presParOf" srcId="{D2D38F9E-7FE6-4944-8F0A-9A3A1901DB03}" destId="{0C5FD108-040C-44D4-95A7-107E505EDE65}" srcOrd="0" destOrd="0" presId="urn:microsoft.com/office/officeart/2008/layout/AccentedPicture"/>
    <dgm:cxn modelId="{DC8AC283-1429-4D30-A5E7-CD8AA8031940}" type="presParOf" srcId="{D2D38F9E-7FE6-4944-8F0A-9A3A1901DB03}" destId="{58BEC78A-E748-4AA5-9F8D-1E0851BBB91E}" srcOrd="1" destOrd="0" presId="urn:microsoft.com/office/officeart/2008/layout/AccentedPicture"/>
    <dgm:cxn modelId="{57E187AD-F163-4D4D-9CF1-6351D919DD30}" type="presParOf" srcId="{D2D38F9E-7FE6-4944-8F0A-9A3A1901DB03}" destId="{32C0D71A-67AB-461E-A841-13C860CFC327}" srcOrd="2" destOrd="0" presId="urn:microsoft.com/office/officeart/2008/layout/AccentedPicture"/>
    <dgm:cxn modelId="{4B27BF63-E329-4D2C-B557-1F09AEA51C55}" type="presParOf" srcId="{32C0D71A-67AB-461E-A841-13C860CFC327}" destId="{B6E2AEA7-9D17-4D9F-BF98-992626917D36}" srcOrd="0" destOrd="0" presId="urn:microsoft.com/office/officeart/2008/layout/AccentedPicture"/>
    <dgm:cxn modelId="{FFA64D32-E446-44F6-8C4D-7D8B97F03F1E}" type="presParOf" srcId="{718EA28D-01CE-41F7-87DE-134A02C5165B}" destId="{C318C36C-DB81-42A4-A246-9043855CFF77}" srcOrd="1" destOrd="0" presId="urn:microsoft.com/office/officeart/2008/layout/AccentedPicture"/>
    <dgm:cxn modelId="{B72957EC-6905-4298-808B-979A023AEDE3}" type="presParOf" srcId="{718EA28D-01CE-41F7-87DE-134A02C5165B}" destId="{80485F38-1042-42B8-913F-7B2DF5575D48}" srcOrd="2" destOrd="0" presId="urn:microsoft.com/office/officeart/2008/layout/AccentedPicture"/>
    <dgm:cxn modelId="{ABD2AEEB-1D10-4A4E-A0DE-AB93A808ED9D}" type="presParOf" srcId="{80485F38-1042-42B8-913F-7B2DF5575D48}" destId="{CD9D7518-6580-40FB-8A20-B9018EFA1A0C}" srcOrd="0" destOrd="0" presId="urn:microsoft.com/office/officeart/2008/layout/AccentedPicture"/>
    <dgm:cxn modelId="{F443267A-9FA3-4EC5-9BAF-5B48C0133AF2}" type="presParOf" srcId="{80485F38-1042-42B8-913F-7B2DF5575D48}" destId="{78413FD4-08FA-4382-AA29-48CB56D11F16}" srcOrd="1" destOrd="0" presId="urn:microsoft.com/office/officeart/2008/layout/AccentedPicture"/>
    <dgm:cxn modelId="{EB03DDB0-E55A-4DC0-AEE1-2E3CE5197528}" type="presParOf" srcId="{80485F38-1042-42B8-913F-7B2DF5575D48}" destId="{0BEFD1B7-4AF8-4F13-8A2C-071480425CCF}" srcOrd="2" destOrd="0" presId="urn:microsoft.com/office/officeart/2008/layout/AccentedPicture"/>
    <dgm:cxn modelId="{DF197AAB-C77F-4EA9-83C9-AFF6721B361C}" type="presParOf" srcId="{0BEFD1B7-4AF8-4F13-8A2C-071480425CCF}" destId="{1E3FCE25-16C6-4707-834B-4C4AABE8EEE9}" srcOrd="0" destOrd="0" presId="urn:microsoft.com/office/officeart/2008/layout/AccentedPicture"/>
    <dgm:cxn modelId="{D8209A50-DA72-4A27-9D07-FD5D7F301167}" type="presParOf" srcId="{718EA28D-01CE-41F7-87DE-134A02C5165B}" destId="{361B8AA1-7769-469F-BC9B-644E9E1EECE2}" srcOrd="3" destOrd="0" presId="urn:microsoft.com/office/officeart/2008/layout/AccentedPicture"/>
    <dgm:cxn modelId="{A25C664B-EDD5-45EA-B11E-45AFEBEA484A}" type="presParOf" srcId="{718EA28D-01CE-41F7-87DE-134A02C5165B}" destId="{0A59C0C0-0ABC-4D21-865C-4C6EBC4C472B}" srcOrd="4" destOrd="0" presId="urn:microsoft.com/office/officeart/2008/layout/AccentedPicture"/>
    <dgm:cxn modelId="{72A27536-25E9-4010-B223-E82FBE86D61C}" type="presParOf" srcId="{0A59C0C0-0ABC-4D21-865C-4C6EBC4C472B}" destId="{8A3C78C6-580E-4584-A86E-5601C515166C}" srcOrd="0" destOrd="0" presId="urn:microsoft.com/office/officeart/2008/layout/AccentedPicture"/>
    <dgm:cxn modelId="{16A20FF8-3344-4EC4-8A6C-521F6E5DEAD0}" type="presParOf" srcId="{0A59C0C0-0ABC-4D21-865C-4C6EBC4C472B}" destId="{B897D277-5C1C-491D-8AD9-6079B3389156}" srcOrd="1" destOrd="0" presId="urn:microsoft.com/office/officeart/2008/layout/AccentedPicture"/>
    <dgm:cxn modelId="{0AA3488A-DEE8-40CF-AD3B-C9BC41C0E759}" type="presParOf" srcId="{0A59C0C0-0ABC-4D21-865C-4C6EBC4C472B}" destId="{B02F28BE-56B5-4B92-9E1F-F41676609931}" srcOrd="2" destOrd="0" presId="urn:microsoft.com/office/officeart/2008/layout/AccentedPicture"/>
    <dgm:cxn modelId="{5EFA0AEA-7BAF-49DD-89A1-E64AC0068D70}" type="presParOf" srcId="{B02F28BE-56B5-4B92-9E1F-F41676609931}" destId="{46F94229-04DE-4AAF-92AA-5BDC6BB793CA}" srcOrd="0" destOrd="0" presId="urn:microsoft.com/office/officeart/2008/layout/AccentedPicture"/>
    <dgm:cxn modelId="{63AE4362-FBE3-4A5F-9E48-3BD5DEA3560D}" type="presParOf" srcId="{718EA28D-01CE-41F7-87DE-134A02C5165B}" destId="{669B2514-EF99-48D5-B6F3-A9BC747CFBC0}" srcOrd="5" destOrd="0" presId="urn:microsoft.com/office/officeart/2008/layout/AccentedPicture"/>
    <dgm:cxn modelId="{AEDE6FE0-8AC9-43E7-B8A4-EB64D8194712}" type="presParOf" srcId="{718EA28D-01CE-41F7-87DE-134A02C5165B}" destId="{D24977A3-F44F-4C56-9939-08F88EDA87F3}" srcOrd="6" destOrd="0" presId="urn:microsoft.com/office/officeart/2008/layout/AccentedPicture"/>
    <dgm:cxn modelId="{8E345E34-BD60-4670-88E1-967114AFDF84}" type="presParOf" srcId="{D24977A3-F44F-4C56-9939-08F88EDA87F3}" destId="{4DD541C2-0637-4A67-AD98-FD0AFC8B6632}" srcOrd="0" destOrd="0" presId="urn:microsoft.com/office/officeart/2008/layout/AccentedPicture"/>
    <dgm:cxn modelId="{5D19BAD1-8F0C-4D2B-AD69-773E4DDA4409}" type="presParOf" srcId="{D24977A3-F44F-4C56-9939-08F88EDA87F3}" destId="{57EC1BD6-18E4-4015-8F7A-092B0F9617C5}" srcOrd="1" destOrd="0" presId="urn:microsoft.com/office/officeart/2008/layout/AccentedPicture"/>
    <dgm:cxn modelId="{5D2987A9-1431-4B1B-A5AB-E9C45E2C6971}" type="presParOf" srcId="{D24977A3-F44F-4C56-9939-08F88EDA87F3}" destId="{14DA1B9C-A1B5-4363-BB76-5451B3F06BA5}" srcOrd="2" destOrd="0" presId="urn:microsoft.com/office/officeart/2008/layout/AccentedPicture"/>
    <dgm:cxn modelId="{8FE78A90-BFD0-43DF-99FB-CF777001DD33}" type="presParOf" srcId="{14DA1B9C-A1B5-4363-BB76-5451B3F06BA5}" destId="{018370E7-8634-4BC6-9249-99505A31F8E3}" srcOrd="0" destOrd="0" presId="urn:microsoft.com/office/officeart/2008/layout/AccentedPicture"/>
    <dgm:cxn modelId="{3F78E698-EAE7-4E8C-860C-76BE44E94163}" type="presParOf" srcId="{6255BB09-0EC8-4357-96F7-79FE3D3B8095}" destId="{33AAE507-9FE2-4DC5-9ED4-C2D9C49A1A7F}" srcOrd="3" destOrd="0" presId="urn:microsoft.com/office/officeart/2008/layout/AccentedPicture"/>
    <dgm:cxn modelId="{02F3B5E5-FCB1-4140-9CBB-2497505CC424}" type="presParOf" srcId="{33AAE507-9FE2-4DC5-9ED4-C2D9C49A1A7F}" destId="{6B1C3C7E-F4C7-4BB2-821A-38D7994F1C97}" srcOrd="0" destOrd="0" presId="urn:microsoft.com/office/officeart/2008/layout/AccentedPictur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384935C-C5DD-4955-981D-D9A1C7EC1578}" type="doc">
      <dgm:prSet loTypeId="urn:microsoft.com/office/officeart/2008/layout/BendingPictureBlocks" loCatId="picture" qsTypeId="urn:microsoft.com/office/officeart/2005/8/quickstyle/simple2" qsCatId="simple" csTypeId="urn:microsoft.com/office/officeart/2005/8/colors/accent2_2" csCatId="accent2" phldr="1"/>
      <dgm:spPr/>
      <dgm:t>
        <a:bodyPr/>
        <a:lstStyle/>
        <a:p>
          <a:endParaRPr lang="en-US"/>
        </a:p>
      </dgm:t>
    </dgm:pt>
    <dgm:pt modelId="{B35391F9-D3C7-4C06-8A31-2F0EC3030B59}" type="asst">
      <dgm:prSet phldrT="[Text]" custT="1"/>
      <dgm:spPr/>
      <dgm:t>
        <a:bodyPr/>
        <a:lstStyle/>
        <a:p>
          <a:pPr algn="l">
            <a:lnSpc>
              <a:spcPct val="90000"/>
            </a:lnSpc>
          </a:pPr>
          <a:r>
            <a:rPr lang="en-US" sz="1600" b="1" dirty="0" smtClean="0"/>
            <a:t>1 – Repair Costs</a:t>
          </a:r>
        </a:p>
        <a:p>
          <a:pPr algn="l">
            <a:lnSpc>
              <a:spcPct val="90000"/>
            </a:lnSpc>
          </a:pPr>
          <a:r>
            <a:rPr lang="en-US" sz="1600" b="1" dirty="0" smtClean="0"/>
            <a:t>2 – O&amp;M Costs</a:t>
          </a:r>
        </a:p>
        <a:p>
          <a:pPr algn="l">
            <a:lnSpc>
              <a:spcPct val="90000"/>
            </a:lnSpc>
          </a:pPr>
          <a:r>
            <a:rPr lang="en-US" sz="1600" b="1" dirty="0" smtClean="0"/>
            <a:t>3 – Deductions</a:t>
          </a:r>
        </a:p>
        <a:p>
          <a:pPr algn="l">
            <a:lnSpc>
              <a:spcPct val="90000"/>
            </a:lnSpc>
          </a:pPr>
          <a:endParaRPr lang="en-US" sz="1200" b="1" dirty="0" smtClean="0"/>
        </a:p>
        <a:p>
          <a:pPr algn="l">
            <a:lnSpc>
              <a:spcPct val="150000"/>
            </a:lnSpc>
          </a:pPr>
          <a:r>
            <a:rPr lang="en-US" sz="1200" b="1" dirty="0" smtClean="0"/>
            <a:t>Example:</a:t>
          </a:r>
          <a:r>
            <a:rPr lang="en-US" sz="1200" dirty="0" smtClean="0"/>
            <a:t> </a:t>
          </a:r>
        </a:p>
        <a:p>
          <a:pPr algn="l">
            <a:lnSpc>
              <a:spcPct val="150000"/>
            </a:lnSpc>
          </a:pPr>
          <a:r>
            <a:rPr lang="en-US" sz="1200" i="1" dirty="0" smtClean="0"/>
            <a:t>There is a high risk the roadway will experience slope and surface failures as a result of over saturation and flooding, leading to closures, delays and failure to meet KPI s. </a:t>
          </a:r>
          <a:endParaRPr lang="en-US" sz="1200" dirty="0" smtClean="0"/>
        </a:p>
        <a:p>
          <a:pPr algn="l">
            <a:lnSpc>
              <a:spcPct val="150000"/>
            </a:lnSpc>
          </a:pPr>
          <a:r>
            <a:rPr lang="en-US" sz="1200" b="1" i="1" dirty="0" smtClean="0">
              <a:solidFill>
                <a:schemeClr val="tx1"/>
              </a:solidFill>
            </a:rPr>
            <a:t>Deductions</a:t>
          </a:r>
          <a:r>
            <a:rPr lang="en-US" sz="1200" i="1" dirty="0" smtClean="0"/>
            <a:t> are possible and additional labor to repair damage will increase </a:t>
          </a:r>
          <a:r>
            <a:rPr lang="en-US" sz="1200" b="1" i="1" dirty="0" smtClean="0">
              <a:solidFill>
                <a:schemeClr val="tx1"/>
              </a:solidFill>
            </a:rPr>
            <a:t>O&amp;M costs</a:t>
          </a:r>
          <a:r>
            <a:rPr lang="en-US" sz="1200" i="1" dirty="0" smtClean="0">
              <a:solidFill>
                <a:schemeClr val="tx1"/>
              </a:solidFill>
            </a:rPr>
            <a:t>.</a:t>
          </a:r>
          <a:endParaRPr lang="en-US" sz="1200" i="0" dirty="0">
            <a:solidFill>
              <a:schemeClr val="tx1"/>
            </a:solidFill>
            <a:latin typeface="+mn-lt"/>
            <a:cs typeface="Arial" panose="020B0604020202020204" pitchFamily="34" charset="0"/>
          </a:endParaRPr>
        </a:p>
      </dgm:t>
    </dgm:pt>
    <dgm:pt modelId="{B4DCB00F-54A1-47C0-A0E4-BB6C465CE742}" type="parTrans" cxnId="{45CF36AE-2FD3-447B-87FB-AE4D7AD2FB03}">
      <dgm:prSet/>
      <dgm:spPr/>
      <dgm:t>
        <a:bodyPr/>
        <a:lstStyle/>
        <a:p>
          <a:endParaRPr lang="en-US"/>
        </a:p>
      </dgm:t>
    </dgm:pt>
    <dgm:pt modelId="{ED89F502-389D-434E-88CD-6D0AB7C26BF4}" type="sibTrans" cxnId="{45CF36AE-2FD3-447B-87FB-AE4D7AD2FB03}">
      <dgm:prSet/>
      <dgm:spPr/>
      <dgm:t>
        <a:bodyPr/>
        <a:lstStyle/>
        <a:p>
          <a:endParaRPr lang="en-US"/>
        </a:p>
      </dgm:t>
    </dgm:pt>
    <dgm:pt modelId="{C245CC9E-C0EA-4877-A371-69B92322806B}" type="pres">
      <dgm:prSet presAssocID="{4384935C-C5DD-4955-981D-D9A1C7EC1578}" presName="Name0" presStyleCnt="0">
        <dgm:presLayoutVars>
          <dgm:dir/>
          <dgm:resizeHandles/>
        </dgm:presLayoutVars>
      </dgm:prSet>
      <dgm:spPr/>
      <dgm:t>
        <a:bodyPr/>
        <a:lstStyle/>
        <a:p>
          <a:endParaRPr lang="en-US"/>
        </a:p>
      </dgm:t>
    </dgm:pt>
    <dgm:pt modelId="{E75EEAC3-99F0-4FDF-835A-5E3707C98E3E}" type="pres">
      <dgm:prSet presAssocID="{B35391F9-D3C7-4C06-8A31-2F0EC3030B59}" presName="composite" presStyleCnt="0"/>
      <dgm:spPr/>
      <dgm:t>
        <a:bodyPr/>
        <a:lstStyle/>
        <a:p>
          <a:endParaRPr lang="en-US"/>
        </a:p>
      </dgm:t>
    </dgm:pt>
    <dgm:pt modelId="{B7125431-6238-4FCE-AEBA-CD584719F6C9}" type="pres">
      <dgm:prSet presAssocID="{B35391F9-D3C7-4C06-8A31-2F0EC3030B59}" presName="rect1" presStyleLbl="bgImgPlace1" presStyleIdx="0" presStyleCnt="1" custScaleY="112832" custLinFactNeighborX="41259" custLinFactNeighborY="-67164"/>
      <dgm:spPr>
        <a:prstGeom prst="ellipse">
          <a:avLst/>
        </a:prstGeom>
        <a:blipFill>
          <a:blip xmlns:r="http://schemas.openxmlformats.org/officeDocument/2006/relationships" r:embed="rId1">
            <a:duotone>
              <a:schemeClr val="accent2">
                <a:shade val="45000"/>
                <a:satMod val="135000"/>
              </a:schemeClr>
              <a:prstClr val="white"/>
            </a:duotone>
            <a:extLst>
              <a:ext uri="{28A0092B-C50C-407E-A947-70E740481C1C}">
                <a14:useLocalDpi xmlns:a14="http://schemas.microsoft.com/office/drawing/2010/main" val="0"/>
              </a:ext>
            </a:extLst>
          </a:blip>
          <a:srcRect/>
          <a:stretch>
            <a:fillRect t="-3000" b="-3000"/>
          </a:stretch>
        </a:blipFill>
      </dgm:spPr>
      <dgm:t>
        <a:bodyPr/>
        <a:lstStyle/>
        <a:p>
          <a:endParaRPr lang="en-US"/>
        </a:p>
      </dgm:t>
    </dgm:pt>
    <dgm:pt modelId="{0D0E88EA-4B09-422A-8FB1-A477460CE6A2}" type="pres">
      <dgm:prSet presAssocID="{B35391F9-D3C7-4C06-8A31-2F0EC3030B59}" presName="rect2" presStyleLbl="node1" presStyleIdx="0" presStyleCnt="1" custScaleX="184941" custScaleY="486733">
        <dgm:presLayoutVars>
          <dgm:bulletEnabled val="1"/>
        </dgm:presLayoutVars>
      </dgm:prSet>
      <dgm:spPr/>
      <dgm:t>
        <a:bodyPr/>
        <a:lstStyle/>
        <a:p>
          <a:endParaRPr lang="en-US"/>
        </a:p>
      </dgm:t>
    </dgm:pt>
  </dgm:ptLst>
  <dgm:cxnLst>
    <dgm:cxn modelId="{81AF3E2D-637F-4B48-A46F-76BE96C01975}" type="presOf" srcId="{B35391F9-D3C7-4C06-8A31-2F0EC3030B59}" destId="{0D0E88EA-4B09-422A-8FB1-A477460CE6A2}" srcOrd="0" destOrd="0" presId="urn:microsoft.com/office/officeart/2008/layout/BendingPictureBlocks"/>
    <dgm:cxn modelId="{B1B32673-E22A-40DD-8DA3-1CC72D13E2A9}" type="presOf" srcId="{4384935C-C5DD-4955-981D-D9A1C7EC1578}" destId="{C245CC9E-C0EA-4877-A371-69B92322806B}" srcOrd="0" destOrd="0" presId="urn:microsoft.com/office/officeart/2008/layout/BendingPictureBlocks"/>
    <dgm:cxn modelId="{45CF36AE-2FD3-447B-87FB-AE4D7AD2FB03}" srcId="{4384935C-C5DD-4955-981D-D9A1C7EC1578}" destId="{B35391F9-D3C7-4C06-8A31-2F0EC3030B59}" srcOrd="0" destOrd="0" parTransId="{B4DCB00F-54A1-47C0-A0E4-BB6C465CE742}" sibTransId="{ED89F502-389D-434E-88CD-6D0AB7C26BF4}"/>
    <dgm:cxn modelId="{D96D1F3E-70A9-4864-9E5B-10C199559E1C}" type="presParOf" srcId="{C245CC9E-C0EA-4877-A371-69B92322806B}" destId="{E75EEAC3-99F0-4FDF-835A-5E3707C98E3E}" srcOrd="0" destOrd="0" presId="urn:microsoft.com/office/officeart/2008/layout/BendingPictureBlocks"/>
    <dgm:cxn modelId="{D4EE10A5-3AEF-46FD-8AC7-2ADE34BA225E}" type="presParOf" srcId="{E75EEAC3-99F0-4FDF-835A-5E3707C98E3E}" destId="{B7125431-6238-4FCE-AEBA-CD584719F6C9}" srcOrd="0" destOrd="0" presId="urn:microsoft.com/office/officeart/2008/layout/BendingPictureBlocks"/>
    <dgm:cxn modelId="{B05E1CE9-3530-4125-876B-8B8948490B77}" type="presParOf" srcId="{E75EEAC3-99F0-4FDF-835A-5E3707C98E3E}" destId="{0D0E88EA-4B09-422A-8FB1-A477460CE6A2}" srcOrd="1" destOrd="0" presId="urn:microsoft.com/office/officeart/2008/layout/BendingPicture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F68A551-7E43-408A-B317-B66459EA04D9}" type="doc">
      <dgm:prSet loTypeId="urn:microsoft.com/office/officeart/2005/8/layout/lProcess2" loCatId="list" qsTypeId="urn:microsoft.com/office/officeart/2005/8/quickstyle/simple1" qsCatId="simple" csTypeId="urn:microsoft.com/office/officeart/2005/8/colors/accent2_2" csCatId="accent2" phldr="1"/>
      <dgm:spPr/>
      <dgm:t>
        <a:bodyPr/>
        <a:lstStyle/>
        <a:p>
          <a:endParaRPr lang="en-US"/>
        </a:p>
      </dgm:t>
    </dgm:pt>
    <dgm:pt modelId="{3F3F95B3-9EEB-48B0-9B79-C84406B165FC}">
      <dgm:prSet phldrT="[Text]"/>
      <dgm:spPr>
        <a:xfrm>
          <a:off x="742376" y="968662"/>
          <a:ext cx="1295036" cy="415688"/>
        </a:xfrm>
      </dgm:spPr>
      <dgm:t>
        <a:bodyPr/>
        <a:lstStyle/>
        <a:p>
          <a:r>
            <a:rPr lang="en-US" b="1">
              <a:latin typeface="Times New Roman" panose="02020603050405020304"/>
              <a:ea typeface="+mn-ea"/>
              <a:cs typeface="+mn-cs"/>
            </a:rPr>
            <a:t>Material Costs</a:t>
          </a:r>
        </a:p>
      </dgm:t>
    </dgm:pt>
    <dgm:pt modelId="{2E4DE36E-D491-49AA-8DB8-57902F107C9F}" type="parTrans" cxnId="{71432C69-62CE-4A90-B5A4-780DECB4A97B}">
      <dgm:prSet/>
      <dgm:spPr/>
      <dgm:t>
        <a:bodyPr/>
        <a:lstStyle/>
        <a:p>
          <a:endParaRPr lang="en-US"/>
        </a:p>
      </dgm:t>
    </dgm:pt>
    <dgm:pt modelId="{754B3D68-21A5-456C-8C02-DC8D25C45CDD}" type="sibTrans" cxnId="{71432C69-62CE-4A90-B5A4-780DECB4A97B}">
      <dgm:prSet/>
      <dgm:spPr/>
      <dgm:t>
        <a:bodyPr/>
        <a:lstStyle/>
        <a:p>
          <a:endParaRPr lang="en-US"/>
        </a:p>
      </dgm:t>
    </dgm:pt>
    <dgm:pt modelId="{4CE9E562-3FE6-407F-8CE1-30BC68127994}">
      <dgm:prSet phldrT="[Text]"/>
      <dgm:spPr>
        <a:xfrm>
          <a:off x="742376" y="1945"/>
          <a:ext cx="1295036" cy="966717"/>
        </a:xfrm>
      </dgm:spPr>
      <dgm:t>
        <a:bodyPr/>
        <a:lstStyle/>
        <a:p>
          <a:r>
            <a:rPr lang="en-US">
              <a:latin typeface="Times New Roman" panose="02020603050405020304"/>
              <a:ea typeface="+mn-ea"/>
              <a:cs typeface="+mn-cs"/>
            </a:rPr>
            <a:t>Concrete</a:t>
          </a:r>
        </a:p>
      </dgm:t>
    </dgm:pt>
    <dgm:pt modelId="{D8776E7A-98C7-4564-B0E9-512B122EA563}" type="parTrans" cxnId="{C55C3E49-43A1-4CB7-9DF6-1487AB76A42E}">
      <dgm:prSet/>
      <dgm:spPr/>
      <dgm:t>
        <a:bodyPr/>
        <a:lstStyle/>
        <a:p>
          <a:endParaRPr lang="en-US"/>
        </a:p>
      </dgm:t>
    </dgm:pt>
    <dgm:pt modelId="{DB85C9A5-FB34-4EC5-8913-D5342840D893}" type="sibTrans" cxnId="{C55C3E49-43A1-4CB7-9DF6-1487AB76A42E}">
      <dgm:prSet/>
      <dgm:spPr/>
      <dgm:t>
        <a:bodyPr/>
        <a:lstStyle/>
        <a:p>
          <a:endParaRPr lang="en-US"/>
        </a:p>
      </dgm:t>
    </dgm:pt>
    <dgm:pt modelId="{D9F5310C-4511-455F-92A9-00BA44C19991}">
      <dgm:prSet phldrT="[Text]"/>
      <dgm:spPr>
        <a:xfrm>
          <a:off x="2256564" y="968662"/>
          <a:ext cx="1295036" cy="415688"/>
        </a:xfrm>
      </dgm:spPr>
      <dgm:t>
        <a:bodyPr/>
        <a:lstStyle/>
        <a:p>
          <a:r>
            <a:rPr lang="en-US" b="1">
              <a:latin typeface="Times New Roman" panose="02020603050405020304"/>
              <a:ea typeface="+mn-ea"/>
              <a:cs typeface="+mn-cs"/>
            </a:rPr>
            <a:t>Labor Costs</a:t>
          </a:r>
        </a:p>
      </dgm:t>
    </dgm:pt>
    <dgm:pt modelId="{F876E5C5-70A4-4EB4-9ACC-9655F9E43614}" type="parTrans" cxnId="{D4A3403F-B5B7-4048-B404-AD9043F74445}">
      <dgm:prSet/>
      <dgm:spPr/>
      <dgm:t>
        <a:bodyPr/>
        <a:lstStyle/>
        <a:p>
          <a:endParaRPr lang="en-US"/>
        </a:p>
      </dgm:t>
    </dgm:pt>
    <dgm:pt modelId="{47F70D03-E16E-493E-818D-4523158665EF}" type="sibTrans" cxnId="{D4A3403F-B5B7-4048-B404-AD9043F74445}">
      <dgm:prSet/>
      <dgm:spPr/>
      <dgm:t>
        <a:bodyPr/>
        <a:lstStyle/>
        <a:p>
          <a:endParaRPr lang="en-US"/>
        </a:p>
      </dgm:t>
    </dgm:pt>
    <dgm:pt modelId="{6ECD7908-6F5B-4AB4-B281-C507AFBD4C3E}">
      <dgm:prSet phldrT="[Text]"/>
      <dgm:spPr>
        <a:xfrm>
          <a:off x="2256564" y="1945"/>
          <a:ext cx="1295036" cy="966717"/>
        </a:xfrm>
      </dgm:spPr>
      <dgm:t>
        <a:bodyPr/>
        <a:lstStyle/>
        <a:p>
          <a:r>
            <a:rPr lang="en-US">
              <a:latin typeface="Times New Roman" panose="02020603050405020304"/>
              <a:ea typeface="+mn-ea"/>
              <a:cs typeface="+mn-cs"/>
            </a:rPr>
            <a:t>Person</a:t>
          </a:r>
        </a:p>
      </dgm:t>
    </dgm:pt>
    <dgm:pt modelId="{002E5A4A-5820-4F27-93AA-C5A5122CD0A1}" type="parTrans" cxnId="{FD6BEDF7-1082-421B-A488-56BC16FBFAB9}">
      <dgm:prSet/>
      <dgm:spPr/>
      <dgm:t>
        <a:bodyPr/>
        <a:lstStyle/>
        <a:p>
          <a:endParaRPr lang="en-US"/>
        </a:p>
      </dgm:t>
    </dgm:pt>
    <dgm:pt modelId="{7AAB4C61-513F-4B36-BF6A-9C61E0A72952}" type="sibTrans" cxnId="{FD6BEDF7-1082-421B-A488-56BC16FBFAB9}">
      <dgm:prSet/>
      <dgm:spPr/>
      <dgm:t>
        <a:bodyPr/>
        <a:lstStyle/>
        <a:p>
          <a:endParaRPr lang="en-US"/>
        </a:p>
      </dgm:t>
    </dgm:pt>
    <dgm:pt modelId="{A630C113-DA40-478A-9754-EC83605356CA}">
      <dgm:prSet phldrT="[Text]"/>
      <dgm:spPr>
        <a:xfrm>
          <a:off x="3770753" y="968662"/>
          <a:ext cx="1295036" cy="415688"/>
        </a:xfrm>
      </dgm:spPr>
      <dgm:t>
        <a:bodyPr/>
        <a:lstStyle/>
        <a:p>
          <a:r>
            <a:rPr lang="en-US" b="1">
              <a:latin typeface="Times New Roman" panose="02020603050405020304"/>
              <a:ea typeface="+mn-ea"/>
              <a:cs typeface="+mn-cs"/>
            </a:rPr>
            <a:t>Losses</a:t>
          </a:r>
        </a:p>
      </dgm:t>
    </dgm:pt>
    <dgm:pt modelId="{E16659A8-9B51-4CF4-AA64-4920F3F5DD41}" type="parTrans" cxnId="{BAD3E0E3-C01B-4610-9848-4B170CE2BB44}">
      <dgm:prSet/>
      <dgm:spPr/>
      <dgm:t>
        <a:bodyPr/>
        <a:lstStyle/>
        <a:p>
          <a:endParaRPr lang="en-US"/>
        </a:p>
      </dgm:t>
    </dgm:pt>
    <dgm:pt modelId="{A3B7FF09-911C-49BF-98BB-E2FD6BBF744B}" type="sibTrans" cxnId="{BAD3E0E3-C01B-4610-9848-4B170CE2BB44}">
      <dgm:prSet/>
      <dgm:spPr/>
      <dgm:t>
        <a:bodyPr/>
        <a:lstStyle/>
        <a:p>
          <a:endParaRPr lang="en-US"/>
        </a:p>
      </dgm:t>
    </dgm:pt>
    <dgm:pt modelId="{BBD7B213-F004-4007-B073-BA0AFB9DAE02}">
      <dgm:prSet phldrT="[Text]"/>
      <dgm:spPr>
        <a:xfrm>
          <a:off x="3770753" y="1945"/>
          <a:ext cx="1295036" cy="966717"/>
        </a:xfrm>
        <a:ln>
          <a:solidFill>
            <a:schemeClr val="bg1"/>
          </a:solidFill>
        </a:ln>
      </dgm:spPr>
      <dgm:t>
        <a:bodyPr/>
        <a:lstStyle/>
        <a:p>
          <a:r>
            <a:rPr lang="en-US">
              <a:latin typeface="Times New Roman" panose="02020603050405020304"/>
              <a:ea typeface="+mn-ea"/>
              <a:cs typeface="+mn-cs"/>
            </a:rPr>
            <a:t>Crossings</a:t>
          </a:r>
        </a:p>
      </dgm:t>
    </dgm:pt>
    <dgm:pt modelId="{B626C08D-5656-409A-8635-7025CD88A70C}" type="parTrans" cxnId="{53BA3C5B-0019-403F-BC20-B04A62A436CF}">
      <dgm:prSet/>
      <dgm:spPr/>
      <dgm:t>
        <a:bodyPr/>
        <a:lstStyle/>
        <a:p>
          <a:endParaRPr lang="en-US"/>
        </a:p>
      </dgm:t>
    </dgm:pt>
    <dgm:pt modelId="{6A03D9BE-7993-4DE8-921D-10A623A540EB}" type="sibTrans" cxnId="{53BA3C5B-0019-403F-BC20-B04A62A436CF}">
      <dgm:prSet/>
      <dgm:spPr/>
      <dgm:t>
        <a:bodyPr/>
        <a:lstStyle/>
        <a:p>
          <a:endParaRPr lang="en-US"/>
        </a:p>
      </dgm:t>
    </dgm:pt>
    <dgm:pt modelId="{CADE6A3C-0098-4BAF-9975-D9A973030982}">
      <dgm:prSet phldrT="[Text]"/>
      <dgm:spPr>
        <a:xfrm>
          <a:off x="742376" y="2679163"/>
          <a:ext cx="1295036" cy="415688"/>
        </a:xfrm>
      </dgm:spPr>
      <dgm:t>
        <a:bodyPr/>
        <a:lstStyle/>
        <a:p>
          <a:r>
            <a:rPr lang="en-US" b="1">
              <a:latin typeface="Times New Roman" panose="02020603050405020304"/>
              <a:ea typeface="+mn-ea"/>
              <a:cs typeface="+mn-cs"/>
            </a:rPr>
            <a:t>Operations Performance</a:t>
          </a:r>
        </a:p>
      </dgm:t>
    </dgm:pt>
    <dgm:pt modelId="{2C6D08D8-77A6-4E71-8622-D93E803294E6}" type="parTrans" cxnId="{07A99C1C-F229-4FCE-8114-D974C903079C}">
      <dgm:prSet/>
      <dgm:spPr/>
      <dgm:t>
        <a:bodyPr/>
        <a:lstStyle/>
        <a:p>
          <a:endParaRPr lang="en-US"/>
        </a:p>
      </dgm:t>
    </dgm:pt>
    <dgm:pt modelId="{2F6BEC9C-D18D-431C-94A1-65F0FB6826DF}" type="sibTrans" cxnId="{07A99C1C-F229-4FCE-8114-D974C903079C}">
      <dgm:prSet/>
      <dgm:spPr/>
      <dgm:t>
        <a:bodyPr/>
        <a:lstStyle/>
        <a:p>
          <a:endParaRPr lang="en-US"/>
        </a:p>
      </dgm:t>
    </dgm:pt>
    <dgm:pt modelId="{B56DA29E-7137-4D44-96FE-08794490ABBD}">
      <dgm:prSet phldrT="[Text]"/>
      <dgm:spPr>
        <a:xfrm>
          <a:off x="2256564" y="2679163"/>
          <a:ext cx="1295036" cy="415688"/>
        </a:xfrm>
      </dgm:spPr>
      <dgm:t>
        <a:bodyPr/>
        <a:lstStyle/>
        <a:p>
          <a:r>
            <a:rPr lang="en-US" b="1">
              <a:latin typeface="Times New Roman" panose="02020603050405020304"/>
              <a:ea typeface="+mn-ea"/>
              <a:cs typeface="+mn-cs"/>
            </a:rPr>
            <a:t>Maintainence Performance</a:t>
          </a:r>
        </a:p>
      </dgm:t>
    </dgm:pt>
    <dgm:pt modelId="{5C308700-BCA5-40CD-9848-48B6FDF0A893}" type="parTrans" cxnId="{29FF8C78-0F9C-422F-8404-AF40EC660FDC}">
      <dgm:prSet/>
      <dgm:spPr/>
      <dgm:t>
        <a:bodyPr/>
        <a:lstStyle/>
        <a:p>
          <a:endParaRPr lang="en-US"/>
        </a:p>
      </dgm:t>
    </dgm:pt>
    <dgm:pt modelId="{B60F70D2-D5FC-467C-9E30-7E4E891A5BEF}" type="sibTrans" cxnId="{29FF8C78-0F9C-422F-8404-AF40EC660FDC}">
      <dgm:prSet/>
      <dgm:spPr/>
      <dgm:t>
        <a:bodyPr/>
        <a:lstStyle/>
        <a:p>
          <a:endParaRPr lang="en-US"/>
        </a:p>
      </dgm:t>
    </dgm:pt>
    <dgm:pt modelId="{934AD681-DBD8-45AF-AAB6-CEC2DC16A520}">
      <dgm:prSet phldrT="[Text]"/>
      <dgm:spPr>
        <a:xfrm>
          <a:off x="742376" y="1712445"/>
          <a:ext cx="1295036" cy="966717"/>
        </a:xfrm>
        <a:ln>
          <a:solidFill>
            <a:schemeClr val="tx1"/>
          </a:solidFill>
        </a:ln>
      </dgm:spPr>
      <dgm:t>
        <a:bodyPr/>
        <a:lstStyle/>
        <a:p>
          <a:r>
            <a:rPr lang="en-US" b="0">
              <a:latin typeface="Times New Roman" panose="02020603050405020304"/>
              <a:ea typeface="+mn-ea"/>
              <a:cs typeface="+mn-cs"/>
            </a:rPr>
            <a:t>Closures</a:t>
          </a:r>
        </a:p>
      </dgm:t>
    </dgm:pt>
    <dgm:pt modelId="{EA86F5E3-C6A4-4E6C-AB62-210CAAF1D3EF}" type="parTrans" cxnId="{CF6BF33D-4C5A-4B05-8C7F-5B4CEEA8AAE3}">
      <dgm:prSet/>
      <dgm:spPr/>
      <dgm:t>
        <a:bodyPr/>
        <a:lstStyle/>
        <a:p>
          <a:endParaRPr lang="en-US"/>
        </a:p>
      </dgm:t>
    </dgm:pt>
    <dgm:pt modelId="{7FD2EBD7-5519-483C-8C33-BFC033668FDE}" type="sibTrans" cxnId="{CF6BF33D-4C5A-4B05-8C7F-5B4CEEA8AAE3}">
      <dgm:prSet/>
      <dgm:spPr/>
      <dgm:t>
        <a:bodyPr/>
        <a:lstStyle/>
        <a:p>
          <a:endParaRPr lang="en-US"/>
        </a:p>
      </dgm:t>
    </dgm:pt>
    <dgm:pt modelId="{A15EA1DA-247C-484A-80A0-DF1752D9D38F}">
      <dgm:prSet phldrT="[Text]"/>
      <dgm:spPr>
        <a:xfrm>
          <a:off x="2256564" y="1712445"/>
          <a:ext cx="1295036" cy="966717"/>
        </a:xfrm>
        <a:ln>
          <a:solidFill>
            <a:schemeClr val="bg1"/>
          </a:solidFill>
        </a:ln>
      </dgm:spPr>
      <dgm:t>
        <a:bodyPr/>
        <a:lstStyle/>
        <a:p>
          <a:r>
            <a:rPr lang="en-US">
              <a:latin typeface="Times New Roman" panose="02020603050405020304"/>
              <a:ea typeface="+mn-ea"/>
              <a:cs typeface="+mn-cs"/>
            </a:rPr>
            <a:t>Potholes</a:t>
          </a:r>
        </a:p>
      </dgm:t>
    </dgm:pt>
    <dgm:pt modelId="{EF20EC1D-F171-45D0-BCBE-0130A6990045}" type="parTrans" cxnId="{73C2E74E-2744-46A0-A3DF-52A813604B1E}">
      <dgm:prSet/>
      <dgm:spPr/>
      <dgm:t>
        <a:bodyPr/>
        <a:lstStyle/>
        <a:p>
          <a:endParaRPr lang="en-US"/>
        </a:p>
      </dgm:t>
    </dgm:pt>
    <dgm:pt modelId="{71777BA1-5B5B-48F7-8AE9-C24CBE90250D}" type="sibTrans" cxnId="{73C2E74E-2744-46A0-A3DF-52A813604B1E}">
      <dgm:prSet/>
      <dgm:spPr/>
      <dgm:t>
        <a:bodyPr/>
        <a:lstStyle/>
        <a:p>
          <a:endParaRPr lang="en-US"/>
        </a:p>
      </dgm:t>
    </dgm:pt>
    <dgm:pt modelId="{B4B241C2-B24F-44D0-BFE0-497648340376}">
      <dgm:prSet phldrT="[Text]"/>
      <dgm:spPr>
        <a:xfrm>
          <a:off x="3770753" y="1712445"/>
          <a:ext cx="1295036" cy="966717"/>
        </a:xfrm>
      </dgm:spPr>
      <dgm:t>
        <a:bodyPr/>
        <a:lstStyle/>
        <a:p>
          <a:r>
            <a:rPr lang="en-US">
              <a:latin typeface="Times New Roman" panose="02020603050405020304"/>
              <a:ea typeface="+mn-ea"/>
              <a:cs typeface="+mn-cs"/>
            </a:rPr>
            <a:t>Vegitation</a:t>
          </a:r>
        </a:p>
      </dgm:t>
    </dgm:pt>
    <dgm:pt modelId="{222A7C1B-A9D3-423B-9CFF-B1DA15EF6498}" type="parTrans" cxnId="{5FC3245D-9CF5-477A-B20A-AFB900C2C2FB}">
      <dgm:prSet/>
      <dgm:spPr/>
      <dgm:t>
        <a:bodyPr/>
        <a:lstStyle/>
        <a:p>
          <a:endParaRPr lang="en-US"/>
        </a:p>
      </dgm:t>
    </dgm:pt>
    <dgm:pt modelId="{0A48D954-19FC-4028-B6B4-848C6909EE25}" type="sibTrans" cxnId="{5FC3245D-9CF5-477A-B20A-AFB900C2C2FB}">
      <dgm:prSet/>
      <dgm:spPr/>
      <dgm:t>
        <a:bodyPr/>
        <a:lstStyle/>
        <a:p>
          <a:endParaRPr lang="en-US"/>
        </a:p>
      </dgm:t>
    </dgm:pt>
    <dgm:pt modelId="{DA1FBAA2-DD42-4C54-B804-156F3ED215A0}">
      <dgm:prSet phldrT="[Text]"/>
      <dgm:spPr>
        <a:xfrm>
          <a:off x="2256564" y="1945"/>
          <a:ext cx="1295036" cy="966717"/>
        </a:xfrm>
      </dgm:spPr>
      <dgm:t>
        <a:bodyPr/>
        <a:lstStyle/>
        <a:p>
          <a:r>
            <a:rPr lang="en-US">
              <a:latin typeface="Times New Roman" panose="02020603050405020304"/>
              <a:ea typeface="+mn-ea"/>
              <a:cs typeface="+mn-cs"/>
            </a:rPr>
            <a:t>Truck</a:t>
          </a:r>
        </a:p>
      </dgm:t>
    </dgm:pt>
    <dgm:pt modelId="{63F08C69-C4C6-42C9-9912-CE1CBAD732EB}" type="parTrans" cxnId="{BA2E6923-2171-4626-A5D0-A0F276AFCD88}">
      <dgm:prSet/>
      <dgm:spPr/>
      <dgm:t>
        <a:bodyPr/>
        <a:lstStyle/>
        <a:p>
          <a:endParaRPr lang="en-US"/>
        </a:p>
      </dgm:t>
    </dgm:pt>
    <dgm:pt modelId="{7AE585B0-6B4A-444D-9733-F6AB43544759}" type="sibTrans" cxnId="{BA2E6923-2171-4626-A5D0-A0F276AFCD88}">
      <dgm:prSet/>
      <dgm:spPr/>
      <dgm:t>
        <a:bodyPr/>
        <a:lstStyle/>
        <a:p>
          <a:endParaRPr lang="en-US"/>
        </a:p>
      </dgm:t>
    </dgm:pt>
    <dgm:pt modelId="{83393304-4AD9-4C5B-AF48-27D862C55F72}">
      <dgm:prSet phldrT="[Text]"/>
      <dgm:spPr>
        <a:xfrm>
          <a:off x="2256564" y="1945"/>
          <a:ext cx="1295036" cy="966717"/>
        </a:xfrm>
      </dgm:spPr>
      <dgm:t>
        <a:bodyPr/>
        <a:lstStyle/>
        <a:p>
          <a:r>
            <a:rPr lang="en-US">
              <a:latin typeface="Times New Roman" panose="02020603050405020304"/>
              <a:ea typeface="+mn-ea"/>
              <a:cs typeface="+mn-cs"/>
            </a:rPr>
            <a:t>Heavy Equipment</a:t>
          </a:r>
        </a:p>
      </dgm:t>
    </dgm:pt>
    <dgm:pt modelId="{F4AE1700-77A1-4B47-A0DC-D6EA6B68D517}" type="parTrans" cxnId="{10D0A68B-51A2-401F-AA40-F1CE7B6495A1}">
      <dgm:prSet/>
      <dgm:spPr/>
      <dgm:t>
        <a:bodyPr/>
        <a:lstStyle/>
        <a:p>
          <a:endParaRPr lang="en-US"/>
        </a:p>
      </dgm:t>
    </dgm:pt>
    <dgm:pt modelId="{529B5AB2-CB2C-4024-9216-BBAF02C2DF03}" type="sibTrans" cxnId="{10D0A68B-51A2-401F-AA40-F1CE7B6495A1}">
      <dgm:prSet/>
      <dgm:spPr/>
      <dgm:t>
        <a:bodyPr/>
        <a:lstStyle/>
        <a:p>
          <a:endParaRPr lang="en-US"/>
        </a:p>
      </dgm:t>
    </dgm:pt>
    <dgm:pt modelId="{0CD0DDAF-039C-4FF3-9CB2-A945878277AB}">
      <dgm:prSet phldrT="[Text]"/>
      <dgm:spPr>
        <a:xfrm>
          <a:off x="742376" y="1712445"/>
          <a:ext cx="1295036" cy="966717"/>
        </a:xfrm>
        <a:ln>
          <a:solidFill>
            <a:schemeClr val="bg1"/>
          </a:solidFill>
        </a:ln>
      </dgm:spPr>
      <dgm:t>
        <a:bodyPr/>
        <a:lstStyle/>
        <a:p>
          <a:r>
            <a:rPr lang="en-US" b="0">
              <a:latin typeface="Times New Roman" panose="02020603050405020304"/>
              <a:ea typeface="+mn-ea"/>
              <a:cs typeface="+mn-cs"/>
            </a:rPr>
            <a:t>Accidents</a:t>
          </a:r>
        </a:p>
      </dgm:t>
    </dgm:pt>
    <dgm:pt modelId="{E67D1DB4-2411-4A6D-B99D-E64C6ACD6D85}" type="parTrans" cxnId="{DF84974B-5243-4EFF-A152-B6FBF53AEFCA}">
      <dgm:prSet/>
      <dgm:spPr/>
      <dgm:t>
        <a:bodyPr/>
        <a:lstStyle/>
        <a:p>
          <a:endParaRPr lang="en-US"/>
        </a:p>
      </dgm:t>
    </dgm:pt>
    <dgm:pt modelId="{2F174FE7-7521-42E9-9565-7749B6E38CD0}" type="sibTrans" cxnId="{DF84974B-5243-4EFF-A152-B6FBF53AEFCA}">
      <dgm:prSet/>
      <dgm:spPr/>
      <dgm:t>
        <a:bodyPr/>
        <a:lstStyle/>
        <a:p>
          <a:endParaRPr lang="en-US"/>
        </a:p>
      </dgm:t>
    </dgm:pt>
    <dgm:pt modelId="{2CC241A4-A199-477E-9411-E482481D33F9}">
      <dgm:prSet phldrT="[Text]"/>
      <dgm:spPr>
        <a:xfrm>
          <a:off x="742376" y="1712445"/>
          <a:ext cx="1295036" cy="966717"/>
        </a:xfrm>
        <a:ln>
          <a:solidFill>
            <a:schemeClr val="tx1"/>
          </a:solidFill>
        </a:ln>
      </dgm:spPr>
      <dgm:t>
        <a:bodyPr/>
        <a:lstStyle/>
        <a:p>
          <a:r>
            <a:rPr lang="en-US" b="0">
              <a:latin typeface="Times New Roman" panose="02020603050405020304"/>
              <a:ea typeface="+mn-ea"/>
              <a:cs typeface="+mn-cs"/>
            </a:rPr>
            <a:t>Delays</a:t>
          </a:r>
        </a:p>
      </dgm:t>
    </dgm:pt>
    <dgm:pt modelId="{11E44B46-BC17-48FB-9B06-5E860BB9CD5C}" type="parTrans" cxnId="{B1C6A9EC-A8B8-432F-887D-66C5B66FF7EA}">
      <dgm:prSet/>
      <dgm:spPr/>
      <dgm:t>
        <a:bodyPr/>
        <a:lstStyle/>
        <a:p>
          <a:endParaRPr lang="en-US"/>
        </a:p>
      </dgm:t>
    </dgm:pt>
    <dgm:pt modelId="{CFF742CF-DCF5-4DBA-84A5-95ED87F959EA}" type="sibTrans" cxnId="{B1C6A9EC-A8B8-432F-887D-66C5B66FF7EA}">
      <dgm:prSet/>
      <dgm:spPr/>
      <dgm:t>
        <a:bodyPr/>
        <a:lstStyle/>
        <a:p>
          <a:endParaRPr lang="en-US"/>
        </a:p>
      </dgm:t>
    </dgm:pt>
    <dgm:pt modelId="{3A7D99EA-A0BE-4ADE-90EB-541506F0DAA8}">
      <dgm:prSet phldrT="[Text]"/>
      <dgm:spPr>
        <a:xfrm>
          <a:off x="742376" y="1945"/>
          <a:ext cx="1295036" cy="966717"/>
        </a:xfrm>
      </dgm:spPr>
      <dgm:t>
        <a:bodyPr/>
        <a:lstStyle/>
        <a:p>
          <a:r>
            <a:rPr lang="en-US">
              <a:latin typeface="Times New Roman" panose="02020603050405020304"/>
              <a:ea typeface="+mn-ea"/>
              <a:cs typeface="+mn-cs"/>
            </a:rPr>
            <a:t>Gravel</a:t>
          </a:r>
        </a:p>
      </dgm:t>
    </dgm:pt>
    <dgm:pt modelId="{702981CB-634E-45F2-82AE-F6C87882C03B}" type="parTrans" cxnId="{405A0106-3F71-4E55-9780-AC5CE8145D9A}">
      <dgm:prSet/>
      <dgm:spPr/>
      <dgm:t>
        <a:bodyPr/>
        <a:lstStyle/>
        <a:p>
          <a:endParaRPr lang="en-US"/>
        </a:p>
      </dgm:t>
    </dgm:pt>
    <dgm:pt modelId="{0B3EC0EC-DA0A-42C8-9B25-5AE97BE611D5}" type="sibTrans" cxnId="{405A0106-3F71-4E55-9780-AC5CE8145D9A}">
      <dgm:prSet/>
      <dgm:spPr/>
      <dgm:t>
        <a:bodyPr/>
        <a:lstStyle/>
        <a:p>
          <a:endParaRPr lang="en-US"/>
        </a:p>
      </dgm:t>
    </dgm:pt>
    <dgm:pt modelId="{D1D59C95-D2B4-432B-B956-0AE441DD0493}">
      <dgm:prSet phldrT="[Text]"/>
      <dgm:spPr>
        <a:xfrm>
          <a:off x="742376" y="1945"/>
          <a:ext cx="1295036" cy="966717"/>
        </a:xfrm>
      </dgm:spPr>
      <dgm:t>
        <a:bodyPr/>
        <a:lstStyle/>
        <a:p>
          <a:r>
            <a:rPr lang="en-US">
              <a:latin typeface="Times New Roman" panose="02020603050405020304"/>
              <a:ea typeface="+mn-ea"/>
              <a:cs typeface="+mn-cs"/>
            </a:rPr>
            <a:t>Stone</a:t>
          </a:r>
        </a:p>
      </dgm:t>
    </dgm:pt>
    <dgm:pt modelId="{0C83D02E-F3C2-46CC-80CF-E485C825159A}" type="parTrans" cxnId="{B3A3F05D-8FCB-48AB-BAB8-1545DC0EB021}">
      <dgm:prSet/>
      <dgm:spPr/>
      <dgm:t>
        <a:bodyPr/>
        <a:lstStyle/>
        <a:p>
          <a:endParaRPr lang="en-US"/>
        </a:p>
      </dgm:t>
    </dgm:pt>
    <dgm:pt modelId="{2DE3A07A-D215-4813-B2DB-8D376BACD198}" type="sibTrans" cxnId="{B3A3F05D-8FCB-48AB-BAB8-1545DC0EB021}">
      <dgm:prSet/>
      <dgm:spPr/>
      <dgm:t>
        <a:bodyPr/>
        <a:lstStyle/>
        <a:p>
          <a:endParaRPr lang="en-US"/>
        </a:p>
      </dgm:t>
    </dgm:pt>
    <dgm:pt modelId="{4C0D835A-B65A-44C2-BB43-0C37904F64EB}">
      <dgm:prSet phldrT="[Text]"/>
      <dgm:spPr>
        <a:xfrm>
          <a:off x="742376" y="1945"/>
          <a:ext cx="1295036" cy="966717"/>
        </a:xfrm>
      </dgm:spPr>
      <dgm:t>
        <a:bodyPr/>
        <a:lstStyle/>
        <a:p>
          <a:r>
            <a:rPr lang="en-US">
              <a:latin typeface="Times New Roman" panose="02020603050405020304"/>
              <a:ea typeface="+mn-ea"/>
              <a:cs typeface="+mn-cs"/>
            </a:rPr>
            <a:t>Steal</a:t>
          </a:r>
        </a:p>
      </dgm:t>
    </dgm:pt>
    <dgm:pt modelId="{04241C9D-AE49-448C-A4EA-291A96CA4473}" type="parTrans" cxnId="{28571303-A53F-48EA-A929-A8E469B55109}">
      <dgm:prSet/>
      <dgm:spPr/>
      <dgm:t>
        <a:bodyPr/>
        <a:lstStyle/>
        <a:p>
          <a:endParaRPr lang="en-US"/>
        </a:p>
      </dgm:t>
    </dgm:pt>
    <dgm:pt modelId="{97F64DCB-4967-4226-A605-CF8D662B9918}" type="sibTrans" cxnId="{28571303-A53F-48EA-A929-A8E469B55109}">
      <dgm:prSet/>
      <dgm:spPr/>
      <dgm:t>
        <a:bodyPr/>
        <a:lstStyle/>
        <a:p>
          <a:endParaRPr lang="en-US"/>
        </a:p>
      </dgm:t>
    </dgm:pt>
    <dgm:pt modelId="{2F150AFA-A4ED-4B63-9B0D-D68E6361C285}">
      <dgm:prSet phldrT="[Text]"/>
      <dgm:spPr>
        <a:xfrm>
          <a:off x="2256564" y="1712445"/>
          <a:ext cx="1295036" cy="966717"/>
        </a:xfrm>
        <a:ln>
          <a:solidFill>
            <a:schemeClr val="tx1"/>
          </a:solidFill>
        </a:ln>
      </dgm:spPr>
      <dgm:t>
        <a:bodyPr/>
        <a:lstStyle/>
        <a:p>
          <a:r>
            <a:rPr lang="en-US">
              <a:latin typeface="Times New Roman" panose="02020603050405020304"/>
              <a:ea typeface="+mn-ea"/>
              <a:cs typeface="+mn-cs"/>
            </a:rPr>
            <a:t>Slides</a:t>
          </a:r>
        </a:p>
      </dgm:t>
    </dgm:pt>
    <dgm:pt modelId="{BF9B26FC-B33E-4341-B054-C04F5AE91858}" type="parTrans" cxnId="{45ED0B06-EC40-46D0-91DA-23CF6B095C58}">
      <dgm:prSet/>
      <dgm:spPr/>
      <dgm:t>
        <a:bodyPr/>
        <a:lstStyle/>
        <a:p>
          <a:endParaRPr lang="en-US"/>
        </a:p>
      </dgm:t>
    </dgm:pt>
    <dgm:pt modelId="{F53A471B-09C0-46AC-BE69-F3A367D3BDEF}" type="sibTrans" cxnId="{45ED0B06-EC40-46D0-91DA-23CF6B095C58}">
      <dgm:prSet/>
      <dgm:spPr/>
      <dgm:t>
        <a:bodyPr/>
        <a:lstStyle/>
        <a:p>
          <a:endParaRPr lang="en-US"/>
        </a:p>
      </dgm:t>
    </dgm:pt>
    <dgm:pt modelId="{EC740010-BAC3-454D-BFC2-6997C01CB64A}">
      <dgm:prSet phldrT="[Text]"/>
      <dgm:spPr>
        <a:xfrm>
          <a:off x="2256564" y="1712445"/>
          <a:ext cx="1295036" cy="966717"/>
        </a:xfrm>
      </dgm:spPr>
      <dgm:t>
        <a:bodyPr/>
        <a:lstStyle/>
        <a:p>
          <a:r>
            <a:rPr lang="en-US">
              <a:latin typeface="Times New Roman" panose="02020603050405020304"/>
              <a:ea typeface="+mn-ea"/>
              <a:cs typeface="+mn-cs"/>
            </a:rPr>
            <a:t>Base Failures</a:t>
          </a:r>
        </a:p>
      </dgm:t>
    </dgm:pt>
    <dgm:pt modelId="{85D1E880-2359-4C63-97A6-66A4E1CDBC47}" type="parTrans" cxnId="{AF7516A5-9541-49E5-AEF6-C3083A3D3C67}">
      <dgm:prSet/>
      <dgm:spPr/>
      <dgm:t>
        <a:bodyPr/>
        <a:lstStyle/>
        <a:p>
          <a:endParaRPr lang="en-US"/>
        </a:p>
      </dgm:t>
    </dgm:pt>
    <dgm:pt modelId="{0F79BECB-2363-4E7D-91BC-69E5A798C2AA}" type="sibTrans" cxnId="{AF7516A5-9541-49E5-AEF6-C3083A3D3C67}">
      <dgm:prSet/>
      <dgm:spPr/>
      <dgm:t>
        <a:bodyPr/>
        <a:lstStyle/>
        <a:p>
          <a:endParaRPr lang="en-US"/>
        </a:p>
      </dgm:t>
    </dgm:pt>
    <dgm:pt modelId="{0798E709-BA4E-419E-B9E8-A50A941E9372}">
      <dgm:prSet phldrT="[Text]"/>
      <dgm:spPr>
        <a:xfrm>
          <a:off x="3770753" y="1712445"/>
          <a:ext cx="1295036" cy="966717"/>
        </a:xfrm>
      </dgm:spPr>
      <dgm:t>
        <a:bodyPr/>
        <a:lstStyle/>
        <a:p>
          <a:r>
            <a:rPr lang="en-US">
              <a:latin typeface="Times New Roman" panose="02020603050405020304"/>
              <a:ea typeface="+mn-ea"/>
              <a:cs typeface="+mn-cs"/>
            </a:rPr>
            <a:t>Dirt/ Debris</a:t>
          </a:r>
        </a:p>
      </dgm:t>
    </dgm:pt>
    <dgm:pt modelId="{310D7B26-794F-4D8C-80CE-E42DF7476824}" type="parTrans" cxnId="{3FF6E5C2-8B4F-4464-8D67-560449489E8E}">
      <dgm:prSet/>
      <dgm:spPr/>
      <dgm:t>
        <a:bodyPr/>
        <a:lstStyle/>
        <a:p>
          <a:endParaRPr lang="en-US"/>
        </a:p>
      </dgm:t>
    </dgm:pt>
    <dgm:pt modelId="{817C4CED-8FAD-4800-A101-31197C1A5957}" type="sibTrans" cxnId="{3FF6E5C2-8B4F-4464-8D67-560449489E8E}">
      <dgm:prSet/>
      <dgm:spPr/>
      <dgm:t>
        <a:bodyPr/>
        <a:lstStyle/>
        <a:p>
          <a:endParaRPr lang="en-US"/>
        </a:p>
      </dgm:t>
    </dgm:pt>
    <dgm:pt modelId="{1976E9B3-238A-4263-B91D-68342FF8A923}">
      <dgm:prSet phldrT="[Text]"/>
      <dgm:spPr>
        <a:xfrm>
          <a:off x="742376" y="1945"/>
          <a:ext cx="1295036" cy="966717"/>
        </a:xfrm>
      </dgm:spPr>
      <dgm:t>
        <a:bodyPr/>
        <a:lstStyle/>
        <a:p>
          <a:r>
            <a:rPr lang="en-US">
              <a:latin typeface="Times New Roman" panose="02020603050405020304"/>
              <a:ea typeface="+mn-ea"/>
              <a:cs typeface="+mn-cs"/>
            </a:rPr>
            <a:t>Pipe</a:t>
          </a:r>
        </a:p>
      </dgm:t>
    </dgm:pt>
    <dgm:pt modelId="{77EA2897-109E-4E57-9A9C-33C3A00CFACC}" type="parTrans" cxnId="{E6156D0B-078E-45BB-A32F-F76CE00C6491}">
      <dgm:prSet/>
      <dgm:spPr/>
      <dgm:t>
        <a:bodyPr/>
        <a:lstStyle/>
        <a:p>
          <a:endParaRPr lang="en-US"/>
        </a:p>
      </dgm:t>
    </dgm:pt>
    <dgm:pt modelId="{F633FE9C-336C-42E2-B5A9-70850D350146}" type="sibTrans" cxnId="{E6156D0B-078E-45BB-A32F-F76CE00C6491}">
      <dgm:prSet/>
      <dgm:spPr/>
      <dgm:t>
        <a:bodyPr/>
        <a:lstStyle/>
        <a:p>
          <a:endParaRPr lang="en-US"/>
        </a:p>
      </dgm:t>
    </dgm:pt>
    <dgm:pt modelId="{054411EE-63EB-4F74-9C8D-629E1E7FE60F}">
      <dgm:prSet phldrT="[Text]"/>
      <dgm:spPr>
        <a:xfrm>
          <a:off x="3770753" y="1945"/>
          <a:ext cx="1295036" cy="966717"/>
        </a:xfrm>
      </dgm:spPr>
      <dgm:t>
        <a:bodyPr/>
        <a:lstStyle/>
        <a:p>
          <a:r>
            <a:rPr lang="en-US">
              <a:latin typeface="Times New Roman" panose="02020603050405020304"/>
              <a:ea typeface="+mn-ea"/>
              <a:cs typeface="+mn-cs"/>
            </a:rPr>
            <a:t>Drainage</a:t>
          </a:r>
        </a:p>
      </dgm:t>
    </dgm:pt>
    <dgm:pt modelId="{4003A2C5-654B-412C-988F-E38DB023373F}" type="parTrans" cxnId="{6ECBC213-72B6-4781-AF77-4C6EF9CBF2DA}">
      <dgm:prSet/>
      <dgm:spPr/>
      <dgm:t>
        <a:bodyPr/>
        <a:lstStyle/>
        <a:p>
          <a:endParaRPr lang="en-US"/>
        </a:p>
      </dgm:t>
    </dgm:pt>
    <dgm:pt modelId="{55CD7CD8-40AD-4998-B982-1B9786D708DA}" type="sibTrans" cxnId="{6ECBC213-72B6-4781-AF77-4C6EF9CBF2DA}">
      <dgm:prSet/>
      <dgm:spPr/>
      <dgm:t>
        <a:bodyPr/>
        <a:lstStyle/>
        <a:p>
          <a:endParaRPr lang="en-US"/>
        </a:p>
      </dgm:t>
    </dgm:pt>
    <dgm:pt modelId="{4A894500-75AB-4923-B756-EBFE2105B2C5}">
      <dgm:prSet phldrT="[Text]"/>
      <dgm:spPr>
        <a:xfrm>
          <a:off x="3770753" y="1945"/>
          <a:ext cx="1295036" cy="966717"/>
        </a:xfrm>
        <a:ln>
          <a:solidFill>
            <a:schemeClr val="tx1"/>
          </a:solidFill>
        </a:ln>
      </dgm:spPr>
      <dgm:t>
        <a:bodyPr/>
        <a:lstStyle/>
        <a:p>
          <a:r>
            <a:rPr lang="en-US">
              <a:latin typeface="Times New Roman" panose="02020603050405020304"/>
              <a:ea typeface="+mn-ea"/>
              <a:cs typeface="+mn-cs"/>
            </a:rPr>
            <a:t>Slopes</a:t>
          </a:r>
        </a:p>
      </dgm:t>
    </dgm:pt>
    <dgm:pt modelId="{0A9636C1-1939-4744-B9F0-AF80B3F80E7C}" type="parTrans" cxnId="{4684B00A-A6D1-41A3-A1DD-2077CF2987FA}">
      <dgm:prSet/>
      <dgm:spPr/>
      <dgm:t>
        <a:bodyPr/>
        <a:lstStyle/>
        <a:p>
          <a:endParaRPr lang="en-US"/>
        </a:p>
      </dgm:t>
    </dgm:pt>
    <dgm:pt modelId="{C3C3B107-EE7B-4E28-8425-0E24D5A55B72}" type="sibTrans" cxnId="{4684B00A-A6D1-41A3-A1DD-2077CF2987FA}">
      <dgm:prSet/>
      <dgm:spPr/>
      <dgm:t>
        <a:bodyPr/>
        <a:lstStyle/>
        <a:p>
          <a:endParaRPr lang="en-US"/>
        </a:p>
      </dgm:t>
    </dgm:pt>
    <dgm:pt modelId="{77FBE271-CD23-40AE-BAC5-E8631C6F9792}">
      <dgm:prSet phldrT="[Text]"/>
      <dgm:spPr>
        <a:xfrm>
          <a:off x="3770753" y="1945"/>
          <a:ext cx="1295036" cy="966717"/>
        </a:xfrm>
        <a:ln>
          <a:solidFill>
            <a:schemeClr val="tx1"/>
          </a:solidFill>
        </a:ln>
      </dgm:spPr>
      <dgm:t>
        <a:bodyPr/>
        <a:lstStyle/>
        <a:p>
          <a:r>
            <a:rPr lang="en-US">
              <a:latin typeface="Times New Roman" panose="02020603050405020304"/>
              <a:ea typeface="+mn-ea"/>
              <a:cs typeface="+mn-cs"/>
            </a:rPr>
            <a:t>Surface</a:t>
          </a:r>
        </a:p>
      </dgm:t>
    </dgm:pt>
    <dgm:pt modelId="{87B58152-A86D-4D62-9262-0CA84A29C1C0}" type="parTrans" cxnId="{6BB71F03-B72B-419B-8542-2689B8215CFE}">
      <dgm:prSet/>
      <dgm:spPr/>
      <dgm:t>
        <a:bodyPr/>
        <a:lstStyle/>
        <a:p>
          <a:endParaRPr lang="en-US"/>
        </a:p>
      </dgm:t>
    </dgm:pt>
    <dgm:pt modelId="{8D4C7B2C-2855-4F32-A124-14A9E377555B}" type="sibTrans" cxnId="{6BB71F03-B72B-419B-8542-2689B8215CFE}">
      <dgm:prSet/>
      <dgm:spPr/>
      <dgm:t>
        <a:bodyPr/>
        <a:lstStyle/>
        <a:p>
          <a:endParaRPr lang="en-US"/>
        </a:p>
      </dgm:t>
    </dgm:pt>
    <dgm:pt modelId="{DCEBB085-B3DC-4699-9016-864EA7099571}">
      <dgm:prSet phldrT="[Text]"/>
      <dgm:spPr>
        <a:xfrm>
          <a:off x="742376" y="968662"/>
          <a:ext cx="1295036" cy="415688"/>
        </a:xfrm>
        <a:solidFill>
          <a:schemeClr val="accent2">
            <a:lumMod val="40000"/>
            <a:lumOff val="60000"/>
          </a:schemeClr>
        </a:solidFill>
        <a:ln>
          <a:solidFill>
            <a:schemeClr val="accent2">
              <a:lumMod val="60000"/>
              <a:lumOff val="40000"/>
            </a:schemeClr>
          </a:solidFill>
        </a:ln>
      </dgm:spPr>
      <dgm:t>
        <a:bodyPr/>
        <a:lstStyle/>
        <a:p>
          <a:r>
            <a:rPr lang="en-US" b="1">
              <a:latin typeface="Times New Roman" panose="02020603050405020304"/>
              <a:ea typeface="+mn-ea"/>
              <a:cs typeface="+mn-cs"/>
            </a:rPr>
            <a:t>Risk</a:t>
          </a:r>
        </a:p>
      </dgm:t>
    </dgm:pt>
    <dgm:pt modelId="{47B4B243-7FA5-46EF-B833-C3BAAD2B807E}" type="parTrans" cxnId="{E3B4D8F5-5EF9-4C4B-9AD2-378215F1AD0E}">
      <dgm:prSet/>
      <dgm:spPr/>
      <dgm:t>
        <a:bodyPr/>
        <a:lstStyle/>
        <a:p>
          <a:endParaRPr lang="en-US"/>
        </a:p>
      </dgm:t>
    </dgm:pt>
    <dgm:pt modelId="{D845D11B-AC27-4D6E-850C-FA2D6540A94C}" type="sibTrans" cxnId="{E3B4D8F5-5EF9-4C4B-9AD2-378215F1AD0E}">
      <dgm:prSet/>
      <dgm:spPr/>
      <dgm:t>
        <a:bodyPr/>
        <a:lstStyle/>
        <a:p>
          <a:endParaRPr lang="en-US"/>
        </a:p>
      </dgm:t>
    </dgm:pt>
    <dgm:pt modelId="{8825E59D-D28D-4BD0-AFBA-4050A32838A7}">
      <dgm:prSet phldrT="[Text]"/>
      <dgm:spPr>
        <a:xfrm>
          <a:off x="742376" y="968662"/>
          <a:ext cx="1295036" cy="415688"/>
        </a:xfrm>
      </dgm:spPr>
      <dgm:t>
        <a:bodyPr/>
        <a:lstStyle/>
        <a:p>
          <a:r>
            <a:rPr lang="en-US" b="1">
              <a:latin typeface="Times New Roman" panose="02020603050405020304"/>
              <a:ea typeface="+mn-ea"/>
              <a:cs typeface="+mn-cs"/>
            </a:rPr>
            <a:t>Low</a:t>
          </a:r>
        </a:p>
      </dgm:t>
    </dgm:pt>
    <dgm:pt modelId="{1B6C1484-B8CD-41C2-9F34-89482618AF01}" type="parTrans" cxnId="{72579B8D-F7AD-4C94-859E-C93B6D4711A3}">
      <dgm:prSet/>
      <dgm:spPr/>
      <dgm:t>
        <a:bodyPr/>
        <a:lstStyle/>
        <a:p>
          <a:endParaRPr lang="en-US"/>
        </a:p>
      </dgm:t>
    </dgm:pt>
    <dgm:pt modelId="{1EF54172-0975-4238-9961-424F1E8EE257}" type="sibTrans" cxnId="{72579B8D-F7AD-4C94-859E-C93B6D4711A3}">
      <dgm:prSet/>
      <dgm:spPr/>
      <dgm:t>
        <a:bodyPr/>
        <a:lstStyle/>
        <a:p>
          <a:endParaRPr lang="en-US"/>
        </a:p>
      </dgm:t>
    </dgm:pt>
    <dgm:pt modelId="{A3EE2B27-F41D-42DB-99FE-C5B7AAC9DCAB}">
      <dgm:prSet phldrT="[Text]"/>
      <dgm:spPr>
        <a:xfrm>
          <a:off x="742376" y="968662"/>
          <a:ext cx="1295036" cy="415688"/>
        </a:xfrm>
        <a:ln>
          <a:solidFill>
            <a:schemeClr val="tx1"/>
          </a:solidFill>
        </a:ln>
      </dgm:spPr>
      <dgm:t>
        <a:bodyPr/>
        <a:lstStyle/>
        <a:p>
          <a:r>
            <a:rPr lang="en-US" b="1">
              <a:latin typeface="Times New Roman" panose="02020603050405020304"/>
              <a:ea typeface="+mn-ea"/>
              <a:cs typeface="+mn-cs"/>
            </a:rPr>
            <a:t>High</a:t>
          </a:r>
        </a:p>
      </dgm:t>
    </dgm:pt>
    <dgm:pt modelId="{AB8FA2C2-9474-408B-A637-FBA3D3C43C5B}" type="parTrans" cxnId="{3CCE4D53-4CDF-4CCC-8774-39AD83824A3E}">
      <dgm:prSet/>
      <dgm:spPr/>
      <dgm:t>
        <a:bodyPr/>
        <a:lstStyle/>
        <a:p>
          <a:endParaRPr lang="en-US"/>
        </a:p>
      </dgm:t>
    </dgm:pt>
    <dgm:pt modelId="{4667B21A-E75F-44CA-BFD3-065BB9259E6C}" type="sibTrans" cxnId="{3CCE4D53-4CDF-4CCC-8774-39AD83824A3E}">
      <dgm:prSet/>
      <dgm:spPr/>
      <dgm:t>
        <a:bodyPr/>
        <a:lstStyle/>
        <a:p>
          <a:endParaRPr lang="en-US"/>
        </a:p>
      </dgm:t>
    </dgm:pt>
    <dgm:pt modelId="{F8450B16-C949-4238-8FAE-70B0554DB7F0}">
      <dgm:prSet phldrT="[Text]"/>
      <dgm:spPr>
        <a:xfrm>
          <a:off x="742376" y="968662"/>
          <a:ext cx="1295036" cy="415688"/>
        </a:xfrm>
      </dgm:spPr>
      <dgm:t>
        <a:bodyPr/>
        <a:lstStyle/>
        <a:p>
          <a:r>
            <a:rPr lang="en-US" b="1">
              <a:latin typeface="Times New Roman" panose="02020603050405020304"/>
              <a:ea typeface="+mn-ea"/>
              <a:cs typeface="+mn-cs"/>
            </a:rPr>
            <a:t>Medium</a:t>
          </a:r>
        </a:p>
      </dgm:t>
    </dgm:pt>
    <dgm:pt modelId="{BF27408D-6317-462F-A059-4410CF63EA7F}" type="parTrans" cxnId="{B2D6BF8B-D793-469C-A600-9A2AA3C7E034}">
      <dgm:prSet/>
      <dgm:spPr/>
      <dgm:t>
        <a:bodyPr/>
        <a:lstStyle/>
        <a:p>
          <a:endParaRPr lang="en-US"/>
        </a:p>
      </dgm:t>
    </dgm:pt>
    <dgm:pt modelId="{5FDD2FF6-EB66-4218-8466-269B0258822C}" type="sibTrans" cxnId="{B2D6BF8B-D793-469C-A600-9A2AA3C7E034}">
      <dgm:prSet/>
      <dgm:spPr/>
      <dgm:t>
        <a:bodyPr/>
        <a:lstStyle/>
        <a:p>
          <a:endParaRPr lang="en-US"/>
        </a:p>
      </dgm:t>
    </dgm:pt>
    <dgm:pt modelId="{84EC9327-8D02-483C-95FF-3DEE6328D1F7}" type="pres">
      <dgm:prSet presAssocID="{6F68A551-7E43-408A-B317-B66459EA04D9}" presName="theList" presStyleCnt="0">
        <dgm:presLayoutVars>
          <dgm:dir/>
          <dgm:animLvl val="lvl"/>
          <dgm:resizeHandles val="exact"/>
        </dgm:presLayoutVars>
      </dgm:prSet>
      <dgm:spPr/>
      <dgm:t>
        <a:bodyPr/>
        <a:lstStyle/>
        <a:p>
          <a:endParaRPr lang="en-US"/>
        </a:p>
      </dgm:t>
    </dgm:pt>
    <dgm:pt modelId="{EFADA77B-E16E-4113-8457-9B757EE8E5D9}" type="pres">
      <dgm:prSet presAssocID="{DCEBB085-B3DC-4699-9016-864EA7099571}" presName="compNode" presStyleCnt="0"/>
      <dgm:spPr/>
    </dgm:pt>
    <dgm:pt modelId="{21E321BF-E8C7-40CF-BE36-D1A71D591B04}" type="pres">
      <dgm:prSet presAssocID="{DCEBB085-B3DC-4699-9016-864EA7099571}" presName="aNode" presStyleLbl="bgShp" presStyleIdx="0" presStyleCnt="6"/>
      <dgm:spPr/>
      <dgm:t>
        <a:bodyPr/>
        <a:lstStyle/>
        <a:p>
          <a:endParaRPr lang="en-US"/>
        </a:p>
      </dgm:t>
    </dgm:pt>
    <dgm:pt modelId="{52DED51F-2E91-4213-B314-7F5D012DC3C1}" type="pres">
      <dgm:prSet presAssocID="{DCEBB085-B3DC-4699-9016-864EA7099571}" presName="textNode" presStyleLbl="bgShp" presStyleIdx="0" presStyleCnt="6"/>
      <dgm:spPr/>
      <dgm:t>
        <a:bodyPr/>
        <a:lstStyle/>
        <a:p>
          <a:endParaRPr lang="en-US"/>
        </a:p>
      </dgm:t>
    </dgm:pt>
    <dgm:pt modelId="{594BDCAE-5C5D-42DF-A634-A54C64179D54}" type="pres">
      <dgm:prSet presAssocID="{DCEBB085-B3DC-4699-9016-864EA7099571}" presName="compChildNode" presStyleCnt="0"/>
      <dgm:spPr/>
    </dgm:pt>
    <dgm:pt modelId="{A15B11C7-4BAF-488A-BC14-BE8B8C036C56}" type="pres">
      <dgm:prSet presAssocID="{DCEBB085-B3DC-4699-9016-864EA7099571}" presName="theInnerList" presStyleCnt="0"/>
      <dgm:spPr/>
    </dgm:pt>
    <dgm:pt modelId="{1380BBF2-F92E-43AA-BD06-2A9B8219332C}" type="pres">
      <dgm:prSet presAssocID="{A3EE2B27-F41D-42DB-99FE-C5B7AAC9DCAB}" presName="childNode" presStyleLbl="node1" presStyleIdx="0" presStyleCnt="23">
        <dgm:presLayoutVars>
          <dgm:bulletEnabled val="1"/>
        </dgm:presLayoutVars>
      </dgm:prSet>
      <dgm:spPr>
        <a:prstGeom prst="roundRect">
          <a:avLst/>
        </a:prstGeom>
      </dgm:spPr>
      <dgm:t>
        <a:bodyPr/>
        <a:lstStyle/>
        <a:p>
          <a:endParaRPr lang="en-US"/>
        </a:p>
      </dgm:t>
    </dgm:pt>
    <dgm:pt modelId="{A65BEA65-7B1A-414C-933D-C2E2D4410C63}" type="pres">
      <dgm:prSet presAssocID="{A3EE2B27-F41D-42DB-99FE-C5B7AAC9DCAB}" presName="aSpace2" presStyleCnt="0"/>
      <dgm:spPr/>
    </dgm:pt>
    <dgm:pt modelId="{43FE6F37-1998-46A6-AC6D-52E911D54111}" type="pres">
      <dgm:prSet presAssocID="{F8450B16-C949-4238-8FAE-70B0554DB7F0}" presName="childNode" presStyleLbl="node1" presStyleIdx="1" presStyleCnt="23">
        <dgm:presLayoutVars>
          <dgm:bulletEnabled val="1"/>
        </dgm:presLayoutVars>
      </dgm:prSet>
      <dgm:spPr/>
      <dgm:t>
        <a:bodyPr/>
        <a:lstStyle/>
        <a:p>
          <a:endParaRPr lang="en-US"/>
        </a:p>
      </dgm:t>
    </dgm:pt>
    <dgm:pt modelId="{F4D3AED7-EF8D-4502-B655-F4B5C42EE212}" type="pres">
      <dgm:prSet presAssocID="{F8450B16-C949-4238-8FAE-70B0554DB7F0}" presName="aSpace2" presStyleCnt="0"/>
      <dgm:spPr/>
    </dgm:pt>
    <dgm:pt modelId="{20004024-ACE7-4E9B-B3FF-26DD75510814}" type="pres">
      <dgm:prSet presAssocID="{8825E59D-D28D-4BD0-AFBA-4050A32838A7}" presName="childNode" presStyleLbl="node1" presStyleIdx="2" presStyleCnt="23">
        <dgm:presLayoutVars>
          <dgm:bulletEnabled val="1"/>
        </dgm:presLayoutVars>
      </dgm:prSet>
      <dgm:spPr/>
      <dgm:t>
        <a:bodyPr/>
        <a:lstStyle/>
        <a:p>
          <a:endParaRPr lang="en-US"/>
        </a:p>
      </dgm:t>
    </dgm:pt>
    <dgm:pt modelId="{32C6C92A-E8B9-4789-B072-AC0A84E330B1}" type="pres">
      <dgm:prSet presAssocID="{DCEBB085-B3DC-4699-9016-864EA7099571}" presName="aSpace" presStyleCnt="0"/>
      <dgm:spPr/>
    </dgm:pt>
    <dgm:pt modelId="{0DDEB70D-8C46-40BF-A18A-B9D328AE5B3F}" type="pres">
      <dgm:prSet presAssocID="{3F3F95B3-9EEB-48B0-9B79-C84406B165FC}" presName="compNode" presStyleCnt="0"/>
      <dgm:spPr/>
    </dgm:pt>
    <dgm:pt modelId="{7A13265C-0B22-4B9D-8A8E-379A78F94C6F}" type="pres">
      <dgm:prSet presAssocID="{3F3F95B3-9EEB-48B0-9B79-C84406B165FC}" presName="aNode" presStyleLbl="bgShp" presStyleIdx="1" presStyleCnt="6"/>
      <dgm:spPr>
        <a:prstGeom prst="roundRect">
          <a:avLst/>
        </a:prstGeom>
      </dgm:spPr>
      <dgm:t>
        <a:bodyPr/>
        <a:lstStyle/>
        <a:p>
          <a:endParaRPr lang="en-US"/>
        </a:p>
      </dgm:t>
    </dgm:pt>
    <dgm:pt modelId="{6DE99998-CABC-486B-A196-186C5B7C02D3}" type="pres">
      <dgm:prSet presAssocID="{3F3F95B3-9EEB-48B0-9B79-C84406B165FC}" presName="textNode" presStyleLbl="bgShp" presStyleIdx="1" presStyleCnt="6"/>
      <dgm:spPr/>
      <dgm:t>
        <a:bodyPr/>
        <a:lstStyle/>
        <a:p>
          <a:endParaRPr lang="en-US"/>
        </a:p>
      </dgm:t>
    </dgm:pt>
    <dgm:pt modelId="{00720F54-03BC-4F56-B1BD-DAA94DC5D7AA}" type="pres">
      <dgm:prSet presAssocID="{3F3F95B3-9EEB-48B0-9B79-C84406B165FC}" presName="compChildNode" presStyleCnt="0"/>
      <dgm:spPr/>
    </dgm:pt>
    <dgm:pt modelId="{771C6DA5-73D0-4DA3-BA4B-B2456BB7977B}" type="pres">
      <dgm:prSet presAssocID="{3F3F95B3-9EEB-48B0-9B79-C84406B165FC}" presName="theInnerList" presStyleCnt="0"/>
      <dgm:spPr/>
    </dgm:pt>
    <dgm:pt modelId="{A9213B6B-AFD0-418A-845A-56A54BF2F623}" type="pres">
      <dgm:prSet presAssocID="{4CE9E562-3FE6-407F-8CE1-30BC68127994}" presName="childNode" presStyleLbl="node1" presStyleIdx="3" presStyleCnt="23">
        <dgm:presLayoutVars>
          <dgm:bulletEnabled val="1"/>
        </dgm:presLayoutVars>
      </dgm:prSet>
      <dgm:spPr>
        <a:prstGeom prst="round2SameRect">
          <a:avLst>
            <a:gd name="adj1" fmla="val 8000"/>
            <a:gd name="adj2" fmla="val 0"/>
          </a:avLst>
        </a:prstGeom>
      </dgm:spPr>
      <dgm:t>
        <a:bodyPr/>
        <a:lstStyle/>
        <a:p>
          <a:endParaRPr lang="en-US"/>
        </a:p>
      </dgm:t>
    </dgm:pt>
    <dgm:pt modelId="{C8ECAB21-9DB5-45F0-8417-F734E22C14FF}" type="pres">
      <dgm:prSet presAssocID="{4CE9E562-3FE6-407F-8CE1-30BC68127994}" presName="aSpace2" presStyleCnt="0"/>
      <dgm:spPr/>
    </dgm:pt>
    <dgm:pt modelId="{881451FF-C1D5-4857-A043-742F95A09659}" type="pres">
      <dgm:prSet presAssocID="{3A7D99EA-A0BE-4ADE-90EB-541506F0DAA8}" presName="childNode" presStyleLbl="node1" presStyleIdx="4" presStyleCnt="23">
        <dgm:presLayoutVars>
          <dgm:bulletEnabled val="1"/>
        </dgm:presLayoutVars>
      </dgm:prSet>
      <dgm:spPr/>
      <dgm:t>
        <a:bodyPr/>
        <a:lstStyle/>
        <a:p>
          <a:endParaRPr lang="en-US"/>
        </a:p>
      </dgm:t>
    </dgm:pt>
    <dgm:pt modelId="{14F4850A-2A83-4AE0-BEE1-338F7C3FF16E}" type="pres">
      <dgm:prSet presAssocID="{3A7D99EA-A0BE-4ADE-90EB-541506F0DAA8}" presName="aSpace2" presStyleCnt="0"/>
      <dgm:spPr/>
    </dgm:pt>
    <dgm:pt modelId="{6E291A2E-B053-4CEE-B63E-9438110E9374}" type="pres">
      <dgm:prSet presAssocID="{D1D59C95-D2B4-432B-B956-0AE441DD0493}" presName="childNode" presStyleLbl="node1" presStyleIdx="5" presStyleCnt="23">
        <dgm:presLayoutVars>
          <dgm:bulletEnabled val="1"/>
        </dgm:presLayoutVars>
      </dgm:prSet>
      <dgm:spPr/>
      <dgm:t>
        <a:bodyPr/>
        <a:lstStyle/>
        <a:p>
          <a:endParaRPr lang="en-US"/>
        </a:p>
      </dgm:t>
    </dgm:pt>
    <dgm:pt modelId="{DC9EE1E7-17B4-4501-B24F-E9F36BCED450}" type="pres">
      <dgm:prSet presAssocID="{D1D59C95-D2B4-432B-B956-0AE441DD0493}" presName="aSpace2" presStyleCnt="0"/>
      <dgm:spPr/>
    </dgm:pt>
    <dgm:pt modelId="{E7C44452-B449-4B8E-AE54-3D3C66A09930}" type="pres">
      <dgm:prSet presAssocID="{1976E9B3-238A-4263-B91D-68342FF8A923}" presName="childNode" presStyleLbl="node1" presStyleIdx="6" presStyleCnt="23">
        <dgm:presLayoutVars>
          <dgm:bulletEnabled val="1"/>
        </dgm:presLayoutVars>
      </dgm:prSet>
      <dgm:spPr/>
      <dgm:t>
        <a:bodyPr/>
        <a:lstStyle/>
        <a:p>
          <a:endParaRPr lang="en-US"/>
        </a:p>
      </dgm:t>
    </dgm:pt>
    <dgm:pt modelId="{1EA38475-26DC-4D6F-9AA0-4A942307C75C}" type="pres">
      <dgm:prSet presAssocID="{1976E9B3-238A-4263-B91D-68342FF8A923}" presName="aSpace2" presStyleCnt="0"/>
      <dgm:spPr/>
    </dgm:pt>
    <dgm:pt modelId="{A49E3DC5-0E0A-4802-9FF8-19749D60574A}" type="pres">
      <dgm:prSet presAssocID="{4C0D835A-B65A-44C2-BB43-0C37904F64EB}" presName="childNode" presStyleLbl="node1" presStyleIdx="7" presStyleCnt="23">
        <dgm:presLayoutVars>
          <dgm:bulletEnabled val="1"/>
        </dgm:presLayoutVars>
      </dgm:prSet>
      <dgm:spPr/>
      <dgm:t>
        <a:bodyPr/>
        <a:lstStyle/>
        <a:p>
          <a:endParaRPr lang="en-US"/>
        </a:p>
      </dgm:t>
    </dgm:pt>
    <dgm:pt modelId="{8604CFFF-6938-4E18-8D06-9C65FFDF936B}" type="pres">
      <dgm:prSet presAssocID="{3F3F95B3-9EEB-48B0-9B79-C84406B165FC}" presName="aSpace" presStyleCnt="0"/>
      <dgm:spPr/>
    </dgm:pt>
    <dgm:pt modelId="{ACE7A1FF-B061-4A13-917A-89FB23DB6E5F}" type="pres">
      <dgm:prSet presAssocID="{D9F5310C-4511-455F-92A9-00BA44C19991}" presName="compNode" presStyleCnt="0"/>
      <dgm:spPr/>
    </dgm:pt>
    <dgm:pt modelId="{4FD24DDE-7D70-45F0-9ADA-1E12A591D2DA}" type="pres">
      <dgm:prSet presAssocID="{D9F5310C-4511-455F-92A9-00BA44C19991}" presName="aNode" presStyleLbl="bgShp" presStyleIdx="2" presStyleCnt="6"/>
      <dgm:spPr>
        <a:prstGeom prst="roundRect">
          <a:avLst/>
        </a:prstGeom>
      </dgm:spPr>
      <dgm:t>
        <a:bodyPr/>
        <a:lstStyle/>
        <a:p>
          <a:endParaRPr lang="en-US"/>
        </a:p>
      </dgm:t>
    </dgm:pt>
    <dgm:pt modelId="{08A9C4FC-4A7C-42D3-930E-1BE1C4348D23}" type="pres">
      <dgm:prSet presAssocID="{D9F5310C-4511-455F-92A9-00BA44C19991}" presName="textNode" presStyleLbl="bgShp" presStyleIdx="2" presStyleCnt="6"/>
      <dgm:spPr/>
      <dgm:t>
        <a:bodyPr/>
        <a:lstStyle/>
        <a:p>
          <a:endParaRPr lang="en-US"/>
        </a:p>
      </dgm:t>
    </dgm:pt>
    <dgm:pt modelId="{7B0F8F4A-7828-4D6B-B6C5-DB1F793AA420}" type="pres">
      <dgm:prSet presAssocID="{D9F5310C-4511-455F-92A9-00BA44C19991}" presName="compChildNode" presStyleCnt="0"/>
      <dgm:spPr/>
    </dgm:pt>
    <dgm:pt modelId="{C1FCAFD4-64FC-400F-9A13-192DF7D4A67F}" type="pres">
      <dgm:prSet presAssocID="{D9F5310C-4511-455F-92A9-00BA44C19991}" presName="theInnerList" presStyleCnt="0"/>
      <dgm:spPr/>
    </dgm:pt>
    <dgm:pt modelId="{683FF6C4-CBB0-4877-99B3-C67E55BFC765}" type="pres">
      <dgm:prSet presAssocID="{6ECD7908-6F5B-4AB4-B281-C507AFBD4C3E}" presName="childNode" presStyleLbl="node1" presStyleIdx="8" presStyleCnt="23">
        <dgm:presLayoutVars>
          <dgm:bulletEnabled val="1"/>
        </dgm:presLayoutVars>
      </dgm:prSet>
      <dgm:spPr>
        <a:prstGeom prst="round2SameRect">
          <a:avLst>
            <a:gd name="adj1" fmla="val 8000"/>
            <a:gd name="adj2" fmla="val 0"/>
          </a:avLst>
        </a:prstGeom>
      </dgm:spPr>
      <dgm:t>
        <a:bodyPr/>
        <a:lstStyle/>
        <a:p>
          <a:endParaRPr lang="en-US"/>
        </a:p>
      </dgm:t>
    </dgm:pt>
    <dgm:pt modelId="{E71AC322-0289-4941-B68E-13589A9051E6}" type="pres">
      <dgm:prSet presAssocID="{6ECD7908-6F5B-4AB4-B281-C507AFBD4C3E}" presName="aSpace2" presStyleCnt="0"/>
      <dgm:spPr/>
    </dgm:pt>
    <dgm:pt modelId="{0B493253-197A-401D-A3EC-9EE6D5B1C472}" type="pres">
      <dgm:prSet presAssocID="{DA1FBAA2-DD42-4C54-B804-156F3ED215A0}" presName="childNode" presStyleLbl="node1" presStyleIdx="9" presStyleCnt="23">
        <dgm:presLayoutVars>
          <dgm:bulletEnabled val="1"/>
        </dgm:presLayoutVars>
      </dgm:prSet>
      <dgm:spPr/>
      <dgm:t>
        <a:bodyPr/>
        <a:lstStyle/>
        <a:p>
          <a:endParaRPr lang="en-US"/>
        </a:p>
      </dgm:t>
    </dgm:pt>
    <dgm:pt modelId="{9473C5B9-C062-49A9-8C2B-ECB463BB3EB9}" type="pres">
      <dgm:prSet presAssocID="{DA1FBAA2-DD42-4C54-B804-156F3ED215A0}" presName="aSpace2" presStyleCnt="0"/>
      <dgm:spPr/>
    </dgm:pt>
    <dgm:pt modelId="{75AD852E-355B-420A-B55E-2883E49B2B09}" type="pres">
      <dgm:prSet presAssocID="{83393304-4AD9-4C5B-AF48-27D862C55F72}" presName="childNode" presStyleLbl="node1" presStyleIdx="10" presStyleCnt="23">
        <dgm:presLayoutVars>
          <dgm:bulletEnabled val="1"/>
        </dgm:presLayoutVars>
      </dgm:prSet>
      <dgm:spPr/>
      <dgm:t>
        <a:bodyPr/>
        <a:lstStyle/>
        <a:p>
          <a:endParaRPr lang="en-US"/>
        </a:p>
      </dgm:t>
    </dgm:pt>
    <dgm:pt modelId="{92121FFF-F932-4886-80E2-6C3D1BCBB174}" type="pres">
      <dgm:prSet presAssocID="{D9F5310C-4511-455F-92A9-00BA44C19991}" presName="aSpace" presStyleCnt="0"/>
      <dgm:spPr/>
    </dgm:pt>
    <dgm:pt modelId="{9F2495BB-17FE-45D1-832F-01FC5A5E2AC0}" type="pres">
      <dgm:prSet presAssocID="{A630C113-DA40-478A-9754-EC83605356CA}" presName="compNode" presStyleCnt="0"/>
      <dgm:spPr/>
    </dgm:pt>
    <dgm:pt modelId="{427054C7-1136-44E4-866C-A10DB3570D9F}" type="pres">
      <dgm:prSet presAssocID="{A630C113-DA40-478A-9754-EC83605356CA}" presName="aNode" presStyleLbl="bgShp" presStyleIdx="3" presStyleCnt="6"/>
      <dgm:spPr>
        <a:prstGeom prst="roundRect">
          <a:avLst/>
        </a:prstGeom>
      </dgm:spPr>
      <dgm:t>
        <a:bodyPr/>
        <a:lstStyle/>
        <a:p>
          <a:endParaRPr lang="en-US"/>
        </a:p>
      </dgm:t>
    </dgm:pt>
    <dgm:pt modelId="{34AC75A0-24E2-48B8-8639-08B485C7FBD3}" type="pres">
      <dgm:prSet presAssocID="{A630C113-DA40-478A-9754-EC83605356CA}" presName="textNode" presStyleLbl="bgShp" presStyleIdx="3" presStyleCnt="6"/>
      <dgm:spPr/>
      <dgm:t>
        <a:bodyPr/>
        <a:lstStyle/>
        <a:p>
          <a:endParaRPr lang="en-US"/>
        </a:p>
      </dgm:t>
    </dgm:pt>
    <dgm:pt modelId="{E0E2AC1C-D742-4B3B-8675-8F3552FFBFFC}" type="pres">
      <dgm:prSet presAssocID="{A630C113-DA40-478A-9754-EC83605356CA}" presName="compChildNode" presStyleCnt="0"/>
      <dgm:spPr/>
    </dgm:pt>
    <dgm:pt modelId="{472D110E-5211-48FA-A61D-8ADE707E16C8}" type="pres">
      <dgm:prSet presAssocID="{A630C113-DA40-478A-9754-EC83605356CA}" presName="theInnerList" presStyleCnt="0"/>
      <dgm:spPr/>
    </dgm:pt>
    <dgm:pt modelId="{8237130C-CFC1-458B-B4C8-4DBAF4D22636}" type="pres">
      <dgm:prSet presAssocID="{BBD7B213-F004-4007-B073-BA0AFB9DAE02}" presName="childNode" presStyleLbl="node1" presStyleIdx="11" presStyleCnt="23">
        <dgm:presLayoutVars>
          <dgm:bulletEnabled val="1"/>
        </dgm:presLayoutVars>
      </dgm:prSet>
      <dgm:spPr>
        <a:prstGeom prst="roundRect">
          <a:avLst/>
        </a:prstGeom>
      </dgm:spPr>
      <dgm:t>
        <a:bodyPr/>
        <a:lstStyle/>
        <a:p>
          <a:endParaRPr lang="en-US"/>
        </a:p>
      </dgm:t>
    </dgm:pt>
    <dgm:pt modelId="{6DA114C9-7265-4280-B2D3-277C623C54F7}" type="pres">
      <dgm:prSet presAssocID="{BBD7B213-F004-4007-B073-BA0AFB9DAE02}" presName="aSpace2" presStyleCnt="0"/>
      <dgm:spPr/>
    </dgm:pt>
    <dgm:pt modelId="{25770E3C-D575-434C-9FA3-9B4B4E5F51D3}" type="pres">
      <dgm:prSet presAssocID="{4A894500-75AB-4923-B756-EBFE2105B2C5}" presName="childNode" presStyleLbl="node1" presStyleIdx="12" presStyleCnt="23">
        <dgm:presLayoutVars>
          <dgm:bulletEnabled val="1"/>
        </dgm:presLayoutVars>
      </dgm:prSet>
      <dgm:spPr>
        <a:prstGeom prst="roundRect">
          <a:avLst/>
        </a:prstGeom>
      </dgm:spPr>
      <dgm:t>
        <a:bodyPr/>
        <a:lstStyle/>
        <a:p>
          <a:endParaRPr lang="en-US"/>
        </a:p>
      </dgm:t>
    </dgm:pt>
    <dgm:pt modelId="{AD4F079E-489D-4A4C-852A-6DDEC878E4BF}" type="pres">
      <dgm:prSet presAssocID="{4A894500-75AB-4923-B756-EBFE2105B2C5}" presName="aSpace2" presStyleCnt="0"/>
      <dgm:spPr/>
    </dgm:pt>
    <dgm:pt modelId="{FEBDB620-9732-485A-BF23-75777F50BF53}" type="pres">
      <dgm:prSet presAssocID="{054411EE-63EB-4F74-9C8D-629E1E7FE60F}" presName="childNode" presStyleLbl="node1" presStyleIdx="13" presStyleCnt="23">
        <dgm:presLayoutVars>
          <dgm:bulletEnabled val="1"/>
        </dgm:presLayoutVars>
      </dgm:prSet>
      <dgm:spPr/>
      <dgm:t>
        <a:bodyPr/>
        <a:lstStyle/>
        <a:p>
          <a:endParaRPr lang="en-US"/>
        </a:p>
      </dgm:t>
    </dgm:pt>
    <dgm:pt modelId="{091755C8-C939-4304-BD13-7568D1CF03C4}" type="pres">
      <dgm:prSet presAssocID="{054411EE-63EB-4F74-9C8D-629E1E7FE60F}" presName="aSpace2" presStyleCnt="0"/>
      <dgm:spPr/>
    </dgm:pt>
    <dgm:pt modelId="{FCADB838-A3CA-4A8D-AEC9-14EC767CCF35}" type="pres">
      <dgm:prSet presAssocID="{77FBE271-CD23-40AE-BAC5-E8631C6F9792}" presName="childNode" presStyleLbl="node1" presStyleIdx="14" presStyleCnt="23">
        <dgm:presLayoutVars>
          <dgm:bulletEnabled val="1"/>
        </dgm:presLayoutVars>
      </dgm:prSet>
      <dgm:spPr/>
      <dgm:t>
        <a:bodyPr/>
        <a:lstStyle/>
        <a:p>
          <a:endParaRPr lang="en-US"/>
        </a:p>
      </dgm:t>
    </dgm:pt>
    <dgm:pt modelId="{288E52B6-0211-4BE9-8DD2-1EF7D6A09A76}" type="pres">
      <dgm:prSet presAssocID="{A630C113-DA40-478A-9754-EC83605356CA}" presName="aSpace" presStyleCnt="0"/>
      <dgm:spPr/>
    </dgm:pt>
    <dgm:pt modelId="{5F5CD2E7-715F-49CD-9749-774C77F722A3}" type="pres">
      <dgm:prSet presAssocID="{CADE6A3C-0098-4BAF-9975-D9A973030982}" presName="compNode" presStyleCnt="0"/>
      <dgm:spPr/>
    </dgm:pt>
    <dgm:pt modelId="{13CA8D46-D4CC-4ADF-A576-ED1A5A75012F}" type="pres">
      <dgm:prSet presAssocID="{CADE6A3C-0098-4BAF-9975-D9A973030982}" presName="aNode" presStyleLbl="bgShp" presStyleIdx="4" presStyleCnt="6"/>
      <dgm:spPr>
        <a:prstGeom prst="roundRect">
          <a:avLst/>
        </a:prstGeom>
      </dgm:spPr>
      <dgm:t>
        <a:bodyPr/>
        <a:lstStyle/>
        <a:p>
          <a:endParaRPr lang="en-US"/>
        </a:p>
      </dgm:t>
    </dgm:pt>
    <dgm:pt modelId="{042F6B52-6D19-4493-A3E1-3F82594D8C49}" type="pres">
      <dgm:prSet presAssocID="{CADE6A3C-0098-4BAF-9975-D9A973030982}" presName="textNode" presStyleLbl="bgShp" presStyleIdx="4" presStyleCnt="6"/>
      <dgm:spPr/>
      <dgm:t>
        <a:bodyPr/>
        <a:lstStyle/>
        <a:p>
          <a:endParaRPr lang="en-US"/>
        </a:p>
      </dgm:t>
    </dgm:pt>
    <dgm:pt modelId="{5A6011DF-B550-4184-939F-3D003C714FE6}" type="pres">
      <dgm:prSet presAssocID="{CADE6A3C-0098-4BAF-9975-D9A973030982}" presName="compChildNode" presStyleCnt="0"/>
      <dgm:spPr/>
    </dgm:pt>
    <dgm:pt modelId="{22C4B52D-9150-433E-B058-EF9A8BBF92C1}" type="pres">
      <dgm:prSet presAssocID="{CADE6A3C-0098-4BAF-9975-D9A973030982}" presName="theInnerList" presStyleCnt="0"/>
      <dgm:spPr/>
    </dgm:pt>
    <dgm:pt modelId="{2D9E9755-6C19-4D9F-8697-2A78908BB979}" type="pres">
      <dgm:prSet presAssocID="{934AD681-DBD8-45AF-AAB6-CEC2DC16A520}" presName="childNode" presStyleLbl="node1" presStyleIdx="15" presStyleCnt="23">
        <dgm:presLayoutVars>
          <dgm:bulletEnabled val="1"/>
        </dgm:presLayoutVars>
      </dgm:prSet>
      <dgm:spPr>
        <a:prstGeom prst="roundRect">
          <a:avLst/>
        </a:prstGeom>
      </dgm:spPr>
      <dgm:t>
        <a:bodyPr/>
        <a:lstStyle/>
        <a:p>
          <a:endParaRPr lang="en-US"/>
        </a:p>
      </dgm:t>
    </dgm:pt>
    <dgm:pt modelId="{83A16FC1-88CF-45A8-A519-925BEFFAF23D}" type="pres">
      <dgm:prSet presAssocID="{934AD681-DBD8-45AF-AAB6-CEC2DC16A520}" presName="aSpace2" presStyleCnt="0"/>
      <dgm:spPr/>
    </dgm:pt>
    <dgm:pt modelId="{4AE5FFDD-1BF1-4B95-82F9-DE99E74A98AF}" type="pres">
      <dgm:prSet presAssocID="{0CD0DDAF-039C-4FF3-9CB2-A945878277AB}" presName="childNode" presStyleLbl="node1" presStyleIdx="16" presStyleCnt="23">
        <dgm:presLayoutVars>
          <dgm:bulletEnabled val="1"/>
        </dgm:presLayoutVars>
      </dgm:prSet>
      <dgm:spPr>
        <a:prstGeom prst="roundRect">
          <a:avLst/>
        </a:prstGeom>
      </dgm:spPr>
      <dgm:t>
        <a:bodyPr/>
        <a:lstStyle/>
        <a:p>
          <a:endParaRPr lang="en-US"/>
        </a:p>
      </dgm:t>
    </dgm:pt>
    <dgm:pt modelId="{6E051FFB-F5F5-4D6F-A315-A81F7946DE2E}" type="pres">
      <dgm:prSet presAssocID="{0CD0DDAF-039C-4FF3-9CB2-A945878277AB}" presName="aSpace2" presStyleCnt="0"/>
      <dgm:spPr/>
    </dgm:pt>
    <dgm:pt modelId="{0E8CD5D9-1964-4D84-84BA-638805FD3C5D}" type="pres">
      <dgm:prSet presAssocID="{2CC241A4-A199-477E-9411-E482481D33F9}" presName="childNode" presStyleLbl="node1" presStyleIdx="17" presStyleCnt="23">
        <dgm:presLayoutVars>
          <dgm:bulletEnabled val="1"/>
        </dgm:presLayoutVars>
      </dgm:prSet>
      <dgm:spPr>
        <a:prstGeom prst="roundRect">
          <a:avLst/>
        </a:prstGeom>
      </dgm:spPr>
      <dgm:t>
        <a:bodyPr/>
        <a:lstStyle/>
        <a:p>
          <a:endParaRPr lang="en-US"/>
        </a:p>
      </dgm:t>
    </dgm:pt>
    <dgm:pt modelId="{1ED1064A-3008-4BFF-A3D6-2F557052F8DF}" type="pres">
      <dgm:prSet presAssocID="{CADE6A3C-0098-4BAF-9975-D9A973030982}" presName="aSpace" presStyleCnt="0"/>
      <dgm:spPr/>
    </dgm:pt>
    <dgm:pt modelId="{B5F0DFAB-012D-435A-B1F0-C38A1B08AC2D}" type="pres">
      <dgm:prSet presAssocID="{B56DA29E-7137-4D44-96FE-08794490ABBD}" presName="compNode" presStyleCnt="0"/>
      <dgm:spPr/>
    </dgm:pt>
    <dgm:pt modelId="{27591124-774B-46CA-899A-9DE9E08D368C}" type="pres">
      <dgm:prSet presAssocID="{B56DA29E-7137-4D44-96FE-08794490ABBD}" presName="aNode" presStyleLbl="bgShp" presStyleIdx="5" presStyleCnt="6"/>
      <dgm:spPr>
        <a:prstGeom prst="roundRect">
          <a:avLst/>
        </a:prstGeom>
      </dgm:spPr>
      <dgm:t>
        <a:bodyPr/>
        <a:lstStyle/>
        <a:p>
          <a:endParaRPr lang="en-US"/>
        </a:p>
      </dgm:t>
    </dgm:pt>
    <dgm:pt modelId="{989CC85C-D9D8-466C-AB0F-D105D3D10D77}" type="pres">
      <dgm:prSet presAssocID="{B56DA29E-7137-4D44-96FE-08794490ABBD}" presName="textNode" presStyleLbl="bgShp" presStyleIdx="5" presStyleCnt="6"/>
      <dgm:spPr/>
      <dgm:t>
        <a:bodyPr/>
        <a:lstStyle/>
        <a:p>
          <a:endParaRPr lang="en-US"/>
        </a:p>
      </dgm:t>
    </dgm:pt>
    <dgm:pt modelId="{B858D084-5C11-4784-9EC1-FF99A0C65BA6}" type="pres">
      <dgm:prSet presAssocID="{B56DA29E-7137-4D44-96FE-08794490ABBD}" presName="compChildNode" presStyleCnt="0"/>
      <dgm:spPr/>
    </dgm:pt>
    <dgm:pt modelId="{C8A812AA-F9A2-4715-B4BD-8A3860466455}" type="pres">
      <dgm:prSet presAssocID="{B56DA29E-7137-4D44-96FE-08794490ABBD}" presName="theInnerList" presStyleCnt="0"/>
      <dgm:spPr/>
    </dgm:pt>
    <dgm:pt modelId="{553F750D-4F62-4DE8-8E31-65D8991E5DDE}" type="pres">
      <dgm:prSet presAssocID="{A15EA1DA-247C-484A-80A0-DF1752D9D38F}" presName="childNode" presStyleLbl="node1" presStyleIdx="18" presStyleCnt="23">
        <dgm:presLayoutVars>
          <dgm:bulletEnabled val="1"/>
        </dgm:presLayoutVars>
      </dgm:prSet>
      <dgm:spPr>
        <a:prstGeom prst="roundRect">
          <a:avLst/>
        </a:prstGeom>
      </dgm:spPr>
      <dgm:t>
        <a:bodyPr/>
        <a:lstStyle/>
        <a:p>
          <a:endParaRPr lang="en-US"/>
        </a:p>
      </dgm:t>
    </dgm:pt>
    <dgm:pt modelId="{09C15547-5C7A-4908-BB73-74C2B2DC10F0}" type="pres">
      <dgm:prSet presAssocID="{A15EA1DA-247C-484A-80A0-DF1752D9D38F}" presName="aSpace2" presStyleCnt="0"/>
      <dgm:spPr/>
    </dgm:pt>
    <dgm:pt modelId="{3AFB6A47-98C1-4448-BD2B-0207C5C095F4}" type="pres">
      <dgm:prSet presAssocID="{2F150AFA-A4ED-4B63-9B0D-D68E6361C285}" presName="childNode" presStyleLbl="node1" presStyleIdx="19" presStyleCnt="23">
        <dgm:presLayoutVars>
          <dgm:bulletEnabled val="1"/>
        </dgm:presLayoutVars>
      </dgm:prSet>
      <dgm:spPr>
        <a:prstGeom prst="roundRect">
          <a:avLst/>
        </a:prstGeom>
      </dgm:spPr>
      <dgm:t>
        <a:bodyPr/>
        <a:lstStyle/>
        <a:p>
          <a:endParaRPr lang="en-US"/>
        </a:p>
      </dgm:t>
    </dgm:pt>
    <dgm:pt modelId="{93C24563-4F99-4E64-918D-A34306377C09}" type="pres">
      <dgm:prSet presAssocID="{2F150AFA-A4ED-4B63-9B0D-D68E6361C285}" presName="aSpace2" presStyleCnt="0"/>
      <dgm:spPr/>
    </dgm:pt>
    <dgm:pt modelId="{44DF4F1E-C3CE-4E69-8FE0-FB81A896E57D}" type="pres">
      <dgm:prSet presAssocID="{EC740010-BAC3-454D-BFC2-6997C01CB64A}" presName="childNode" presStyleLbl="node1" presStyleIdx="20" presStyleCnt="23">
        <dgm:presLayoutVars>
          <dgm:bulletEnabled val="1"/>
        </dgm:presLayoutVars>
      </dgm:prSet>
      <dgm:spPr/>
      <dgm:t>
        <a:bodyPr/>
        <a:lstStyle/>
        <a:p>
          <a:endParaRPr lang="en-US"/>
        </a:p>
      </dgm:t>
    </dgm:pt>
    <dgm:pt modelId="{D1E28245-D665-4F9B-8B85-03597A5F3A51}" type="pres">
      <dgm:prSet presAssocID="{EC740010-BAC3-454D-BFC2-6997C01CB64A}" presName="aSpace2" presStyleCnt="0"/>
      <dgm:spPr/>
    </dgm:pt>
    <dgm:pt modelId="{9EE523E2-FD30-4CA9-A6CF-8D8AD8DAA6FD}" type="pres">
      <dgm:prSet presAssocID="{B4B241C2-B24F-44D0-BFE0-497648340376}" presName="childNode" presStyleLbl="node1" presStyleIdx="21" presStyleCnt="23">
        <dgm:presLayoutVars>
          <dgm:bulletEnabled val="1"/>
        </dgm:presLayoutVars>
      </dgm:prSet>
      <dgm:spPr>
        <a:prstGeom prst="round2SameRect">
          <a:avLst>
            <a:gd name="adj1" fmla="val 8000"/>
            <a:gd name="adj2" fmla="val 0"/>
          </a:avLst>
        </a:prstGeom>
      </dgm:spPr>
      <dgm:t>
        <a:bodyPr/>
        <a:lstStyle/>
        <a:p>
          <a:endParaRPr lang="en-US"/>
        </a:p>
      </dgm:t>
    </dgm:pt>
    <dgm:pt modelId="{D11814AC-9646-461C-BE0D-F5DE3D9ACF06}" type="pres">
      <dgm:prSet presAssocID="{B4B241C2-B24F-44D0-BFE0-497648340376}" presName="aSpace2" presStyleCnt="0"/>
      <dgm:spPr/>
    </dgm:pt>
    <dgm:pt modelId="{B959EA7D-9F0B-4E45-9F93-18B7D37621CE}" type="pres">
      <dgm:prSet presAssocID="{0798E709-BA4E-419E-B9E8-A50A941E9372}" presName="childNode" presStyleLbl="node1" presStyleIdx="22" presStyleCnt="23">
        <dgm:presLayoutVars>
          <dgm:bulletEnabled val="1"/>
        </dgm:presLayoutVars>
      </dgm:prSet>
      <dgm:spPr/>
      <dgm:t>
        <a:bodyPr/>
        <a:lstStyle/>
        <a:p>
          <a:endParaRPr lang="en-US"/>
        </a:p>
      </dgm:t>
    </dgm:pt>
  </dgm:ptLst>
  <dgm:cxnLst>
    <dgm:cxn modelId="{28571303-A53F-48EA-A929-A8E469B55109}" srcId="{3F3F95B3-9EEB-48B0-9B79-C84406B165FC}" destId="{4C0D835A-B65A-44C2-BB43-0C37904F64EB}" srcOrd="4" destOrd="0" parTransId="{04241C9D-AE49-448C-A4EA-291A96CA4473}" sibTransId="{97F64DCB-4967-4226-A605-CF8D662B9918}"/>
    <dgm:cxn modelId="{E6156D0B-078E-45BB-A32F-F76CE00C6491}" srcId="{3F3F95B3-9EEB-48B0-9B79-C84406B165FC}" destId="{1976E9B3-238A-4263-B91D-68342FF8A923}" srcOrd="3" destOrd="0" parTransId="{77EA2897-109E-4E57-9A9C-33C3A00CFACC}" sibTransId="{F633FE9C-336C-42E2-B5A9-70850D350146}"/>
    <dgm:cxn modelId="{47E78608-0BA6-43FA-8B9D-A7553BB3E6C7}" type="presOf" srcId="{BBD7B213-F004-4007-B073-BA0AFB9DAE02}" destId="{8237130C-CFC1-458B-B4C8-4DBAF4D22636}" srcOrd="0" destOrd="0" presId="urn:microsoft.com/office/officeart/2005/8/layout/lProcess2"/>
    <dgm:cxn modelId="{5DEE5708-E676-40FB-A331-09A84ACCC442}" type="presOf" srcId="{2F150AFA-A4ED-4B63-9B0D-D68E6361C285}" destId="{3AFB6A47-98C1-4448-BD2B-0207C5C095F4}" srcOrd="0" destOrd="0" presId="urn:microsoft.com/office/officeart/2005/8/layout/lProcess2"/>
    <dgm:cxn modelId="{5F09EFF4-27F9-4986-964D-BAA860104408}" type="presOf" srcId="{6ECD7908-6F5B-4AB4-B281-C507AFBD4C3E}" destId="{683FF6C4-CBB0-4877-99B3-C67E55BFC765}" srcOrd="0" destOrd="0" presId="urn:microsoft.com/office/officeart/2005/8/layout/lProcess2"/>
    <dgm:cxn modelId="{49CCFA94-7F33-4E20-894A-7C514303A911}" type="presOf" srcId="{A3EE2B27-F41D-42DB-99FE-C5B7AAC9DCAB}" destId="{1380BBF2-F92E-43AA-BD06-2A9B8219332C}" srcOrd="0" destOrd="0" presId="urn:microsoft.com/office/officeart/2005/8/layout/lProcess2"/>
    <dgm:cxn modelId="{9A04EBD9-6C2D-4C0E-B184-9E701AB7EA84}" type="presOf" srcId="{4C0D835A-B65A-44C2-BB43-0C37904F64EB}" destId="{A49E3DC5-0E0A-4802-9FF8-19749D60574A}" srcOrd="0" destOrd="0" presId="urn:microsoft.com/office/officeart/2005/8/layout/lProcess2"/>
    <dgm:cxn modelId="{84E2CE29-C37A-476F-8FE1-B0132E549C7F}" type="presOf" srcId="{CADE6A3C-0098-4BAF-9975-D9A973030982}" destId="{13CA8D46-D4CC-4ADF-A576-ED1A5A75012F}" srcOrd="0" destOrd="0" presId="urn:microsoft.com/office/officeart/2005/8/layout/lProcess2"/>
    <dgm:cxn modelId="{B2D6BF8B-D793-469C-A600-9A2AA3C7E034}" srcId="{DCEBB085-B3DC-4699-9016-864EA7099571}" destId="{F8450B16-C949-4238-8FAE-70B0554DB7F0}" srcOrd="1" destOrd="0" parTransId="{BF27408D-6317-462F-A059-4410CF63EA7F}" sibTransId="{5FDD2FF6-EB66-4218-8466-269B0258822C}"/>
    <dgm:cxn modelId="{F0A9DFA5-51E9-4F6B-838D-DA34962671D2}" type="presOf" srcId="{3F3F95B3-9EEB-48B0-9B79-C84406B165FC}" destId="{7A13265C-0B22-4B9D-8A8E-379A78F94C6F}" srcOrd="0" destOrd="0" presId="urn:microsoft.com/office/officeart/2005/8/layout/lProcess2"/>
    <dgm:cxn modelId="{53BA3C5B-0019-403F-BC20-B04A62A436CF}" srcId="{A630C113-DA40-478A-9754-EC83605356CA}" destId="{BBD7B213-F004-4007-B073-BA0AFB9DAE02}" srcOrd="0" destOrd="0" parTransId="{B626C08D-5656-409A-8635-7025CD88A70C}" sibTransId="{6A03D9BE-7993-4DE8-921D-10A623A540EB}"/>
    <dgm:cxn modelId="{3CCE4D53-4CDF-4CCC-8774-39AD83824A3E}" srcId="{DCEBB085-B3DC-4699-9016-864EA7099571}" destId="{A3EE2B27-F41D-42DB-99FE-C5B7AAC9DCAB}" srcOrd="0" destOrd="0" parTransId="{AB8FA2C2-9474-408B-A637-FBA3D3C43C5B}" sibTransId="{4667B21A-E75F-44CA-BFD3-065BB9259E6C}"/>
    <dgm:cxn modelId="{AF7516A5-9541-49E5-AEF6-C3083A3D3C67}" srcId="{B56DA29E-7137-4D44-96FE-08794490ABBD}" destId="{EC740010-BAC3-454D-BFC2-6997C01CB64A}" srcOrd="2" destOrd="0" parTransId="{85D1E880-2359-4C63-97A6-66A4E1CDBC47}" sibTransId="{0F79BECB-2363-4E7D-91BC-69E5A798C2AA}"/>
    <dgm:cxn modelId="{71432C69-62CE-4A90-B5A4-780DECB4A97B}" srcId="{6F68A551-7E43-408A-B317-B66459EA04D9}" destId="{3F3F95B3-9EEB-48B0-9B79-C84406B165FC}" srcOrd="1" destOrd="0" parTransId="{2E4DE36E-D491-49AA-8DB8-57902F107C9F}" sibTransId="{754B3D68-21A5-456C-8C02-DC8D25C45CDD}"/>
    <dgm:cxn modelId="{A52FEF08-BA9B-4917-89AD-57D922CAF03C}" type="presOf" srcId="{1976E9B3-238A-4263-B91D-68342FF8A923}" destId="{E7C44452-B449-4B8E-AE54-3D3C66A09930}" srcOrd="0" destOrd="0" presId="urn:microsoft.com/office/officeart/2005/8/layout/lProcess2"/>
    <dgm:cxn modelId="{5FC3245D-9CF5-477A-B20A-AFB900C2C2FB}" srcId="{B56DA29E-7137-4D44-96FE-08794490ABBD}" destId="{B4B241C2-B24F-44D0-BFE0-497648340376}" srcOrd="3" destOrd="0" parTransId="{222A7C1B-A9D3-423B-9CFF-B1DA15EF6498}" sibTransId="{0A48D954-19FC-4028-B6B4-848C6909EE25}"/>
    <dgm:cxn modelId="{10D0A68B-51A2-401F-AA40-F1CE7B6495A1}" srcId="{D9F5310C-4511-455F-92A9-00BA44C19991}" destId="{83393304-4AD9-4C5B-AF48-27D862C55F72}" srcOrd="2" destOrd="0" parTransId="{F4AE1700-77A1-4B47-A0DC-D6EA6B68D517}" sibTransId="{529B5AB2-CB2C-4024-9216-BBAF02C2DF03}"/>
    <dgm:cxn modelId="{DF84974B-5243-4EFF-A152-B6FBF53AEFCA}" srcId="{CADE6A3C-0098-4BAF-9975-D9A973030982}" destId="{0CD0DDAF-039C-4FF3-9CB2-A945878277AB}" srcOrd="1" destOrd="0" parTransId="{E67D1DB4-2411-4A6D-B99D-E64C6ACD6D85}" sibTransId="{2F174FE7-7521-42E9-9565-7749B6E38CD0}"/>
    <dgm:cxn modelId="{3FF6E5C2-8B4F-4464-8D67-560449489E8E}" srcId="{B56DA29E-7137-4D44-96FE-08794490ABBD}" destId="{0798E709-BA4E-419E-B9E8-A50A941E9372}" srcOrd="4" destOrd="0" parTransId="{310D7B26-794F-4D8C-80CE-E42DF7476824}" sibTransId="{817C4CED-8FAD-4800-A101-31197C1A5957}"/>
    <dgm:cxn modelId="{72579B8D-F7AD-4C94-859E-C93B6D4711A3}" srcId="{DCEBB085-B3DC-4699-9016-864EA7099571}" destId="{8825E59D-D28D-4BD0-AFBA-4050A32838A7}" srcOrd="2" destOrd="0" parTransId="{1B6C1484-B8CD-41C2-9F34-89482618AF01}" sibTransId="{1EF54172-0975-4238-9961-424F1E8EE257}"/>
    <dgm:cxn modelId="{21D6ADD2-CAA1-4816-A9DB-7C8CB9892EA1}" type="presOf" srcId="{F8450B16-C949-4238-8FAE-70B0554DB7F0}" destId="{43FE6F37-1998-46A6-AC6D-52E911D54111}" srcOrd="0" destOrd="0" presId="urn:microsoft.com/office/officeart/2005/8/layout/lProcess2"/>
    <dgm:cxn modelId="{21924141-9965-4023-9F9A-9A3B993E693C}" type="presOf" srcId="{0CD0DDAF-039C-4FF3-9CB2-A945878277AB}" destId="{4AE5FFDD-1BF1-4B95-82F9-DE99E74A98AF}" srcOrd="0" destOrd="0" presId="urn:microsoft.com/office/officeart/2005/8/layout/lProcess2"/>
    <dgm:cxn modelId="{C88C6A78-7DFA-4718-9CE2-637DDDDF6BEE}" type="presOf" srcId="{4A894500-75AB-4923-B756-EBFE2105B2C5}" destId="{25770E3C-D575-434C-9FA3-9B4B4E5F51D3}" srcOrd="0" destOrd="0" presId="urn:microsoft.com/office/officeart/2005/8/layout/lProcess2"/>
    <dgm:cxn modelId="{C3A4B494-6888-42F6-9E96-CE26FE05F5CD}" type="presOf" srcId="{054411EE-63EB-4F74-9C8D-629E1E7FE60F}" destId="{FEBDB620-9732-485A-BF23-75777F50BF53}" srcOrd="0" destOrd="0" presId="urn:microsoft.com/office/officeart/2005/8/layout/lProcess2"/>
    <dgm:cxn modelId="{BA2E6923-2171-4626-A5D0-A0F276AFCD88}" srcId="{D9F5310C-4511-455F-92A9-00BA44C19991}" destId="{DA1FBAA2-DD42-4C54-B804-156F3ED215A0}" srcOrd="1" destOrd="0" parTransId="{63F08C69-C4C6-42C9-9912-CE1CBAD732EB}" sibTransId="{7AE585B0-6B4A-444D-9733-F6AB43544759}"/>
    <dgm:cxn modelId="{2E4529AD-2F42-4F65-BBF2-98DC2E495A4E}" type="presOf" srcId="{CADE6A3C-0098-4BAF-9975-D9A973030982}" destId="{042F6B52-6D19-4493-A3E1-3F82594D8C49}" srcOrd="1" destOrd="0" presId="urn:microsoft.com/office/officeart/2005/8/layout/lProcess2"/>
    <dgm:cxn modelId="{29FF8C78-0F9C-422F-8404-AF40EC660FDC}" srcId="{6F68A551-7E43-408A-B317-B66459EA04D9}" destId="{B56DA29E-7137-4D44-96FE-08794490ABBD}" srcOrd="5" destOrd="0" parTransId="{5C308700-BCA5-40CD-9848-48B6FDF0A893}" sibTransId="{B60F70D2-D5FC-467C-9E30-7E4E891A5BEF}"/>
    <dgm:cxn modelId="{4684B00A-A6D1-41A3-A1DD-2077CF2987FA}" srcId="{A630C113-DA40-478A-9754-EC83605356CA}" destId="{4A894500-75AB-4923-B756-EBFE2105B2C5}" srcOrd="1" destOrd="0" parTransId="{0A9636C1-1939-4744-B9F0-AF80B3F80E7C}" sibTransId="{C3C3B107-EE7B-4E28-8425-0E24D5A55B72}"/>
    <dgm:cxn modelId="{89EEFF53-8584-4E6A-BBBA-DFAA17E1D7D1}" type="presOf" srcId="{D9F5310C-4511-455F-92A9-00BA44C19991}" destId="{08A9C4FC-4A7C-42D3-930E-1BE1C4348D23}" srcOrd="1" destOrd="0" presId="urn:microsoft.com/office/officeart/2005/8/layout/lProcess2"/>
    <dgm:cxn modelId="{80F65522-42D8-449F-8D4A-67D603A482CC}" type="presOf" srcId="{4CE9E562-3FE6-407F-8CE1-30BC68127994}" destId="{A9213B6B-AFD0-418A-845A-56A54BF2F623}" srcOrd="0" destOrd="0" presId="urn:microsoft.com/office/officeart/2005/8/layout/lProcess2"/>
    <dgm:cxn modelId="{B3A3F05D-8FCB-48AB-BAB8-1545DC0EB021}" srcId="{3F3F95B3-9EEB-48B0-9B79-C84406B165FC}" destId="{D1D59C95-D2B4-432B-B956-0AE441DD0493}" srcOrd="2" destOrd="0" parTransId="{0C83D02E-F3C2-46CC-80CF-E485C825159A}" sibTransId="{2DE3A07A-D215-4813-B2DB-8D376BACD198}"/>
    <dgm:cxn modelId="{F2FBEE23-29B9-4887-A1EF-FD8979F8018F}" type="presOf" srcId="{77FBE271-CD23-40AE-BAC5-E8631C6F9792}" destId="{FCADB838-A3CA-4A8D-AEC9-14EC767CCF35}" srcOrd="0" destOrd="0" presId="urn:microsoft.com/office/officeart/2005/8/layout/lProcess2"/>
    <dgm:cxn modelId="{AA5866A6-03C5-442D-83CB-9B2C670E2948}" type="presOf" srcId="{83393304-4AD9-4C5B-AF48-27D862C55F72}" destId="{75AD852E-355B-420A-B55E-2883E49B2B09}" srcOrd="0" destOrd="0" presId="urn:microsoft.com/office/officeart/2005/8/layout/lProcess2"/>
    <dgm:cxn modelId="{877566D3-56D5-4F9A-A6C4-9CF9ACC059F7}" type="presOf" srcId="{3A7D99EA-A0BE-4ADE-90EB-541506F0DAA8}" destId="{881451FF-C1D5-4857-A043-742F95A09659}" srcOrd="0" destOrd="0" presId="urn:microsoft.com/office/officeart/2005/8/layout/lProcess2"/>
    <dgm:cxn modelId="{CD694DF0-83D0-482B-8F52-B6FCCA07FFBC}" type="presOf" srcId="{0798E709-BA4E-419E-B9E8-A50A941E9372}" destId="{B959EA7D-9F0B-4E45-9F93-18B7D37621CE}" srcOrd="0" destOrd="0" presId="urn:microsoft.com/office/officeart/2005/8/layout/lProcess2"/>
    <dgm:cxn modelId="{07A99C1C-F229-4FCE-8114-D974C903079C}" srcId="{6F68A551-7E43-408A-B317-B66459EA04D9}" destId="{CADE6A3C-0098-4BAF-9975-D9A973030982}" srcOrd="4" destOrd="0" parTransId="{2C6D08D8-77A6-4E71-8622-D93E803294E6}" sibTransId="{2F6BEC9C-D18D-431C-94A1-65F0FB6826DF}"/>
    <dgm:cxn modelId="{1220AE1D-161C-406C-B5B5-3D695579081A}" type="presOf" srcId="{A630C113-DA40-478A-9754-EC83605356CA}" destId="{34AC75A0-24E2-48B8-8639-08B485C7FBD3}" srcOrd="1" destOrd="0" presId="urn:microsoft.com/office/officeart/2005/8/layout/lProcess2"/>
    <dgm:cxn modelId="{73C2E74E-2744-46A0-A3DF-52A813604B1E}" srcId="{B56DA29E-7137-4D44-96FE-08794490ABBD}" destId="{A15EA1DA-247C-484A-80A0-DF1752D9D38F}" srcOrd="0" destOrd="0" parTransId="{EF20EC1D-F171-45D0-BCBE-0130A6990045}" sibTransId="{71777BA1-5B5B-48F7-8AE9-C24CBE90250D}"/>
    <dgm:cxn modelId="{CF6BF33D-4C5A-4B05-8C7F-5B4CEEA8AAE3}" srcId="{CADE6A3C-0098-4BAF-9975-D9A973030982}" destId="{934AD681-DBD8-45AF-AAB6-CEC2DC16A520}" srcOrd="0" destOrd="0" parTransId="{EA86F5E3-C6A4-4E6C-AB62-210CAAF1D3EF}" sibTransId="{7FD2EBD7-5519-483C-8C33-BFC033668FDE}"/>
    <dgm:cxn modelId="{88B30AB7-553A-40D2-9B18-275CFAE4C67B}" type="presOf" srcId="{B56DA29E-7137-4D44-96FE-08794490ABBD}" destId="{27591124-774B-46CA-899A-9DE9E08D368C}" srcOrd="0" destOrd="0" presId="urn:microsoft.com/office/officeart/2005/8/layout/lProcess2"/>
    <dgm:cxn modelId="{6ECBC213-72B6-4781-AF77-4C6EF9CBF2DA}" srcId="{A630C113-DA40-478A-9754-EC83605356CA}" destId="{054411EE-63EB-4F74-9C8D-629E1E7FE60F}" srcOrd="2" destOrd="0" parTransId="{4003A2C5-654B-412C-988F-E38DB023373F}" sibTransId="{55CD7CD8-40AD-4998-B982-1B9786D708DA}"/>
    <dgm:cxn modelId="{FD6BEDF7-1082-421B-A488-56BC16FBFAB9}" srcId="{D9F5310C-4511-455F-92A9-00BA44C19991}" destId="{6ECD7908-6F5B-4AB4-B281-C507AFBD4C3E}" srcOrd="0" destOrd="0" parTransId="{002E5A4A-5820-4F27-93AA-C5A5122CD0A1}" sibTransId="{7AAB4C61-513F-4B36-BF6A-9C61E0A72952}"/>
    <dgm:cxn modelId="{C22B8747-5D14-4F6F-B7C6-21666E8E74D6}" type="presOf" srcId="{934AD681-DBD8-45AF-AAB6-CEC2DC16A520}" destId="{2D9E9755-6C19-4D9F-8697-2A78908BB979}" srcOrd="0" destOrd="0" presId="urn:microsoft.com/office/officeart/2005/8/layout/lProcess2"/>
    <dgm:cxn modelId="{BAD3E0E3-C01B-4610-9848-4B170CE2BB44}" srcId="{6F68A551-7E43-408A-B317-B66459EA04D9}" destId="{A630C113-DA40-478A-9754-EC83605356CA}" srcOrd="3" destOrd="0" parTransId="{E16659A8-9B51-4CF4-AA64-4920F3F5DD41}" sibTransId="{A3B7FF09-911C-49BF-98BB-E2FD6BBF744B}"/>
    <dgm:cxn modelId="{52AB2277-7C21-4278-8DF7-3A83CAD6320C}" type="presOf" srcId="{DCEBB085-B3DC-4699-9016-864EA7099571}" destId="{21E321BF-E8C7-40CF-BE36-D1A71D591B04}" srcOrd="0" destOrd="0" presId="urn:microsoft.com/office/officeart/2005/8/layout/lProcess2"/>
    <dgm:cxn modelId="{0F49630E-40B3-48B5-88E8-D0A838FADD42}" type="presOf" srcId="{B4B241C2-B24F-44D0-BFE0-497648340376}" destId="{9EE523E2-FD30-4CA9-A6CF-8D8AD8DAA6FD}" srcOrd="0" destOrd="0" presId="urn:microsoft.com/office/officeart/2005/8/layout/lProcess2"/>
    <dgm:cxn modelId="{C55C3E49-43A1-4CB7-9DF6-1487AB76A42E}" srcId="{3F3F95B3-9EEB-48B0-9B79-C84406B165FC}" destId="{4CE9E562-3FE6-407F-8CE1-30BC68127994}" srcOrd="0" destOrd="0" parTransId="{D8776E7A-98C7-4564-B0E9-512B122EA563}" sibTransId="{DB85C9A5-FB34-4EC5-8913-D5342840D893}"/>
    <dgm:cxn modelId="{45ED0B06-EC40-46D0-91DA-23CF6B095C58}" srcId="{B56DA29E-7137-4D44-96FE-08794490ABBD}" destId="{2F150AFA-A4ED-4B63-9B0D-D68E6361C285}" srcOrd="1" destOrd="0" parTransId="{BF9B26FC-B33E-4341-B054-C04F5AE91858}" sibTransId="{F53A471B-09C0-46AC-BE69-F3A367D3BDEF}"/>
    <dgm:cxn modelId="{2CE43020-26A7-4A40-BAE2-8D0775C5B180}" type="presOf" srcId="{A630C113-DA40-478A-9754-EC83605356CA}" destId="{427054C7-1136-44E4-866C-A10DB3570D9F}" srcOrd="0" destOrd="0" presId="urn:microsoft.com/office/officeart/2005/8/layout/lProcess2"/>
    <dgm:cxn modelId="{6BB71F03-B72B-419B-8542-2689B8215CFE}" srcId="{A630C113-DA40-478A-9754-EC83605356CA}" destId="{77FBE271-CD23-40AE-BAC5-E8631C6F9792}" srcOrd="3" destOrd="0" parTransId="{87B58152-A86D-4D62-9262-0CA84A29C1C0}" sibTransId="{8D4C7B2C-2855-4F32-A124-14A9E377555B}"/>
    <dgm:cxn modelId="{A00EF0BA-E22B-4606-8DEC-EC525930CDC6}" type="presOf" srcId="{3F3F95B3-9EEB-48B0-9B79-C84406B165FC}" destId="{6DE99998-CABC-486B-A196-186C5B7C02D3}" srcOrd="1" destOrd="0" presId="urn:microsoft.com/office/officeart/2005/8/layout/lProcess2"/>
    <dgm:cxn modelId="{4B9BD243-7688-4CE7-9770-3AC355A1B748}" type="presOf" srcId="{DA1FBAA2-DD42-4C54-B804-156F3ED215A0}" destId="{0B493253-197A-401D-A3EC-9EE6D5B1C472}" srcOrd="0" destOrd="0" presId="urn:microsoft.com/office/officeart/2005/8/layout/lProcess2"/>
    <dgm:cxn modelId="{2428E177-0C86-4163-9D0A-758D4CFAE7FE}" type="presOf" srcId="{DCEBB085-B3DC-4699-9016-864EA7099571}" destId="{52DED51F-2E91-4213-B314-7F5D012DC3C1}" srcOrd="1" destOrd="0" presId="urn:microsoft.com/office/officeart/2005/8/layout/lProcess2"/>
    <dgm:cxn modelId="{B75C7E4E-1812-488F-9358-C6E3376A0BF6}" type="presOf" srcId="{8825E59D-D28D-4BD0-AFBA-4050A32838A7}" destId="{20004024-ACE7-4E9B-B3FF-26DD75510814}" srcOrd="0" destOrd="0" presId="urn:microsoft.com/office/officeart/2005/8/layout/lProcess2"/>
    <dgm:cxn modelId="{B1C6A9EC-A8B8-432F-887D-66C5B66FF7EA}" srcId="{CADE6A3C-0098-4BAF-9975-D9A973030982}" destId="{2CC241A4-A199-477E-9411-E482481D33F9}" srcOrd="2" destOrd="0" parTransId="{11E44B46-BC17-48FB-9B06-5E860BB9CD5C}" sibTransId="{CFF742CF-DCF5-4DBA-84A5-95ED87F959EA}"/>
    <dgm:cxn modelId="{C624025F-576C-431A-9EFF-DA9F48965981}" type="presOf" srcId="{6F68A551-7E43-408A-B317-B66459EA04D9}" destId="{84EC9327-8D02-483C-95FF-3DEE6328D1F7}" srcOrd="0" destOrd="0" presId="urn:microsoft.com/office/officeart/2005/8/layout/lProcess2"/>
    <dgm:cxn modelId="{2E90CF9E-5716-4109-AA93-C11D427B494E}" type="presOf" srcId="{A15EA1DA-247C-484A-80A0-DF1752D9D38F}" destId="{553F750D-4F62-4DE8-8E31-65D8991E5DDE}" srcOrd="0" destOrd="0" presId="urn:microsoft.com/office/officeart/2005/8/layout/lProcess2"/>
    <dgm:cxn modelId="{DD30C45C-7936-4C67-B5BE-32BC6040B628}" type="presOf" srcId="{B56DA29E-7137-4D44-96FE-08794490ABBD}" destId="{989CC85C-D9D8-466C-AB0F-D105D3D10D77}" srcOrd="1" destOrd="0" presId="urn:microsoft.com/office/officeart/2005/8/layout/lProcess2"/>
    <dgm:cxn modelId="{E3B4D8F5-5EF9-4C4B-9AD2-378215F1AD0E}" srcId="{6F68A551-7E43-408A-B317-B66459EA04D9}" destId="{DCEBB085-B3DC-4699-9016-864EA7099571}" srcOrd="0" destOrd="0" parTransId="{47B4B243-7FA5-46EF-B833-C3BAAD2B807E}" sibTransId="{D845D11B-AC27-4D6E-850C-FA2D6540A94C}"/>
    <dgm:cxn modelId="{D4A3403F-B5B7-4048-B404-AD9043F74445}" srcId="{6F68A551-7E43-408A-B317-B66459EA04D9}" destId="{D9F5310C-4511-455F-92A9-00BA44C19991}" srcOrd="2" destOrd="0" parTransId="{F876E5C5-70A4-4EB4-9ACC-9655F9E43614}" sibTransId="{47F70D03-E16E-493E-818D-4523158665EF}"/>
    <dgm:cxn modelId="{DC6BB859-9C74-494F-8EC3-5E13B15F903C}" type="presOf" srcId="{2CC241A4-A199-477E-9411-E482481D33F9}" destId="{0E8CD5D9-1964-4D84-84BA-638805FD3C5D}" srcOrd="0" destOrd="0" presId="urn:microsoft.com/office/officeart/2005/8/layout/lProcess2"/>
    <dgm:cxn modelId="{405A0106-3F71-4E55-9780-AC5CE8145D9A}" srcId="{3F3F95B3-9EEB-48B0-9B79-C84406B165FC}" destId="{3A7D99EA-A0BE-4ADE-90EB-541506F0DAA8}" srcOrd="1" destOrd="0" parTransId="{702981CB-634E-45F2-82AE-F6C87882C03B}" sibTransId="{0B3EC0EC-DA0A-42C8-9B25-5AE97BE611D5}"/>
    <dgm:cxn modelId="{373B79E7-903F-4AC8-ACD7-A80B6EF619CA}" type="presOf" srcId="{EC740010-BAC3-454D-BFC2-6997C01CB64A}" destId="{44DF4F1E-C3CE-4E69-8FE0-FB81A896E57D}" srcOrd="0" destOrd="0" presId="urn:microsoft.com/office/officeart/2005/8/layout/lProcess2"/>
    <dgm:cxn modelId="{7E8F9069-BF9C-4652-8F6C-1F33752AC66D}" type="presOf" srcId="{D9F5310C-4511-455F-92A9-00BA44C19991}" destId="{4FD24DDE-7D70-45F0-9ADA-1E12A591D2DA}" srcOrd="0" destOrd="0" presId="urn:microsoft.com/office/officeart/2005/8/layout/lProcess2"/>
    <dgm:cxn modelId="{19FAA227-F2BA-4DEF-AC6B-6BB0D7806040}" type="presOf" srcId="{D1D59C95-D2B4-432B-B956-0AE441DD0493}" destId="{6E291A2E-B053-4CEE-B63E-9438110E9374}" srcOrd="0" destOrd="0" presId="urn:microsoft.com/office/officeart/2005/8/layout/lProcess2"/>
    <dgm:cxn modelId="{899CF77E-41D1-4672-AE06-5B2A2CC8EDC8}" type="presParOf" srcId="{84EC9327-8D02-483C-95FF-3DEE6328D1F7}" destId="{EFADA77B-E16E-4113-8457-9B757EE8E5D9}" srcOrd="0" destOrd="0" presId="urn:microsoft.com/office/officeart/2005/8/layout/lProcess2"/>
    <dgm:cxn modelId="{8CF4A451-1C45-4A9D-8C0E-AB47B498B2FE}" type="presParOf" srcId="{EFADA77B-E16E-4113-8457-9B757EE8E5D9}" destId="{21E321BF-E8C7-40CF-BE36-D1A71D591B04}" srcOrd="0" destOrd="0" presId="urn:microsoft.com/office/officeart/2005/8/layout/lProcess2"/>
    <dgm:cxn modelId="{D6B5B8A2-4D2E-444F-A12A-39FA477FD98A}" type="presParOf" srcId="{EFADA77B-E16E-4113-8457-9B757EE8E5D9}" destId="{52DED51F-2E91-4213-B314-7F5D012DC3C1}" srcOrd="1" destOrd="0" presId="urn:microsoft.com/office/officeart/2005/8/layout/lProcess2"/>
    <dgm:cxn modelId="{8F2D95C9-E95F-40FD-95F7-54C1CAC932F5}" type="presParOf" srcId="{EFADA77B-E16E-4113-8457-9B757EE8E5D9}" destId="{594BDCAE-5C5D-42DF-A634-A54C64179D54}" srcOrd="2" destOrd="0" presId="urn:microsoft.com/office/officeart/2005/8/layout/lProcess2"/>
    <dgm:cxn modelId="{1F514D54-D48B-4191-8B5B-C6D4C6AAA9C2}" type="presParOf" srcId="{594BDCAE-5C5D-42DF-A634-A54C64179D54}" destId="{A15B11C7-4BAF-488A-BC14-BE8B8C036C56}" srcOrd="0" destOrd="0" presId="urn:microsoft.com/office/officeart/2005/8/layout/lProcess2"/>
    <dgm:cxn modelId="{0B125B27-8767-4EF8-880A-4AB49D30950A}" type="presParOf" srcId="{A15B11C7-4BAF-488A-BC14-BE8B8C036C56}" destId="{1380BBF2-F92E-43AA-BD06-2A9B8219332C}" srcOrd="0" destOrd="0" presId="urn:microsoft.com/office/officeart/2005/8/layout/lProcess2"/>
    <dgm:cxn modelId="{E83072FB-089E-4402-897D-475CC5EBB2FB}" type="presParOf" srcId="{A15B11C7-4BAF-488A-BC14-BE8B8C036C56}" destId="{A65BEA65-7B1A-414C-933D-C2E2D4410C63}" srcOrd="1" destOrd="0" presId="urn:microsoft.com/office/officeart/2005/8/layout/lProcess2"/>
    <dgm:cxn modelId="{7B215D93-7726-497B-8ECE-4D4529EA7A7C}" type="presParOf" srcId="{A15B11C7-4BAF-488A-BC14-BE8B8C036C56}" destId="{43FE6F37-1998-46A6-AC6D-52E911D54111}" srcOrd="2" destOrd="0" presId="urn:microsoft.com/office/officeart/2005/8/layout/lProcess2"/>
    <dgm:cxn modelId="{35D9A5AD-E649-484A-8E93-3B0F806B350C}" type="presParOf" srcId="{A15B11C7-4BAF-488A-BC14-BE8B8C036C56}" destId="{F4D3AED7-EF8D-4502-B655-F4B5C42EE212}" srcOrd="3" destOrd="0" presId="urn:microsoft.com/office/officeart/2005/8/layout/lProcess2"/>
    <dgm:cxn modelId="{F62D4C0E-EC8E-44C1-8101-8033FB4941C3}" type="presParOf" srcId="{A15B11C7-4BAF-488A-BC14-BE8B8C036C56}" destId="{20004024-ACE7-4E9B-B3FF-26DD75510814}" srcOrd="4" destOrd="0" presId="urn:microsoft.com/office/officeart/2005/8/layout/lProcess2"/>
    <dgm:cxn modelId="{20AC0DAB-0DE8-4062-B24B-4D2450728D86}" type="presParOf" srcId="{84EC9327-8D02-483C-95FF-3DEE6328D1F7}" destId="{32C6C92A-E8B9-4789-B072-AC0A84E330B1}" srcOrd="1" destOrd="0" presId="urn:microsoft.com/office/officeart/2005/8/layout/lProcess2"/>
    <dgm:cxn modelId="{CAE60CEE-B571-4ED9-9A39-4A7132006823}" type="presParOf" srcId="{84EC9327-8D02-483C-95FF-3DEE6328D1F7}" destId="{0DDEB70D-8C46-40BF-A18A-B9D328AE5B3F}" srcOrd="2" destOrd="0" presId="urn:microsoft.com/office/officeart/2005/8/layout/lProcess2"/>
    <dgm:cxn modelId="{BE038D32-C238-4955-817A-4A1FCD7FC96D}" type="presParOf" srcId="{0DDEB70D-8C46-40BF-A18A-B9D328AE5B3F}" destId="{7A13265C-0B22-4B9D-8A8E-379A78F94C6F}" srcOrd="0" destOrd="0" presId="urn:microsoft.com/office/officeart/2005/8/layout/lProcess2"/>
    <dgm:cxn modelId="{D35EE2A2-60B8-4976-B379-BD177A59AC5C}" type="presParOf" srcId="{0DDEB70D-8C46-40BF-A18A-B9D328AE5B3F}" destId="{6DE99998-CABC-486B-A196-186C5B7C02D3}" srcOrd="1" destOrd="0" presId="urn:microsoft.com/office/officeart/2005/8/layout/lProcess2"/>
    <dgm:cxn modelId="{CA9B4589-9190-41E4-B585-3F4BDF850E86}" type="presParOf" srcId="{0DDEB70D-8C46-40BF-A18A-B9D328AE5B3F}" destId="{00720F54-03BC-4F56-B1BD-DAA94DC5D7AA}" srcOrd="2" destOrd="0" presId="urn:microsoft.com/office/officeart/2005/8/layout/lProcess2"/>
    <dgm:cxn modelId="{B6AC69E2-B60B-438E-80B1-BF86908896F8}" type="presParOf" srcId="{00720F54-03BC-4F56-B1BD-DAA94DC5D7AA}" destId="{771C6DA5-73D0-4DA3-BA4B-B2456BB7977B}" srcOrd="0" destOrd="0" presId="urn:microsoft.com/office/officeart/2005/8/layout/lProcess2"/>
    <dgm:cxn modelId="{8BE87D99-2B33-40DD-9B36-E184320578D8}" type="presParOf" srcId="{771C6DA5-73D0-4DA3-BA4B-B2456BB7977B}" destId="{A9213B6B-AFD0-418A-845A-56A54BF2F623}" srcOrd="0" destOrd="0" presId="urn:microsoft.com/office/officeart/2005/8/layout/lProcess2"/>
    <dgm:cxn modelId="{26012A37-4233-4CBF-9874-59EBD58137FA}" type="presParOf" srcId="{771C6DA5-73D0-4DA3-BA4B-B2456BB7977B}" destId="{C8ECAB21-9DB5-45F0-8417-F734E22C14FF}" srcOrd="1" destOrd="0" presId="urn:microsoft.com/office/officeart/2005/8/layout/lProcess2"/>
    <dgm:cxn modelId="{EC353DAB-2669-4136-B040-FED50052E395}" type="presParOf" srcId="{771C6DA5-73D0-4DA3-BA4B-B2456BB7977B}" destId="{881451FF-C1D5-4857-A043-742F95A09659}" srcOrd="2" destOrd="0" presId="urn:microsoft.com/office/officeart/2005/8/layout/lProcess2"/>
    <dgm:cxn modelId="{2DE61C41-B9ED-4F9E-8497-6C0534B1076B}" type="presParOf" srcId="{771C6DA5-73D0-4DA3-BA4B-B2456BB7977B}" destId="{14F4850A-2A83-4AE0-BEE1-338F7C3FF16E}" srcOrd="3" destOrd="0" presId="urn:microsoft.com/office/officeart/2005/8/layout/lProcess2"/>
    <dgm:cxn modelId="{AA1778A3-DDE0-4791-B8A8-1B2F47121574}" type="presParOf" srcId="{771C6DA5-73D0-4DA3-BA4B-B2456BB7977B}" destId="{6E291A2E-B053-4CEE-B63E-9438110E9374}" srcOrd="4" destOrd="0" presId="urn:microsoft.com/office/officeart/2005/8/layout/lProcess2"/>
    <dgm:cxn modelId="{ECD0225B-DD3D-4356-90D8-2565EFA16C19}" type="presParOf" srcId="{771C6DA5-73D0-4DA3-BA4B-B2456BB7977B}" destId="{DC9EE1E7-17B4-4501-B24F-E9F36BCED450}" srcOrd="5" destOrd="0" presId="urn:microsoft.com/office/officeart/2005/8/layout/lProcess2"/>
    <dgm:cxn modelId="{8F174509-B458-4974-8824-6084365C0786}" type="presParOf" srcId="{771C6DA5-73D0-4DA3-BA4B-B2456BB7977B}" destId="{E7C44452-B449-4B8E-AE54-3D3C66A09930}" srcOrd="6" destOrd="0" presId="urn:microsoft.com/office/officeart/2005/8/layout/lProcess2"/>
    <dgm:cxn modelId="{60E27158-F937-4B48-ABEF-21D4EECBCCC7}" type="presParOf" srcId="{771C6DA5-73D0-4DA3-BA4B-B2456BB7977B}" destId="{1EA38475-26DC-4D6F-9AA0-4A942307C75C}" srcOrd="7" destOrd="0" presId="urn:microsoft.com/office/officeart/2005/8/layout/lProcess2"/>
    <dgm:cxn modelId="{406CE0CC-2D18-4BAA-AB6A-6417D2D112F9}" type="presParOf" srcId="{771C6DA5-73D0-4DA3-BA4B-B2456BB7977B}" destId="{A49E3DC5-0E0A-4802-9FF8-19749D60574A}" srcOrd="8" destOrd="0" presId="urn:microsoft.com/office/officeart/2005/8/layout/lProcess2"/>
    <dgm:cxn modelId="{2EC44078-B515-4E00-8AFB-D85069557A70}" type="presParOf" srcId="{84EC9327-8D02-483C-95FF-3DEE6328D1F7}" destId="{8604CFFF-6938-4E18-8D06-9C65FFDF936B}" srcOrd="3" destOrd="0" presId="urn:microsoft.com/office/officeart/2005/8/layout/lProcess2"/>
    <dgm:cxn modelId="{CCC01101-CB02-4BF4-90F2-40B16B439D2A}" type="presParOf" srcId="{84EC9327-8D02-483C-95FF-3DEE6328D1F7}" destId="{ACE7A1FF-B061-4A13-917A-89FB23DB6E5F}" srcOrd="4" destOrd="0" presId="urn:microsoft.com/office/officeart/2005/8/layout/lProcess2"/>
    <dgm:cxn modelId="{69086D19-BB3E-4718-8C27-F86BC5C61D9A}" type="presParOf" srcId="{ACE7A1FF-B061-4A13-917A-89FB23DB6E5F}" destId="{4FD24DDE-7D70-45F0-9ADA-1E12A591D2DA}" srcOrd="0" destOrd="0" presId="urn:microsoft.com/office/officeart/2005/8/layout/lProcess2"/>
    <dgm:cxn modelId="{4EF71B15-E126-41A1-8717-BD4EFE6AA1F8}" type="presParOf" srcId="{ACE7A1FF-B061-4A13-917A-89FB23DB6E5F}" destId="{08A9C4FC-4A7C-42D3-930E-1BE1C4348D23}" srcOrd="1" destOrd="0" presId="urn:microsoft.com/office/officeart/2005/8/layout/lProcess2"/>
    <dgm:cxn modelId="{EED4E811-3F08-4921-BA55-BFC547181276}" type="presParOf" srcId="{ACE7A1FF-B061-4A13-917A-89FB23DB6E5F}" destId="{7B0F8F4A-7828-4D6B-B6C5-DB1F793AA420}" srcOrd="2" destOrd="0" presId="urn:microsoft.com/office/officeart/2005/8/layout/lProcess2"/>
    <dgm:cxn modelId="{FFFA740F-9397-4B1B-9481-E3C436063447}" type="presParOf" srcId="{7B0F8F4A-7828-4D6B-B6C5-DB1F793AA420}" destId="{C1FCAFD4-64FC-400F-9A13-192DF7D4A67F}" srcOrd="0" destOrd="0" presId="urn:microsoft.com/office/officeart/2005/8/layout/lProcess2"/>
    <dgm:cxn modelId="{F08583B1-2E4B-41BA-8783-F2FD439EF87C}" type="presParOf" srcId="{C1FCAFD4-64FC-400F-9A13-192DF7D4A67F}" destId="{683FF6C4-CBB0-4877-99B3-C67E55BFC765}" srcOrd="0" destOrd="0" presId="urn:microsoft.com/office/officeart/2005/8/layout/lProcess2"/>
    <dgm:cxn modelId="{C656FA14-B5B4-4D96-AF1D-D0A3F23B4E97}" type="presParOf" srcId="{C1FCAFD4-64FC-400F-9A13-192DF7D4A67F}" destId="{E71AC322-0289-4941-B68E-13589A9051E6}" srcOrd="1" destOrd="0" presId="urn:microsoft.com/office/officeart/2005/8/layout/lProcess2"/>
    <dgm:cxn modelId="{228CD588-6D45-47FA-BD02-353BF333D615}" type="presParOf" srcId="{C1FCAFD4-64FC-400F-9A13-192DF7D4A67F}" destId="{0B493253-197A-401D-A3EC-9EE6D5B1C472}" srcOrd="2" destOrd="0" presId="urn:microsoft.com/office/officeart/2005/8/layout/lProcess2"/>
    <dgm:cxn modelId="{5681120A-9141-4B9E-BB46-50E5B0A01CD6}" type="presParOf" srcId="{C1FCAFD4-64FC-400F-9A13-192DF7D4A67F}" destId="{9473C5B9-C062-49A9-8C2B-ECB463BB3EB9}" srcOrd="3" destOrd="0" presId="urn:microsoft.com/office/officeart/2005/8/layout/lProcess2"/>
    <dgm:cxn modelId="{F065C768-526D-41E9-8588-0EA71566D894}" type="presParOf" srcId="{C1FCAFD4-64FC-400F-9A13-192DF7D4A67F}" destId="{75AD852E-355B-420A-B55E-2883E49B2B09}" srcOrd="4" destOrd="0" presId="urn:microsoft.com/office/officeart/2005/8/layout/lProcess2"/>
    <dgm:cxn modelId="{53168B7C-249C-4413-9CE3-CEC1892F0A24}" type="presParOf" srcId="{84EC9327-8D02-483C-95FF-3DEE6328D1F7}" destId="{92121FFF-F932-4886-80E2-6C3D1BCBB174}" srcOrd="5" destOrd="0" presId="urn:microsoft.com/office/officeart/2005/8/layout/lProcess2"/>
    <dgm:cxn modelId="{73FD9F2E-5303-4DB6-BD11-673A755DB36A}" type="presParOf" srcId="{84EC9327-8D02-483C-95FF-3DEE6328D1F7}" destId="{9F2495BB-17FE-45D1-832F-01FC5A5E2AC0}" srcOrd="6" destOrd="0" presId="urn:microsoft.com/office/officeart/2005/8/layout/lProcess2"/>
    <dgm:cxn modelId="{F7328BA6-6E8E-4E05-B727-D2C3135F2B47}" type="presParOf" srcId="{9F2495BB-17FE-45D1-832F-01FC5A5E2AC0}" destId="{427054C7-1136-44E4-866C-A10DB3570D9F}" srcOrd="0" destOrd="0" presId="urn:microsoft.com/office/officeart/2005/8/layout/lProcess2"/>
    <dgm:cxn modelId="{8D22C000-34B6-4FB5-A2EF-3AB533E224E3}" type="presParOf" srcId="{9F2495BB-17FE-45D1-832F-01FC5A5E2AC0}" destId="{34AC75A0-24E2-48B8-8639-08B485C7FBD3}" srcOrd="1" destOrd="0" presId="urn:microsoft.com/office/officeart/2005/8/layout/lProcess2"/>
    <dgm:cxn modelId="{A0CA9589-F876-4058-AB83-92E36CFCB8AF}" type="presParOf" srcId="{9F2495BB-17FE-45D1-832F-01FC5A5E2AC0}" destId="{E0E2AC1C-D742-4B3B-8675-8F3552FFBFFC}" srcOrd="2" destOrd="0" presId="urn:microsoft.com/office/officeart/2005/8/layout/lProcess2"/>
    <dgm:cxn modelId="{9AF92497-938C-40F2-972B-AFED797C8E05}" type="presParOf" srcId="{E0E2AC1C-D742-4B3B-8675-8F3552FFBFFC}" destId="{472D110E-5211-48FA-A61D-8ADE707E16C8}" srcOrd="0" destOrd="0" presId="urn:microsoft.com/office/officeart/2005/8/layout/lProcess2"/>
    <dgm:cxn modelId="{934B28D0-4340-43CA-8FEC-E9B5760E032D}" type="presParOf" srcId="{472D110E-5211-48FA-A61D-8ADE707E16C8}" destId="{8237130C-CFC1-458B-B4C8-4DBAF4D22636}" srcOrd="0" destOrd="0" presId="urn:microsoft.com/office/officeart/2005/8/layout/lProcess2"/>
    <dgm:cxn modelId="{7CADE36F-8D05-43FA-9FE8-6CBA614C96E9}" type="presParOf" srcId="{472D110E-5211-48FA-A61D-8ADE707E16C8}" destId="{6DA114C9-7265-4280-B2D3-277C623C54F7}" srcOrd="1" destOrd="0" presId="urn:microsoft.com/office/officeart/2005/8/layout/lProcess2"/>
    <dgm:cxn modelId="{5B310302-81CC-4613-80DB-187AA878ED98}" type="presParOf" srcId="{472D110E-5211-48FA-A61D-8ADE707E16C8}" destId="{25770E3C-D575-434C-9FA3-9B4B4E5F51D3}" srcOrd="2" destOrd="0" presId="urn:microsoft.com/office/officeart/2005/8/layout/lProcess2"/>
    <dgm:cxn modelId="{5183FE4E-3FE5-4BA1-8AB8-2A007E51304B}" type="presParOf" srcId="{472D110E-5211-48FA-A61D-8ADE707E16C8}" destId="{AD4F079E-489D-4A4C-852A-6DDEC878E4BF}" srcOrd="3" destOrd="0" presId="urn:microsoft.com/office/officeart/2005/8/layout/lProcess2"/>
    <dgm:cxn modelId="{AEE8FF09-5518-4A75-A71E-C46308B7AC31}" type="presParOf" srcId="{472D110E-5211-48FA-A61D-8ADE707E16C8}" destId="{FEBDB620-9732-485A-BF23-75777F50BF53}" srcOrd="4" destOrd="0" presId="urn:microsoft.com/office/officeart/2005/8/layout/lProcess2"/>
    <dgm:cxn modelId="{7372595D-F673-48E2-944A-863BD1852902}" type="presParOf" srcId="{472D110E-5211-48FA-A61D-8ADE707E16C8}" destId="{091755C8-C939-4304-BD13-7568D1CF03C4}" srcOrd="5" destOrd="0" presId="urn:microsoft.com/office/officeart/2005/8/layout/lProcess2"/>
    <dgm:cxn modelId="{3F9EF970-6D3A-4EB5-9F31-C4E08F46D1E8}" type="presParOf" srcId="{472D110E-5211-48FA-A61D-8ADE707E16C8}" destId="{FCADB838-A3CA-4A8D-AEC9-14EC767CCF35}" srcOrd="6" destOrd="0" presId="urn:microsoft.com/office/officeart/2005/8/layout/lProcess2"/>
    <dgm:cxn modelId="{A6897714-C9AC-4250-AAEA-FCB487FFA1B9}" type="presParOf" srcId="{84EC9327-8D02-483C-95FF-3DEE6328D1F7}" destId="{288E52B6-0211-4BE9-8DD2-1EF7D6A09A76}" srcOrd="7" destOrd="0" presId="urn:microsoft.com/office/officeart/2005/8/layout/lProcess2"/>
    <dgm:cxn modelId="{E5E2A2DE-C99A-475C-8E9C-F9EC508BB2D0}" type="presParOf" srcId="{84EC9327-8D02-483C-95FF-3DEE6328D1F7}" destId="{5F5CD2E7-715F-49CD-9749-774C77F722A3}" srcOrd="8" destOrd="0" presId="urn:microsoft.com/office/officeart/2005/8/layout/lProcess2"/>
    <dgm:cxn modelId="{3D0387F3-1D83-4A5D-86FC-8789A8B5A835}" type="presParOf" srcId="{5F5CD2E7-715F-49CD-9749-774C77F722A3}" destId="{13CA8D46-D4CC-4ADF-A576-ED1A5A75012F}" srcOrd="0" destOrd="0" presId="urn:microsoft.com/office/officeart/2005/8/layout/lProcess2"/>
    <dgm:cxn modelId="{EADD2B33-875D-4B94-99E8-655CF62F7F6F}" type="presParOf" srcId="{5F5CD2E7-715F-49CD-9749-774C77F722A3}" destId="{042F6B52-6D19-4493-A3E1-3F82594D8C49}" srcOrd="1" destOrd="0" presId="urn:microsoft.com/office/officeart/2005/8/layout/lProcess2"/>
    <dgm:cxn modelId="{96C2CD7F-2572-4C09-85CF-3281A891FE94}" type="presParOf" srcId="{5F5CD2E7-715F-49CD-9749-774C77F722A3}" destId="{5A6011DF-B550-4184-939F-3D003C714FE6}" srcOrd="2" destOrd="0" presId="urn:microsoft.com/office/officeart/2005/8/layout/lProcess2"/>
    <dgm:cxn modelId="{E9B072C0-B190-4C1E-AD80-27334467C138}" type="presParOf" srcId="{5A6011DF-B550-4184-939F-3D003C714FE6}" destId="{22C4B52D-9150-433E-B058-EF9A8BBF92C1}" srcOrd="0" destOrd="0" presId="urn:microsoft.com/office/officeart/2005/8/layout/lProcess2"/>
    <dgm:cxn modelId="{A4A05F3C-5056-4852-AE02-7E397A0747C8}" type="presParOf" srcId="{22C4B52D-9150-433E-B058-EF9A8BBF92C1}" destId="{2D9E9755-6C19-4D9F-8697-2A78908BB979}" srcOrd="0" destOrd="0" presId="urn:microsoft.com/office/officeart/2005/8/layout/lProcess2"/>
    <dgm:cxn modelId="{A73B58D4-B5CE-4A05-BF1E-1E6DDBAC6BD8}" type="presParOf" srcId="{22C4B52D-9150-433E-B058-EF9A8BBF92C1}" destId="{83A16FC1-88CF-45A8-A519-925BEFFAF23D}" srcOrd="1" destOrd="0" presId="urn:microsoft.com/office/officeart/2005/8/layout/lProcess2"/>
    <dgm:cxn modelId="{D0120184-818A-4CAF-B101-3232621EE134}" type="presParOf" srcId="{22C4B52D-9150-433E-B058-EF9A8BBF92C1}" destId="{4AE5FFDD-1BF1-4B95-82F9-DE99E74A98AF}" srcOrd="2" destOrd="0" presId="urn:microsoft.com/office/officeart/2005/8/layout/lProcess2"/>
    <dgm:cxn modelId="{1B8157A4-BB04-4E0A-86E5-A4D921555DD6}" type="presParOf" srcId="{22C4B52D-9150-433E-B058-EF9A8BBF92C1}" destId="{6E051FFB-F5F5-4D6F-A315-A81F7946DE2E}" srcOrd="3" destOrd="0" presId="urn:microsoft.com/office/officeart/2005/8/layout/lProcess2"/>
    <dgm:cxn modelId="{74031BBC-D7B2-40D0-8C4C-A4A85F61A228}" type="presParOf" srcId="{22C4B52D-9150-433E-B058-EF9A8BBF92C1}" destId="{0E8CD5D9-1964-4D84-84BA-638805FD3C5D}" srcOrd="4" destOrd="0" presId="urn:microsoft.com/office/officeart/2005/8/layout/lProcess2"/>
    <dgm:cxn modelId="{3F8F2E23-5149-41B7-90B7-ACAB0E5E105E}" type="presParOf" srcId="{84EC9327-8D02-483C-95FF-3DEE6328D1F7}" destId="{1ED1064A-3008-4BFF-A3D6-2F557052F8DF}" srcOrd="9" destOrd="0" presId="urn:microsoft.com/office/officeart/2005/8/layout/lProcess2"/>
    <dgm:cxn modelId="{3BBB1187-2458-463E-B65A-826EF51DEFB1}" type="presParOf" srcId="{84EC9327-8D02-483C-95FF-3DEE6328D1F7}" destId="{B5F0DFAB-012D-435A-B1F0-C38A1B08AC2D}" srcOrd="10" destOrd="0" presId="urn:microsoft.com/office/officeart/2005/8/layout/lProcess2"/>
    <dgm:cxn modelId="{8571F96B-9F5B-4019-9E01-B91E04E3CB10}" type="presParOf" srcId="{B5F0DFAB-012D-435A-B1F0-C38A1B08AC2D}" destId="{27591124-774B-46CA-899A-9DE9E08D368C}" srcOrd="0" destOrd="0" presId="urn:microsoft.com/office/officeart/2005/8/layout/lProcess2"/>
    <dgm:cxn modelId="{9970B3C2-AAD3-48E0-9566-84BAE0DD1A44}" type="presParOf" srcId="{B5F0DFAB-012D-435A-B1F0-C38A1B08AC2D}" destId="{989CC85C-D9D8-466C-AB0F-D105D3D10D77}" srcOrd="1" destOrd="0" presId="urn:microsoft.com/office/officeart/2005/8/layout/lProcess2"/>
    <dgm:cxn modelId="{AB964AC7-D38F-460D-B507-2A8470520DF3}" type="presParOf" srcId="{B5F0DFAB-012D-435A-B1F0-C38A1B08AC2D}" destId="{B858D084-5C11-4784-9EC1-FF99A0C65BA6}" srcOrd="2" destOrd="0" presId="urn:microsoft.com/office/officeart/2005/8/layout/lProcess2"/>
    <dgm:cxn modelId="{37FE30BD-D97B-420D-B855-E06CF47AAC33}" type="presParOf" srcId="{B858D084-5C11-4784-9EC1-FF99A0C65BA6}" destId="{C8A812AA-F9A2-4715-B4BD-8A3860466455}" srcOrd="0" destOrd="0" presId="urn:microsoft.com/office/officeart/2005/8/layout/lProcess2"/>
    <dgm:cxn modelId="{10080721-7863-406C-B9E5-EC241D3E7D39}" type="presParOf" srcId="{C8A812AA-F9A2-4715-B4BD-8A3860466455}" destId="{553F750D-4F62-4DE8-8E31-65D8991E5DDE}" srcOrd="0" destOrd="0" presId="urn:microsoft.com/office/officeart/2005/8/layout/lProcess2"/>
    <dgm:cxn modelId="{B7ECB913-E7D1-4AD5-8A2E-0120D348BBF2}" type="presParOf" srcId="{C8A812AA-F9A2-4715-B4BD-8A3860466455}" destId="{09C15547-5C7A-4908-BB73-74C2B2DC10F0}" srcOrd="1" destOrd="0" presId="urn:microsoft.com/office/officeart/2005/8/layout/lProcess2"/>
    <dgm:cxn modelId="{90F9F60B-3723-4C71-B696-B7459CD9D92E}" type="presParOf" srcId="{C8A812AA-F9A2-4715-B4BD-8A3860466455}" destId="{3AFB6A47-98C1-4448-BD2B-0207C5C095F4}" srcOrd="2" destOrd="0" presId="urn:microsoft.com/office/officeart/2005/8/layout/lProcess2"/>
    <dgm:cxn modelId="{E004FBCF-3F05-4411-91B0-CABBC0C7E0AD}" type="presParOf" srcId="{C8A812AA-F9A2-4715-B4BD-8A3860466455}" destId="{93C24563-4F99-4E64-918D-A34306377C09}" srcOrd="3" destOrd="0" presId="urn:microsoft.com/office/officeart/2005/8/layout/lProcess2"/>
    <dgm:cxn modelId="{4EF08258-EB0A-4795-B736-C1F4F65C91B3}" type="presParOf" srcId="{C8A812AA-F9A2-4715-B4BD-8A3860466455}" destId="{44DF4F1E-C3CE-4E69-8FE0-FB81A896E57D}" srcOrd="4" destOrd="0" presId="urn:microsoft.com/office/officeart/2005/8/layout/lProcess2"/>
    <dgm:cxn modelId="{2006CF3F-7537-4908-852A-4B0BC28FA986}" type="presParOf" srcId="{C8A812AA-F9A2-4715-B4BD-8A3860466455}" destId="{D1E28245-D665-4F9B-8B85-03597A5F3A51}" srcOrd="5" destOrd="0" presId="urn:microsoft.com/office/officeart/2005/8/layout/lProcess2"/>
    <dgm:cxn modelId="{AD856402-8B5C-4223-A3EE-000D02079556}" type="presParOf" srcId="{C8A812AA-F9A2-4715-B4BD-8A3860466455}" destId="{9EE523E2-FD30-4CA9-A6CF-8D8AD8DAA6FD}" srcOrd="6" destOrd="0" presId="urn:microsoft.com/office/officeart/2005/8/layout/lProcess2"/>
    <dgm:cxn modelId="{8E88A131-9148-4EB4-9EE7-CBA14384FA54}" type="presParOf" srcId="{C8A812AA-F9A2-4715-B4BD-8A3860466455}" destId="{D11814AC-9646-461C-BE0D-F5DE3D9ACF06}" srcOrd="7" destOrd="0" presId="urn:microsoft.com/office/officeart/2005/8/layout/lProcess2"/>
    <dgm:cxn modelId="{F765A931-3A14-45F3-93F0-74EC70CFAB72}" type="presParOf" srcId="{C8A812AA-F9A2-4715-B4BD-8A3860466455}" destId="{B959EA7D-9F0B-4E45-9F93-18B7D37621CE}" srcOrd="8" destOrd="0" presId="urn:microsoft.com/office/officeart/2005/8/layout/l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4246C051-FCD7-4BB3-828C-F4FDA8AAAFCD}" type="doc">
      <dgm:prSet loTypeId="urn:microsoft.com/office/officeart/2008/layout/AccentedPicture" loCatId="picture" qsTypeId="urn:microsoft.com/office/officeart/2005/8/quickstyle/simple2" qsCatId="simple" csTypeId="urn:microsoft.com/office/officeart/2005/8/colors/accent2_2" csCatId="accent2" phldr="1"/>
      <dgm:spPr/>
      <dgm:t>
        <a:bodyPr/>
        <a:lstStyle/>
        <a:p>
          <a:endParaRPr lang="en-US"/>
        </a:p>
      </dgm:t>
    </dgm:pt>
    <dgm:pt modelId="{BE957EC3-3AB8-4F87-84B5-6DA34F630729}">
      <dgm:prSet/>
      <dgm:spPr/>
      <dgm:t>
        <a:bodyPr/>
        <a:lstStyle/>
        <a:p>
          <a:endParaRPr lang="en-US"/>
        </a:p>
      </dgm:t>
    </dgm:pt>
    <dgm:pt modelId="{4E7498A9-DACC-4E74-9A4F-A0FAEAE486A2}" type="sibTrans" cxnId="{14C05858-A97E-4101-9F03-04B6A8EB14A1}">
      <dgm:prSet/>
      <dgm:spPr/>
      <dgm:t>
        <a:bodyPr/>
        <a:lstStyle/>
        <a:p>
          <a:endParaRPr lang="en-US"/>
        </a:p>
      </dgm:t>
    </dgm:pt>
    <dgm:pt modelId="{2A06BB0B-F985-43A8-944B-996FB4805E33}" type="parTrans" cxnId="{14C05858-A97E-4101-9F03-04B6A8EB14A1}">
      <dgm:prSet/>
      <dgm:spPr/>
      <dgm:t>
        <a:bodyPr/>
        <a:lstStyle/>
        <a:p>
          <a:endParaRPr lang="en-US"/>
        </a:p>
      </dgm:t>
    </dgm:pt>
    <dgm:pt modelId="{22284D83-A558-4C50-928E-C2C00E11C5D3}">
      <dgm:prSet phldrT="[Text]"/>
      <dgm:spPr/>
      <dgm:t>
        <a:bodyPr/>
        <a:lstStyle/>
        <a:p>
          <a:r>
            <a:rPr lang="en-US" dirty="0"/>
            <a:t> </a:t>
          </a:r>
        </a:p>
      </dgm:t>
    </dgm:pt>
    <dgm:pt modelId="{89497D68-6D65-40A4-A6C4-14D2DF60F6D8}" type="sibTrans" cxnId="{C6627D09-F643-4FE5-8B67-00B466190233}">
      <dgm:prSet/>
      <dgm:spPr/>
      <dgm:t>
        <a:bodyPr/>
        <a:lstStyle/>
        <a:p>
          <a:endParaRPr lang="en-US"/>
        </a:p>
      </dgm:t>
    </dgm:pt>
    <dgm:pt modelId="{52302786-3CD4-4870-991A-7AEADB79B1F8}" type="parTrans" cxnId="{C6627D09-F643-4FE5-8B67-00B466190233}">
      <dgm:prSet/>
      <dgm:spPr/>
      <dgm:t>
        <a:bodyPr/>
        <a:lstStyle/>
        <a:p>
          <a:endParaRPr lang="en-US"/>
        </a:p>
      </dgm:t>
    </dgm:pt>
    <dgm:pt modelId="{C0A9A5DC-B261-4506-B005-CF6BFE0E02EF}">
      <dgm:prSet phldrT="[Text]"/>
      <dgm:spPr/>
      <dgm:t>
        <a:bodyPr/>
        <a:lstStyle/>
        <a:p>
          <a:r>
            <a:rPr lang="en-US" dirty="0"/>
            <a:t> </a:t>
          </a:r>
        </a:p>
      </dgm:t>
    </dgm:pt>
    <dgm:pt modelId="{F4D55190-4D31-481F-A8DA-5395FB478FF1}" type="sibTrans" cxnId="{1675AF1D-4ACC-4B6B-974E-C375E381EB53}">
      <dgm:prSet/>
      <dgm:spPr/>
      <dgm:t>
        <a:bodyPr/>
        <a:lstStyle/>
        <a:p>
          <a:endParaRPr lang="en-US"/>
        </a:p>
      </dgm:t>
    </dgm:pt>
    <dgm:pt modelId="{97696877-088E-41B7-AA79-B583368A744D}" type="parTrans" cxnId="{1675AF1D-4ACC-4B6B-974E-C375E381EB53}">
      <dgm:prSet/>
      <dgm:spPr/>
      <dgm:t>
        <a:bodyPr/>
        <a:lstStyle/>
        <a:p>
          <a:endParaRPr lang="en-US"/>
        </a:p>
      </dgm:t>
    </dgm:pt>
    <dgm:pt modelId="{5FD3416B-C662-4337-8384-71258C742187}">
      <dgm:prSet phldrT="[Text]"/>
      <dgm:spPr/>
      <dgm:t>
        <a:bodyPr/>
        <a:lstStyle/>
        <a:p>
          <a:r>
            <a:rPr lang="en-US" dirty="0"/>
            <a:t> </a:t>
          </a:r>
        </a:p>
      </dgm:t>
    </dgm:pt>
    <dgm:pt modelId="{0242DD3A-A365-47A9-96DB-A0D421B8DFD2}" type="sibTrans" cxnId="{265FC24A-E4C5-4895-99E9-F80411959246}">
      <dgm:prSet/>
      <dgm:spPr/>
      <dgm:t>
        <a:bodyPr/>
        <a:lstStyle/>
        <a:p>
          <a:endParaRPr lang="en-US"/>
        </a:p>
      </dgm:t>
    </dgm:pt>
    <dgm:pt modelId="{5D19858E-F776-4E17-927C-22315F2DA476}" type="parTrans" cxnId="{265FC24A-E4C5-4895-99E9-F80411959246}">
      <dgm:prSet/>
      <dgm:spPr/>
      <dgm:t>
        <a:bodyPr/>
        <a:lstStyle/>
        <a:p>
          <a:endParaRPr lang="en-US"/>
        </a:p>
      </dgm:t>
    </dgm:pt>
    <dgm:pt modelId="{2E9A5D43-CA27-491C-9CE4-F18147CF1EAD}">
      <dgm:prSet/>
      <dgm:spPr/>
      <dgm:t>
        <a:bodyPr/>
        <a:lstStyle/>
        <a:p>
          <a:endParaRPr lang="en-US" dirty="0"/>
        </a:p>
      </dgm:t>
    </dgm:pt>
    <dgm:pt modelId="{D94998FF-55D8-47DE-9C1E-81FCB72F5A06}" type="parTrans" cxnId="{08408272-E42E-4B98-95D0-7E94138E31CD}">
      <dgm:prSet/>
      <dgm:spPr/>
      <dgm:t>
        <a:bodyPr/>
        <a:lstStyle/>
        <a:p>
          <a:endParaRPr lang="en-US"/>
        </a:p>
      </dgm:t>
    </dgm:pt>
    <dgm:pt modelId="{39B3ACEF-E8C0-48AD-9CDA-B5562162B906}" type="sibTrans" cxnId="{08408272-E42E-4B98-95D0-7E94138E31CD}">
      <dgm:prSet/>
      <dgm:spPr/>
      <dgm:t>
        <a:bodyPr/>
        <a:lstStyle/>
        <a:p>
          <a:endParaRPr lang="en-US"/>
        </a:p>
      </dgm:t>
    </dgm:pt>
    <dgm:pt modelId="{6255BB09-0EC8-4357-96F7-79FE3D3B8095}" type="pres">
      <dgm:prSet presAssocID="{4246C051-FCD7-4BB3-828C-F4FDA8AAAFCD}" presName="Name0" presStyleCnt="0">
        <dgm:presLayoutVars>
          <dgm:dir/>
        </dgm:presLayoutVars>
      </dgm:prSet>
      <dgm:spPr/>
      <dgm:t>
        <a:bodyPr/>
        <a:lstStyle/>
        <a:p>
          <a:endParaRPr lang="en-US"/>
        </a:p>
      </dgm:t>
    </dgm:pt>
    <dgm:pt modelId="{9BE1C306-2CA4-4074-84B1-B9BFC0D31AF5}" type="pres">
      <dgm:prSet presAssocID="{4E7498A9-DACC-4E74-9A4F-A0FAEAE486A2}" presName="picture_1" presStyleLbl="bgImgPlace1" presStyleIdx="0" presStyleCnt="1" custScaleX="157936"/>
      <dgm:spPr/>
      <dgm:t>
        <a:bodyPr/>
        <a:lstStyle/>
        <a:p>
          <a:endParaRPr lang="en-US"/>
        </a:p>
      </dgm:t>
    </dgm:pt>
    <dgm:pt modelId="{0BE5945A-5E54-4941-AA71-AEAE25209639}" type="pres">
      <dgm:prSet presAssocID="{BE957EC3-3AB8-4F87-84B5-6DA34F630729}" presName="text_1" presStyleLbl="node1" presStyleIdx="0" presStyleCnt="0">
        <dgm:presLayoutVars>
          <dgm:bulletEnabled val="1"/>
        </dgm:presLayoutVars>
      </dgm:prSet>
      <dgm:spPr/>
      <dgm:t>
        <a:bodyPr/>
        <a:lstStyle/>
        <a:p>
          <a:endParaRPr lang="en-US"/>
        </a:p>
      </dgm:t>
    </dgm:pt>
    <dgm:pt modelId="{718EA28D-01CE-41F7-87DE-134A02C5165B}" type="pres">
      <dgm:prSet presAssocID="{4246C051-FCD7-4BB3-828C-F4FDA8AAAFCD}" presName="linV" presStyleCnt="0"/>
      <dgm:spPr/>
      <dgm:t>
        <a:bodyPr/>
        <a:lstStyle/>
        <a:p>
          <a:endParaRPr lang="en-US"/>
        </a:p>
      </dgm:t>
    </dgm:pt>
    <dgm:pt modelId="{D2D38F9E-7FE6-4944-8F0A-9A3A1901DB03}" type="pres">
      <dgm:prSet presAssocID="{2E9A5D43-CA27-491C-9CE4-F18147CF1EAD}" presName="pair" presStyleCnt="0"/>
      <dgm:spPr/>
      <dgm:t>
        <a:bodyPr/>
        <a:lstStyle/>
        <a:p>
          <a:endParaRPr lang="en-US"/>
        </a:p>
      </dgm:t>
    </dgm:pt>
    <dgm:pt modelId="{0C5FD108-040C-44D4-95A7-107E505EDE65}" type="pres">
      <dgm:prSet presAssocID="{2E9A5D43-CA27-491C-9CE4-F18147CF1EAD}" presName="spaceH" presStyleLbl="node1" presStyleIdx="0" presStyleCnt="0"/>
      <dgm:spPr/>
      <dgm:t>
        <a:bodyPr/>
        <a:lstStyle/>
        <a:p>
          <a:endParaRPr lang="en-US"/>
        </a:p>
      </dgm:t>
    </dgm:pt>
    <dgm:pt modelId="{58BEC78A-E748-4AA5-9F8D-1E0851BBB91E}" type="pres">
      <dgm:prSet presAssocID="{2E9A5D43-CA27-491C-9CE4-F18147CF1EAD}" presName="desPictures" presStyleLbl="align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dgm:spPr>
      <dgm:t>
        <a:bodyPr/>
        <a:lstStyle/>
        <a:p>
          <a:endParaRPr lang="en-US"/>
        </a:p>
      </dgm:t>
    </dgm:pt>
    <dgm:pt modelId="{32C0D71A-67AB-461E-A841-13C860CFC327}" type="pres">
      <dgm:prSet presAssocID="{2E9A5D43-CA27-491C-9CE4-F18147CF1EAD}" presName="desTextWrapper" presStyleCnt="0"/>
      <dgm:spPr/>
      <dgm:t>
        <a:bodyPr/>
        <a:lstStyle/>
        <a:p>
          <a:endParaRPr lang="en-US"/>
        </a:p>
      </dgm:t>
    </dgm:pt>
    <dgm:pt modelId="{B6E2AEA7-9D17-4D9F-BF98-992626917D36}" type="pres">
      <dgm:prSet presAssocID="{2E9A5D43-CA27-491C-9CE4-F18147CF1EAD}" presName="desText" presStyleLbl="revTx" presStyleIdx="0" presStyleCnt="4">
        <dgm:presLayoutVars>
          <dgm:bulletEnabled val="1"/>
        </dgm:presLayoutVars>
      </dgm:prSet>
      <dgm:spPr/>
      <dgm:t>
        <a:bodyPr/>
        <a:lstStyle/>
        <a:p>
          <a:endParaRPr lang="en-US"/>
        </a:p>
      </dgm:t>
    </dgm:pt>
    <dgm:pt modelId="{C318C36C-DB81-42A4-A246-9043855CFF77}" type="pres">
      <dgm:prSet presAssocID="{39B3ACEF-E8C0-48AD-9CDA-B5562162B906}" presName="spaceV" presStyleCnt="0"/>
      <dgm:spPr/>
      <dgm:t>
        <a:bodyPr/>
        <a:lstStyle/>
        <a:p>
          <a:endParaRPr lang="en-US"/>
        </a:p>
      </dgm:t>
    </dgm:pt>
    <dgm:pt modelId="{80485F38-1042-42B8-913F-7B2DF5575D48}" type="pres">
      <dgm:prSet presAssocID="{22284D83-A558-4C50-928E-C2C00E11C5D3}" presName="pair" presStyleCnt="0"/>
      <dgm:spPr/>
      <dgm:t>
        <a:bodyPr/>
        <a:lstStyle/>
        <a:p>
          <a:endParaRPr lang="en-US"/>
        </a:p>
      </dgm:t>
    </dgm:pt>
    <dgm:pt modelId="{CD9D7518-6580-40FB-8A20-B9018EFA1A0C}" type="pres">
      <dgm:prSet presAssocID="{22284D83-A558-4C50-928E-C2C00E11C5D3}" presName="spaceH" presStyleLbl="node1" presStyleIdx="0" presStyleCnt="0"/>
      <dgm:spPr/>
      <dgm:t>
        <a:bodyPr/>
        <a:lstStyle/>
        <a:p>
          <a:endParaRPr lang="en-US"/>
        </a:p>
      </dgm:t>
    </dgm:pt>
    <dgm:pt modelId="{78413FD4-08FA-4382-AA29-48CB56D11F16}" type="pres">
      <dgm:prSet presAssocID="{22284D83-A558-4C50-928E-C2C00E11C5D3}" presName="desPictures" presStyleLbl="align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23000" r="-23000"/>
          </a:stretch>
        </a:blipFill>
      </dgm:spPr>
      <dgm:t>
        <a:bodyPr/>
        <a:lstStyle/>
        <a:p>
          <a:endParaRPr lang="en-US"/>
        </a:p>
      </dgm:t>
    </dgm:pt>
    <dgm:pt modelId="{0BEFD1B7-4AF8-4F13-8A2C-071480425CCF}" type="pres">
      <dgm:prSet presAssocID="{22284D83-A558-4C50-928E-C2C00E11C5D3}" presName="desTextWrapper" presStyleCnt="0"/>
      <dgm:spPr/>
      <dgm:t>
        <a:bodyPr/>
        <a:lstStyle/>
        <a:p>
          <a:endParaRPr lang="en-US"/>
        </a:p>
      </dgm:t>
    </dgm:pt>
    <dgm:pt modelId="{1E3FCE25-16C6-4707-834B-4C4AABE8EEE9}" type="pres">
      <dgm:prSet presAssocID="{22284D83-A558-4C50-928E-C2C00E11C5D3}" presName="desText" presStyleLbl="revTx" presStyleIdx="1" presStyleCnt="4">
        <dgm:presLayoutVars>
          <dgm:bulletEnabled val="1"/>
        </dgm:presLayoutVars>
      </dgm:prSet>
      <dgm:spPr/>
      <dgm:t>
        <a:bodyPr/>
        <a:lstStyle/>
        <a:p>
          <a:endParaRPr lang="en-US"/>
        </a:p>
      </dgm:t>
    </dgm:pt>
    <dgm:pt modelId="{361B8AA1-7769-469F-BC9B-644E9E1EECE2}" type="pres">
      <dgm:prSet presAssocID="{89497D68-6D65-40A4-A6C4-14D2DF60F6D8}" presName="spaceV" presStyleCnt="0"/>
      <dgm:spPr/>
      <dgm:t>
        <a:bodyPr/>
        <a:lstStyle/>
        <a:p>
          <a:endParaRPr lang="en-US"/>
        </a:p>
      </dgm:t>
    </dgm:pt>
    <dgm:pt modelId="{0A59C0C0-0ABC-4D21-865C-4C6EBC4C472B}" type="pres">
      <dgm:prSet presAssocID="{C0A9A5DC-B261-4506-B005-CF6BFE0E02EF}" presName="pair" presStyleCnt="0"/>
      <dgm:spPr/>
      <dgm:t>
        <a:bodyPr/>
        <a:lstStyle/>
        <a:p>
          <a:endParaRPr lang="en-US"/>
        </a:p>
      </dgm:t>
    </dgm:pt>
    <dgm:pt modelId="{8A3C78C6-580E-4584-A86E-5601C515166C}" type="pres">
      <dgm:prSet presAssocID="{C0A9A5DC-B261-4506-B005-CF6BFE0E02EF}" presName="spaceH" presStyleLbl="node1" presStyleIdx="0" presStyleCnt="0"/>
      <dgm:spPr/>
      <dgm:t>
        <a:bodyPr/>
        <a:lstStyle/>
        <a:p>
          <a:endParaRPr lang="en-US"/>
        </a:p>
      </dgm:t>
    </dgm:pt>
    <dgm:pt modelId="{B897D277-5C1C-491D-8AD9-6079B3389156}" type="pres">
      <dgm:prSet presAssocID="{C0A9A5DC-B261-4506-B005-CF6BFE0E02EF}" presName="desPictures" presStyleLbl="align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B02F28BE-56B5-4B92-9E1F-F41676609931}" type="pres">
      <dgm:prSet presAssocID="{C0A9A5DC-B261-4506-B005-CF6BFE0E02EF}" presName="desTextWrapper" presStyleCnt="0"/>
      <dgm:spPr/>
      <dgm:t>
        <a:bodyPr/>
        <a:lstStyle/>
        <a:p>
          <a:endParaRPr lang="en-US"/>
        </a:p>
      </dgm:t>
    </dgm:pt>
    <dgm:pt modelId="{46F94229-04DE-4AAF-92AA-5BDC6BB793CA}" type="pres">
      <dgm:prSet presAssocID="{C0A9A5DC-B261-4506-B005-CF6BFE0E02EF}" presName="desText" presStyleLbl="revTx" presStyleIdx="2" presStyleCnt="4">
        <dgm:presLayoutVars>
          <dgm:bulletEnabled val="1"/>
        </dgm:presLayoutVars>
      </dgm:prSet>
      <dgm:spPr/>
      <dgm:t>
        <a:bodyPr/>
        <a:lstStyle/>
        <a:p>
          <a:endParaRPr lang="en-US"/>
        </a:p>
      </dgm:t>
    </dgm:pt>
    <dgm:pt modelId="{669B2514-EF99-48D5-B6F3-A9BC747CFBC0}" type="pres">
      <dgm:prSet presAssocID="{F4D55190-4D31-481F-A8DA-5395FB478FF1}" presName="spaceV" presStyleCnt="0"/>
      <dgm:spPr/>
      <dgm:t>
        <a:bodyPr/>
        <a:lstStyle/>
        <a:p>
          <a:endParaRPr lang="en-US"/>
        </a:p>
      </dgm:t>
    </dgm:pt>
    <dgm:pt modelId="{D24977A3-F44F-4C56-9939-08F88EDA87F3}" type="pres">
      <dgm:prSet presAssocID="{5FD3416B-C662-4337-8384-71258C742187}" presName="pair" presStyleCnt="0"/>
      <dgm:spPr/>
      <dgm:t>
        <a:bodyPr/>
        <a:lstStyle/>
        <a:p>
          <a:endParaRPr lang="en-US"/>
        </a:p>
      </dgm:t>
    </dgm:pt>
    <dgm:pt modelId="{4DD541C2-0637-4A67-AD98-FD0AFC8B6632}" type="pres">
      <dgm:prSet presAssocID="{5FD3416B-C662-4337-8384-71258C742187}" presName="spaceH" presStyleLbl="node1" presStyleIdx="0" presStyleCnt="0"/>
      <dgm:spPr/>
      <dgm:t>
        <a:bodyPr/>
        <a:lstStyle/>
        <a:p>
          <a:endParaRPr lang="en-US"/>
        </a:p>
      </dgm:t>
    </dgm:pt>
    <dgm:pt modelId="{57EC1BD6-18E4-4015-8F7A-092B0F9617C5}" type="pres">
      <dgm:prSet presAssocID="{5FD3416B-C662-4337-8384-71258C742187}" presName="desPictures" presStyleLbl="align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14DA1B9C-A1B5-4363-BB76-5451B3F06BA5}" type="pres">
      <dgm:prSet presAssocID="{5FD3416B-C662-4337-8384-71258C742187}" presName="desTextWrapper" presStyleCnt="0"/>
      <dgm:spPr/>
      <dgm:t>
        <a:bodyPr/>
        <a:lstStyle/>
        <a:p>
          <a:endParaRPr lang="en-US"/>
        </a:p>
      </dgm:t>
    </dgm:pt>
    <dgm:pt modelId="{018370E7-8634-4BC6-9249-99505A31F8E3}" type="pres">
      <dgm:prSet presAssocID="{5FD3416B-C662-4337-8384-71258C742187}" presName="desText" presStyleLbl="revTx" presStyleIdx="3" presStyleCnt="4">
        <dgm:presLayoutVars>
          <dgm:bulletEnabled val="1"/>
        </dgm:presLayoutVars>
      </dgm:prSet>
      <dgm:spPr/>
      <dgm:t>
        <a:bodyPr/>
        <a:lstStyle/>
        <a:p>
          <a:endParaRPr lang="en-US"/>
        </a:p>
      </dgm:t>
    </dgm:pt>
    <dgm:pt modelId="{33AAE507-9FE2-4DC5-9ED4-C2D9C49A1A7F}" type="pres">
      <dgm:prSet presAssocID="{4246C051-FCD7-4BB3-828C-F4FDA8AAAFCD}" presName="maxNode" presStyleCnt="0"/>
      <dgm:spPr/>
      <dgm:t>
        <a:bodyPr/>
        <a:lstStyle/>
        <a:p>
          <a:endParaRPr lang="en-US"/>
        </a:p>
      </dgm:t>
    </dgm:pt>
    <dgm:pt modelId="{6B1C3C7E-F4C7-4BB2-821A-38D7994F1C97}" type="pres">
      <dgm:prSet presAssocID="{4246C051-FCD7-4BB3-828C-F4FDA8AAAFCD}" presName="Name33" presStyleCnt="0"/>
      <dgm:spPr/>
      <dgm:t>
        <a:bodyPr/>
        <a:lstStyle/>
        <a:p>
          <a:endParaRPr lang="en-US"/>
        </a:p>
      </dgm:t>
    </dgm:pt>
  </dgm:ptLst>
  <dgm:cxnLst>
    <dgm:cxn modelId="{A889FCBB-7AF8-4B7B-A8D4-80C1C6ED68A2}" type="presOf" srcId="{4246C051-FCD7-4BB3-828C-F4FDA8AAAFCD}" destId="{6255BB09-0EC8-4357-96F7-79FE3D3B8095}" srcOrd="0" destOrd="0" presId="urn:microsoft.com/office/officeart/2008/layout/AccentedPicture"/>
    <dgm:cxn modelId="{1675AF1D-4ACC-4B6B-974E-C375E381EB53}" srcId="{4246C051-FCD7-4BB3-828C-F4FDA8AAAFCD}" destId="{C0A9A5DC-B261-4506-B005-CF6BFE0E02EF}" srcOrd="3" destOrd="0" parTransId="{97696877-088E-41B7-AA79-B583368A744D}" sibTransId="{F4D55190-4D31-481F-A8DA-5395FB478FF1}"/>
    <dgm:cxn modelId="{4982C667-5722-4073-8C87-939A492CFC5C}" type="presOf" srcId="{5FD3416B-C662-4337-8384-71258C742187}" destId="{018370E7-8634-4BC6-9249-99505A31F8E3}" srcOrd="0" destOrd="0" presId="urn:microsoft.com/office/officeart/2008/layout/AccentedPicture"/>
    <dgm:cxn modelId="{08408272-E42E-4B98-95D0-7E94138E31CD}" srcId="{4246C051-FCD7-4BB3-828C-F4FDA8AAAFCD}" destId="{2E9A5D43-CA27-491C-9CE4-F18147CF1EAD}" srcOrd="1" destOrd="0" parTransId="{D94998FF-55D8-47DE-9C1E-81FCB72F5A06}" sibTransId="{39B3ACEF-E8C0-48AD-9CDA-B5562162B906}"/>
    <dgm:cxn modelId="{265FC24A-E4C5-4895-99E9-F80411959246}" srcId="{4246C051-FCD7-4BB3-828C-F4FDA8AAAFCD}" destId="{5FD3416B-C662-4337-8384-71258C742187}" srcOrd="4" destOrd="0" parTransId="{5D19858E-F776-4E17-927C-22315F2DA476}" sibTransId="{0242DD3A-A365-47A9-96DB-A0D421B8DFD2}"/>
    <dgm:cxn modelId="{9D498A34-8F91-4EA8-9C1C-F4EC8C6129B9}" type="presOf" srcId="{C0A9A5DC-B261-4506-B005-CF6BFE0E02EF}" destId="{46F94229-04DE-4AAF-92AA-5BDC6BB793CA}" srcOrd="0" destOrd="0" presId="urn:microsoft.com/office/officeart/2008/layout/AccentedPicture"/>
    <dgm:cxn modelId="{F57A6A9D-D543-4EE5-8D74-92F7C0974C43}" type="presOf" srcId="{2E9A5D43-CA27-491C-9CE4-F18147CF1EAD}" destId="{B6E2AEA7-9D17-4D9F-BF98-992626917D36}" srcOrd="0" destOrd="0" presId="urn:microsoft.com/office/officeart/2008/layout/AccentedPicture"/>
    <dgm:cxn modelId="{C6627D09-F643-4FE5-8B67-00B466190233}" srcId="{4246C051-FCD7-4BB3-828C-F4FDA8AAAFCD}" destId="{22284D83-A558-4C50-928E-C2C00E11C5D3}" srcOrd="2" destOrd="0" parTransId="{52302786-3CD4-4870-991A-7AEADB79B1F8}" sibTransId="{89497D68-6D65-40A4-A6C4-14D2DF60F6D8}"/>
    <dgm:cxn modelId="{FE371DF1-2B53-4643-A67F-61FC36282CC3}" type="presOf" srcId="{BE957EC3-3AB8-4F87-84B5-6DA34F630729}" destId="{0BE5945A-5E54-4941-AA71-AEAE25209639}" srcOrd="0" destOrd="0" presId="urn:microsoft.com/office/officeart/2008/layout/AccentedPicture"/>
    <dgm:cxn modelId="{160B69C4-1365-407D-805F-360A54C86EA9}" type="presOf" srcId="{4E7498A9-DACC-4E74-9A4F-A0FAEAE486A2}" destId="{9BE1C306-2CA4-4074-84B1-B9BFC0D31AF5}" srcOrd="0" destOrd="0" presId="urn:microsoft.com/office/officeart/2008/layout/AccentedPicture"/>
    <dgm:cxn modelId="{5EA8B86D-C4D3-477B-A38D-AA98A5208739}" type="presOf" srcId="{22284D83-A558-4C50-928E-C2C00E11C5D3}" destId="{1E3FCE25-16C6-4707-834B-4C4AABE8EEE9}" srcOrd="0" destOrd="0" presId="urn:microsoft.com/office/officeart/2008/layout/AccentedPicture"/>
    <dgm:cxn modelId="{14C05858-A97E-4101-9F03-04B6A8EB14A1}" srcId="{4246C051-FCD7-4BB3-828C-F4FDA8AAAFCD}" destId="{BE957EC3-3AB8-4F87-84B5-6DA34F630729}" srcOrd="0" destOrd="0" parTransId="{2A06BB0B-F985-43A8-944B-996FB4805E33}" sibTransId="{4E7498A9-DACC-4E74-9A4F-A0FAEAE486A2}"/>
    <dgm:cxn modelId="{80D7C0BD-FED7-4A07-B12F-26A268741446}" type="presParOf" srcId="{6255BB09-0EC8-4357-96F7-79FE3D3B8095}" destId="{9BE1C306-2CA4-4074-84B1-B9BFC0D31AF5}" srcOrd="0" destOrd="0" presId="urn:microsoft.com/office/officeart/2008/layout/AccentedPicture"/>
    <dgm:cxn modelId="{BE67ECED-2A56-4FCB-950F-E049366B0A9B}" type="presParOf" srcId="{6255BB09-0EC8-4357-96F7-79FE3D3B8095}" destId="{0BE5945A-5E54-4941-AA71-AEAE25209639}" srcOrd="1" destOrd="0" presId="urn:microsoft.com/office/officeart/2008/layout/AccentedPicture"/>
    <dgm:cxn modelId="{F78F0816-29B0-41CC-A163-E7FCA5CD55B0}" type="presParOf" srcId="{6255BB09-0EC8-4357-96F7-79FE3D3B8095}" destId="{718EA28D-01CE-41F7-87DE-134A02C5165B}" srcOrd="2" destOrd="0" presId="urn:microsoft.com/office/officeart/2008/layout/AccentedPicture"/>
    <dgm:cxn modelId="{D7D6E939-469F-41D1-A64F-499DBA7F5506}" type="presParOf" srcId="{718EA28D-01CE-41F7-87DE-134A02C5165B}" destId="{D2D38F9E-7FE6-4944-8F0A-9A3A1901DB03}" srcOrd="0" destOrd="0" presId="urn:microsoft.com/office/officeart/2008/layout/AccentedPicture"/>
    <dgm:cxn modelId="{1705DFC2-CAD5-4E6C-930C-7E881B75B2A4}" type="presParOf" srcId="{D2D38F9E-7FE6-4944-8F0A-9A3A1901DB03}" destId="{0C5FD108-040C-44D4-95A7-107E505EDE65}" srcOrd="0" destOrd="0" presId="urn:microsoft.com/office/officeart/2008/layout/AccentedPicture"/>
    <dgm:cxn modelId="{74146A02-4024-4185-A7BD-611EBF2CF2C4}" type="presParOf" srcId="{D2D38F9E-7FE6-4944-8F0A-9A3A1901DB03}" destId="{58BEC78A-E748-4AA5-9F8D-1E0851BBB91E}" srcOrd="1" destOrd="0" presId="urn:microsoft.com/office/officeart/2008/layout/AccentedPicture"/>
    <dgm:cxn modelId="{EE44E92B-8299-4A82-9E7B-B56F1E6AA66B}" type="presParOf" srcId="{D2D38F9E-7FE6-4944-8F0A-9A3A1901DB03}" destId="{32C0D71A-67AB-461E-A841-13C860CFC327}" srcOrd="2" destOrd="0" presId="urn:microsoft.com/office/officeart/2008/layout/AccentedPicture"/>
    <dgm:cxn modelId="{857DBC4E-CFF1-4E2A-BAD4-FA1111675E67}" type="presParOf" srcId="{32C0D71A-67AB-461E-A841-13C860CFC327}" destId="{B6E2AEA7-9D17-4D9F-BF98-992626917D36}" srcOrd="0" destOrd="0" presId="urn:microsoft.com/office/officeart/2008/layout/AccentedPicture"/>
    <dgm:cxn modelId="{1C333B41-1C37-4428-89D4-CCF5DD6D3943}" type="presParOf" srcId="{718EA28D-01CE-41F7-87DE-134A02C5165B}" destId="{C318C36C-DB81-42A4-A246-9043855CFF77}" srcOrd="1" destOrd="0" presId="urn:microsoft.com/office/officeart/2008/layout/AccentedPicture"/>
    <dgm:cxn modelId="{E02EA854-FA3D-4416-99CA-E4BD5B87A3D8}" type="presParOf" srcId="{718EA28D-01CE-41F7-87DE-134A02C5165B}" destId="{80485F38-1042-42B8-913F-7B2DF5575D48}" srcOrd="2" destOrd="0" presId="urn:microsoft.com/office/officeart/2008/layout/AccentedPicture"/>
    <dgm:cxn modelId="{D3C6D2E4-DE41-4842-A793-52DB9E718DBD}" type="presParOf" srcId="{80485F38-1042-42B8-913F-7B2DF5575D48}" destId="{CD9D7518-6580-40FB-8A20-B9018EFA1A0C}" srcOrd="0" destOrd="0" presId="urn:microsoft.com/office/officeart/2008/layout/AccentedPicture"/>
    <dgm:cxn modelId="{D68D72E1-4862-46C9-8F95-9DF0F84B7911}" type="presParOf" srcId="{80485F38-1042-42B8-913F-7B2DF5575D48}" destId="{78413FD4-08FA-4382-AA29-48CB56D11F16}" srcOrd="1" destOrd="0" presId="urn:microsoft.com/office/officeart/2008/layout/AccentedPicture"/>
    <dgm:cxn modelId="{4A89C612-BA90-42D7-8BC6-9DE0DD9A3901}" type="presParOf" srcId="{80485F38-1042-42B8-913F-7B2DF5575D48}" destId="{0BEFD1B7-4AF8-4F13-8A2C-071480425CCF}" srcOrd="2" destOrd="0" presId="urn:microsoft.com/office/officeart/2008/layout/AccentedPicture"/>
    <dgm:cxn modelId="{9D8D8510-1A84-47FF-AF99-FBDA31B7B173}" type="presParOf" srcId="{0BEFD1B7-4AF8-4F13-8A2C-071480425CCF}" destId="{1E3FCE25-16C6-4707-834B-4C4AABE8EEE9}" srcOrd="0" destOrd="0" presId="urn:microsoft.com/office/officeart/2008/layout/AccentedPicture"/>
    <dgm:cxn modelId="{54729F91-1178-44F0-A697-86520AB85F54}" type="presParOf" srcId="{718EA28D-01CE-41F7-87DE-134A02C5165B}" destId="{361B8AA1-7769-469F-BC9B-644E9E1EECE2}" srcOrd="3" destOrd="0" presId="urn:microsoft.com/office/officeart/2008/layout/AccentedPicture"/>
    <dgm:cxn modelId="{BF21634C-8031-40B1-B3EB-0C46745B4D78}" type="presParOf" srcId="{718EA28D-01CE-41F7-87DE-134A02C5165B}" destId="{0A59C0C0-0ABC-4D21-865C-4C6EBC4C472B}" srcOrd="4" destOrd="0" presId="urn:microsoft.com/office/officeart/2008/layout/AccentedPicture"/>
    <dgm:cxn modelId="{5D7A2F06-2E68-4458-9BFE-FA73C4ECE91B}" type="presParOf" srcId="{0A59C0C0-0ABC-4D21-865C-4C6EBC4C472B}" destId="{8A3C78C6-580E-4584-A86E-5601C515166C}" srcOrd="0" destOrd="0" presId="urn:microsoft.com/office/officeart/2008/layout/AccentedPicture"/>
    <dgm:cxn modelId="{EEEAC1A6-6140-48DB-A56D-BC1706F7671B}" type="presParOf" srcId="{0A59C0C0-0ABC-4D21-865C-4C6EBC4C472B}" destId="{B897D277-5C1C-491D-8AD9-6079B3389156}" srcOrd="1" destOrd="0" presId="urn:microsoft.com/office/officeart/2008/layout/AccentedPicture"/>
    <dgm:cxn modelId="{B68641F7-73DE-4171-BCB5-A00C8B490DFC}" type="presParOf" srcId="{0A59C0C0-0ABC-4D21-865C-4C6EBC4C472B}" destId="{B02F28BE-56B5-4B92-9E1F-F41676609931}" srcOrd="2" destOrd="0" presId="urn:microsoft.com/office/officeart/2008/layout/AccentedPicture"/>
    <dgm:cxn modelId="{BA1ABD19-61E1-4507-8697-F0FA16916FD0}" type="presParOf" srcId="{B02F28BE-56B5-4B92-9E1F-F41676609931}" destId="{46F94229-04DE-4AAF-92AA-5BDC6BB793CA}" srcOrd="0" destOrd="0" presId="urn:microsoft.com/office/officeart/2008/layout/AccentedPicture"/>
    <dgm:cxn modelId="{8D8898AA-0472-4D79-8C05-96F49D91D7C5}" type="presParOf" srcId="{718EA28D-01CE-41F7-87DE-134A02C5165B}" destId="{669B2514-EF99-48D5-B6F3-A9BC747CFBC0}" srcOrd="5" destOrd="0" presId="urn:microsoft.com/office/officeart/2008/layout/AccentedPicture"/>
    <dgm:cxn modelId="{5288C83F-4FCE-4382-85B1-73434382FECD}" type="presParOf" srcId="{718EA28D-01CE-41F7-87DE-134A02C5165B}" destId="{D24977A3-F44F-4C56-9939-08F88EDA87F3}" srcOrd="6" destOrd="0" presId="urn:microsoft.com/office/officeart/2008/layout/AccentedPicture"/>
    <dgm:cxn modelId="{D8E7FDBA-63FA-4DEE-AE21-E955940B5B72}" type="presParOf" srcId="{D24977A3-F44F-4C56-9939-08F88EDA87F3}" destId="{4DD541C2-0637-4A67-AD98-FD0AFC8B6632}" srcOrd="0" destOrd="0" presId="urn:microsoft.com/office/officeart/2008/layout/AccentedPicture"/>
    <dgm:cxn modelId="{978CD4CC-56E1-4F41-9294-43AF1691FD64}" type="presParOf" srcId="{D24977A3-F44F-4C56-9939-08F88EDA87F3}" destId="{57EC1BD6-18E4-4015-8F7A-092B0F9617C5}" srcOrd="1" destOrd="0" presId="urn:microsoft.com/office/officeart/2008/layout/AccentedPicture"/>
    <dgm:cxn modelId="{B6ED0D77-6699-4C3F-9B65-EC5BA0B88DBE}" type="presParOf" srcId="{D24977A3-F44F-4C56-9939-08F88EDA87F3}" destId="{14DA1B9C-A1B5-4363-BB76-5451B3F06BA5}" srcOrd="2" destOrd="0" presId="urn:microsoft.com/office/officeart/2008/layout/AccentedPicture"/>
    <dgm:cxn modelId="{D0E5F6B9-3A42-4438-8A6F-C5839395449D}" type="presParOf" srcId="{14DA1B9C-A1B5-4363-BB76-5451B3F06BA5}" destId="{018370E7-8634-4BC6-9249-99505A31F8E3}" srcOrd="0" destOrd="0" presId="urn:microsoft.com/office/officeart/2008/layout/AccentedPicture"/>
    <dgm:cxn modelId="{11E4C136-1D70-44A7-93B3-B220BF4CF81E}" type="presParOf" srcId="{6255BB09-0EC8-4357-96F7-79FE3D3B8095}" destId="{33AAE507-9FE2-4DC5-9ED4-C2D9C49A1A7F}" srcOrd="3" destOrd="0" presId="urn:microsoft.com/office/officeart/2008/layout/AccentedPicture"/>
    <dgm:cxn modelId="{D95B4F9F-748B-45F9-BA98-7187857D304F}" type="presParOf" srcId="{33AAE507-9FE2-4DC5-9ED4-C2D9C49A1A7F}" destId="{6B1C3C7E-F4C7-4BB2-821A-38D7994F1C97}" srcOrd="0" destOrd="0" presId="urn:microsoft.com/office/officeart/2008/layout/AccentedPi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9E3EC93-D8C8-493B-B51B-1FE23E1A69CF}" type="doc">
      <dgm:prSet loTypeId="urn:microsoft.com/office/officeart/2005/8/layout/bList2" loCatId="list" qsTypeId="urn:microsoft.com/office/officeart/2005/8/quickstyle/simple1" qsCatId="simple" csTypeId="urn:microsoft.com/office/officeart/2005/8/colors/accent2_3" csCatId="accent2" phldr="1"/>
      <dgm:spPr/>
      <dgm:t>
        <a:bodyPr/>
        <a:lstStyle/>
        <a:p>
          <a:endParaRPr lang="en-US"/>
        </a:p>
      </dgm:t>
    </dgm:pt>
    <dgm:pt modelId="{6F2FD262-E39F-4905-95E5-B0A61E3295CE}">
      <dgm:prSet phldrT="[Text]"/>
      <dgm:spPr>
        <a:xfrm>
          <a:off x="2633873" y="378"/>
          <a:ext cx="1273016" cy="575765"/>
        </a:xfrm>
      </dgm:spPr>
      <dgm:t>
        <a:bodyPr/>
        <a:lstStyle/>
        <a:p>
          <a:r>
            <a:rPr lang="en-US">
              <a:latin typeface="Times New Roman" panose="02020603050405020304"/>
              <a:ea typeface="+mn-ea"/>
              <a:cs typeface="+mn-cs"/>
            </a:rPr>
            <a:t>Owners</a:t>
          </a:r>
        </a:p>
      </dgm:t>
    </dgm:pt>
    <dgm:pt modelId="{F272DD33-926D-4332-8FB9-891D3A7A5F0D}" type="parTrans" cxnId="{17D782BA-1567-415B-8DC7-10C1E43EF80C}">
      <dgm:prSet/>
      <dgm:spPr/>
      <dgm:t>
        <a:bodyPr/>
        <a:lstStyle/>
        <a:p>
          <a:endParaRPr lang="en-US"/>
        </a:p>
      </dgm:t>
    </dgm:pt>
    <dgm:pt modelId="{57C4C0DE-032A-4BCD-8815-73EBD226D94C}" type="sibTrans" cxnId="{17D782BA-1567-415B-8DC7-10C1E43EF80C}">
      <dgm:prSet/>
      <dgm:spPr/>
      <dgm:t>
        <a:bodyPr/>
        <a:lstStyle/>
        <a:p>
          <a:endParaRPr lang="en-US"/>
        </a:p>
      </dgm:t>
    </dgm:pt>
    <dgm:pt modelId="{65D10E68-4289-4ADE-A395-754D567E346C}">
      <dgm:prSet phldrT="[Text]"/>
      <dgm:spPr>
        <a:xfrm>
          <a:off x="2633873" y="378"/>
          <a:ext cx="1273016" cy="575765"/>
        </a:xfrm>
      </dgm:spPr>
      <dgm:t>
        <a:bodyPr/>
        <a:lstStyle/>
        <a:p>
          <a:r>
            <a:rPr lang="en-US">
              <a:latin typeface="Times New Roman" panose="02020603050405020304"/>
              <a:ea typeface="+mn-ea"/>
              <a:cs typeface="+mn-cs"/>
            </a:rPr>
            <a:t>Concern is </a:t>
          </a:r>
          <a:r>
            <a:rPr lang="en-US" b="1">
              <a:latin typeface="Times New Roman" panose="02020603050405020304"/>
              <a:ea typeface="+mn-ea"/>
              <a:cs typeface="+mn-cs"/>
            </a:rPr>
            <a:t>Social Impact</a:t>
          </a:r>
          <a:endParaRPr lang="en-US">
            <a:latin typeface="Times New Roman" panose="02020603050405020304"/>
            <a:ea typeface="+mn-ea"/>
            <a:cs typeface="+mn-cs"/>
          </a:endParaRPr>
        </a:p>
      </dgm:t>
    </dgm:pt>
    <dgm:pt modelId="{85FB6176-A793-42E6-B5BB-3BB2FA31B752}" type="parTrans" cxnId="{D28558FC-B683-4CDC-94CC-7A3C716BB7E7}">
      <dgm:prSet/>
      <dgm:spPr/>
      <dgm:t>
        <a:bodyPr/>
        <a:lstStyle/>
        <a:p>
          <a:endParaRPr lang="en-US"/>
        </a:p>
      </dgm:t>
    </dgm:pt>
    <dgm:pt modelId="{CCDBC5F9-36E9-4B05-A576-BF120B0C368E}" type="sibTrans" cxnId="{D28558FC-B683-4CDC-94CC-7A3C716BB7E7}">
      <dgm:prSet/>
      <dgm:spPr/>
      <dgm:t>
        <a:bodyPr/>
        <a:lstStyle/>
        <a:p>
          <a:endParaRPr lang="en-US"/>
        </a:p>
      </dgm:t>
    </dgm:pt>
    <dgm:pt modelId="{9E190BF5-FE65-4F43-B08F-7AA3437C5C3C}">
      <dgm:prSet phldrT="[Text]"/>
      <dgm:spPr>
        <a:xfrm>
          <a:off x="2633873" y="378"/>
          <a:ext cx="1273016" cy="575765"/>
        </a:xfrm>
      </dgm:spPr>
      <dgm:t>
        <a:bodyPr/>
        <a:lstStyle/>
        <a:p>
          <a:r>
            <a:rPr lang="en-US">
              <a:latin typeface="Times New Roman" panose="02020603050405020304"/>
              <a:ea typeface="+mn-ea"/>
              <a:cs typeface="+mn-cs"/>
            </a:rPr>
            <a:t>Driver is Increased functionality of the roadway network and associated assets</a:t>
          </a:r>
        </a:p>
      </dgm:t>
    </dgm:pt>
    <dgm:pt modelId="{7F3ADEF8-5921-449A-8A41-1D14F09F0DBF}" type="parTrans" cxnId="{72E31BAB-979B-4AF5-8660-B47E077C5BD2}">
      <dgm:prSet/>
      <dgm:spPr/>
      <dgm:t>
        <a:bodyPr/>
        <a:lstStyle/>
        <a:p>
          <a:endParaRPr lang="en-US"/>
        </a:p>
      </dgm:t>
    </dgm:pt>
    <dgm:pt modelId="{255A521D-ED41-465D-A565-26672541332E}" type="sibTrans" cxnId="{72E31BAB-979B-4AF5-8660-B47E077C5BD2}">
      <dgm:prSet/>
      <dgm:spPr/>
      <dgm:t>
        <a:bodyPr/>
        <a:lstStyle/>
        <a:p>
          <a:endParaRPr lang="en-US"/>
        </a:p>
      </dgm:t>
    </dgm:pt>
    <dgm:pt modelId="{F5D7628A-DC64-4FB2-A2AB-384958B13E98}">
      <dgm:prSet phldrT="[Text]"/>
      <dgm:spPr>
        <a:xfrm>
          <a:off x="2006865" y="671144"/>
          <a:ext cx="1273016" cy="575765"/>
        </a:xfrm>
      </dgm:spPr>
      <dgm:t>
        <a:bodyPr/>
        <a:lstStyle/>
        <a:p>
          <a:r>
            <a:rPr lang="en-US">
              <a:latin typeface="Times New Roman" panose="02020603050405020304"/>
              <a:ea typeface="+mn-ea"/>
              <a:cs typeface="+mn-cs"/>
            </a:rPr>
            <a:t>Contractors</a:t>
          </a:r>
        </a:p>
      </dgm:t>
    </dgm:pt>
    <dgm:pt modelId="{1415F5F8-81B8-4F21-B62E-6F175C6177A1}" type="parTrans" cxnId="{064FCF69-41D9-43DB-AA71-5A972B3AF211}">
      <dgm:prSet/>
      <dgm:spPr/>
      <dgm:t>
        <a:bodyPr/>
        <a:lstStyle/>
        <a:p>
          <a:endParaRPr lang="en-US"/>
        </a:p>
      </dgm:t>
    </dgm:pt>
    <dgm:pt modelId="{BDEAFE06-0E61-458C-AC18-284BD6DE86A2}" type="sibTrans" cxnId="{064FCF69-41D9-43DB-AA71-5A972B3AF211}">
      <dgm:prSet/>
      <dgm:spPr/>
      <dgm:t>
        <a:bodyPr/>
        <a:lstStyle/>
        <a:p>
          <a:endParaRPr lang="en-US"/>
        </a:p>
      </dgm:t>
    </dgm:pt>
    <dgm:pt modelId="{902C83E4-1628-4BFF-B51D-3C60542584EA}">
      <dgm:prSet phldrT="[Text]"/>
      <dgm:spPr>
        <a:xfrm>
          <a:off x="2006865" y="671144"/>
          <a:ext cx="1273016" cy="575765"/>
        </a:xfrm>
      </dgm:spPr>
      <dgm:t>
        <a:bodyPr/>
        <a:lstStyle/>
        <a:p>
          <a:r>
            <a:rPr lang="en-US">
              <a:latin typeface="Times New Roman" panose="02020603050405020304"/>
              <a:ea typeface="+mn-ea"/>
              <a:cs typeface="+mn-cs"/>
            </a:rPr>
            <a:t>Concern is </a:t>
          </a:r>
          <a:r>
            <a:rPr lang="en-US" b="1">
              <a:latin typeface="Times New Roman" panose="02020603050405020304"/>
              <a:ea typeface="+mn-ea"/>
              <a:cs typeface="+mn-cs"/>
            </a:rPr>
            <a:t>Physical Impact</a:t>
          </a:r>
          <a:endParaRPr lang="en-US">
            <a:latin typeface="Times New Roman" panose="02020603050405020304"/>
            <a:ea typeface="+mn-ea"/>
            <a:cs typeface="+mn-cs"/>
          </a:endParaRPr>
        </a:p>
      </dgm:t>
    </dgm:pt>
    <dgm:pt modelId="{8692B691-20B6-4FBE-AEB5-D5E1AD333719}" type="parTrans" cxnId="{69CA38E6-DDD0-4452-96A7-2DE5B99348A7}">
      <dgm:prSet/>
      <dgm:spPr/>
      <dgm:t>
        <a:bodyPr/>
        <a:lstStyle/>
        <a:p>
          <a:endParaRPr lang="en-US"/>
        </a:p>
      </dgm:t>
    </dgm:pt>
    <dgm:pt modelId="{3D75B313-B581-429D-B499-43517EFC31B3}" type="sibTrans" cxnId="{69CA38E6-DDD0-4452-96A7-2DE5B99348A7}">
      <dgm:prSet/>
      <dgm:spPr/>
      <dgm:t>
        <a:bodyPr/>
        <a:lstStyle/>
        <a:p>
          <a:endParaRPr lang="en-US"/>
        </a:p>
      </dgm:t>
    </dgm:pt>
    <dgm:pt modelId="{AB7064AC-CB38-4DBF-8C3D-6909BB78D585}">
      <dgm:prSet phldrT="[Text]"/>
      <dgm:spPr>
        <a:xfrm>
          <a:off x="2633873" y="1341911"/>
          <a:ext cx="1273016" cy="575765"/>
        </a:xfrm>
      </dgm:spPr>
      <dgm:t>
        <a:bodyPr/>
        <a:lstStyle/>
        <a:p>
          <a:r>
            <a:rPr lang="en-US">
              <a:latin typeface="Times New Roman" panose="02020603050405020304"/>
              <a:ea typeface="+mn-ea"/>
              <a:cs typeface="+mn-cs"/>
            </a:rPr>
            <a:t>Development Banks</a:t>
          </a:r>
        </a:p>
      </dgm:t>
    </dgm:pt>
    <dgm:pt modelId="{5E3FDD74-9D9A-4184-BFAF-D52504D61663}" type="parTrans" cxnId="{98DF48F1-53A6-4ED9-B34D-11ACEE24E3D2}">
      <dgm:prSet/>
      <dgm:spPr/>
      <dgm:t>
        <a:bodyPr/>
        <a:lstStyle/>
        <a:p>
          <a:endParaRPr lang="en-US"/>
        </a:p>
      </dgm:t>
    </dgm:pt>
    <dgm:pt modelId="{5BAB85B1-17F1-40BD-8613-699F40D756CD}" type="sibTrans" cxnId="{98DF48F1-53A6-4ED9-B34D-11ACEE24E3D2}">
      <dgm:prSet/>
      <dgm:spPr/>
      <dgm:t>
        <a:bodyPr/>
        <a:lstStyle/>
        <a:p>
          <a:endParaRPr lang="en-US"/>
        </a:p>
      </dgm:t>
    </dgm:pt>
    <dgm:pt modelId="{D35247CF-B3E9-4F35-ABC9-1E055F0E88FD}">
      <dgm:prSet phldrT="[Text]"/>
      <dgm:spPr>
        <a:xfrm>
          <a:off x="2633873" y="1341911"/>
          <a:ext cx="1273016" cy="575765"/>
        </a:xfrm>
      </dgm:spPr>
      <dgm:t>
        <a:bodyPr/>
        <a:lstStyle/>
        <a:p>
          <a:r>
            <a:rPr lang="en-US">
              <a:latin typeface="Times New Roman" panose="02020603050405020304"/>
              <a:ea typeface="+mn-ea"/>
              <a:cs typeface="+mn-cs"/>
            </a:rPr>
            <a:t>Concern is </a:t>
          </a:r>
          <a:r>
            <a:rPr lang="en-US" b="1">
              <a:latin typeface="Times New Roman" panose="02020603050405020304"/>
              <a:ea typeface="+mn-ea"/>
              <a:cs typeface="+mn-cs"/>
            </a:rPr>
            <a:t>Economic Impact</a:t>
          </a:r>
          <a:endParaRPr lang="en-US">
            <a:latin typeface="Times New Roman" panose="02020603050405020304"/>
            <a:ea typeface="+mn-ea"/>
            <a:cs typeface="+mn-cs"/>
          </a:endParaRPr>
        </a:p>
      </dgm:t>
    </dgm:pt>
    <dgm:pt modelId="{B280FD00-F9AF-4AE5-AF10-011397C7B43F}" type="parTrans" cxnId="{F5E4D135-E42A-4D0E-98D4-688A242B4B9A}">
      <dgm:prSet/>
      <dgm:spPr/>
      <dgm:t>
        <a:bodyPr/>
        <a:lstStyle/>
        <a:p>
          <a:endParaRPr lang="en-US"/>
        </a:p>
      </dgm:t>
    </dgm:pt>
    <dgm:pt modelId="{595FE41E-9B9A-47BC-A8BD-B0C2C58B880D}" type="sibTrans" cxnId="{F5E4D135-E42A-4D0E-98D4-688A242B4B9A}">
      <dgm:prSet/>
      <dgm:spPr/>
      <dgm:t>
        <a:bodyPr/>
        <a:lstStyle/>
        <a:p>
          <a:endParaRPr lang="en-US"/>
        </a:p>
      </dgm:t>
    </dgm:pt>
    <dgm:pt modelId="{C8B38447-DA0D-43BE-B66E-6D210918C980}">
      <dgm:prSet phldrT="[Text]"/>
      <dgm:spPr>
        <a:xfrm>
          <a:off x="2633873" y="1341911"/>
          <a:ext cx="1273016" cy="575765"/>
        </a:xfrm>
      </dgm:spPr>
      <dgm:t>
        <a:bodyPr/>
        <a:lstStyle/>
        <a:p>
          <a:r>
            <a:rPr lang="en-US">
              <a:latin typeface="Times New Roman" panose="02020603050405020304"/>
              <a:ea typeface="+mn-ea"/>
              <a:cs typeface="+mn-cs"/>
            </a:rPr>
            <a:t>Driver is Economic benefit of roadway asset on community or region</a:t>
          </a:r>
        </a:p>
      </dgm:t>
    </dgm:pt>
    <dgm:pt modelId="{689782E0-9D12-4733-A0C0-D6F8CCC471FB}" type="parTrans" cxnId="{2484D4A7-DC9E-4E5D-B811-4F1AF7ADF0A7}">
      <dgm:prSet/>
      <dgm:spPr/>
      <dgm:t>
        <a:bodyPr/>
        <a:lstStyle/>
        <a:p>
          <a:endParaRPr lang="en-US"/>
        </a:p>
      </dgm:t>
    </dgm:pt>
    <dgm:pt modelId="{06FF2A2E-B1D0-4856-A6B0-3264DE1A58A9}" type="sibTrans" cxnId="{2484D4A7-DC9E-4E5D-B811-4F1AF7ADF0A7}">
      <dgm:prSet/>
      <dgm:spPr/>
      <dgm:t>
        <a:bodyPr/>
        <a:lstStyle/>
        <a:p>
          <a:endParaRPr lang="en-US"/>
        </a:p>
      </dgm:t>
    </dgm:pt>
    <dgm:pt modelId="{64B4DAFA-4733-4CE5-8841-954F0701804B}">
      <dgm:prSet phldrT="[Text]"/>
      <dgm:spPr>
        <a:xfrm>
          <a:off x="2006865" y="2012677"/>
          <a:ext cx="1273016" cy="575765"/>
        </a:xfrm>
      </dgm:spPr>
      <dgm:t>
        <a:bodyPr/>
        <a:lstStyle/>
        <a:p>
          <a:r>
            <a:rPr lang="en-US">
              <a:latin typeface="Times New Roman" panose="02020603050405020304"/>
              <a:ea typeface="+mn-ea"/>
              <a:cs typeface="+mn-cs"/>
            </a:rPr>
            <a:t>Driver is Reduced risk exposure per dollar spent on mitigation activities</a:t>
          </a:r>
        </a:p>
      </dgm:t>
    </dgm:pt>
    <dgm:pt modelId="{A78A716C-E95F-4373-8924-6DC74D347C91}" type="parTrans" cxnId="{DB1762B6-8623-4D3C-88D3-3C9D574874F4}">
      <dgm:prSet/>
      <dgm:spPr/>
      <dgm:t>
        <a:bodyPr/>
        <a:lstStyle/>
        <a:p>
          <a:endParaRPr lang="en-US"/>
        </a:p>
      </dgm:t>
    </dgm:pt>
    <dgm:pt modelId="{96DC26E6-5295-468B-B61B-B15B18C724ED}" type="sibTrans" cxnId="{DB1762B6-8623-4D3C-88D3-3C9D574874F4}">
      <dgm:prSet/>
      <dgm:spPr/>
      <dgm:t>
        <a:bodyPr/>
        <a:lstStyle/>
        <a:p>
          <a:endParaRPr lang="en-US"/>
        </a:p>
      </dgm:t>
    </dgm:pt>
    <dgm:pt modelId="{C7F13753-0657-46AB-89B0-B526DEEFAA55}">
      <dgm:prSet phldrT="[Text]"/>
      <dgm:spPr>
        <a:xfrm>
          <a:off x="2006865" y="2012677"/>
          <a:ext cx="1273016" cy="575765"/>
        </a:xfrm>
      </dgm:spPr>
      <dgm:t>
        <a:bodyPr/>
        <a:lstStyle/>
        <a:p>
          <a:r>
            <a:rPr lang="en-US">
              <a:latin typeface="Times New Roman" panose="02020603050405020304"/>
              <a:ea typeface="+mn-ea"/>
              <a:cs typeface="+mn-cs"/>
            </a:rPr>
            <a:t>Insurers</a:t>
          </a:r>
        </a:p>
      </dgm:t>
    </dgm:pt>
    <dgm:pt modelId="{35428E59-0ABB-4DE5-BAF3-B6EAFB39D585}" type="parTrans" cxnId="{9595AC51-78DF-4C26-991B-A47DF894529B}">
      <dgm:prSet/>
      <dgm:spPr/>
      <dgm:t>
        <a:bodyPr/>
        <a:lstStyle/>
        <a:p>
          <a:endParaRPr lang="en-US"/>
        </a:p>
      </dgm:t>
    </dgm:pt>
    <dgm:pt modelId="{7E5DB49A-EC1D-4E74-B8B5-009788E63976}" type="sibTrans" cxnId="{9595AC51-78DF-4C26-991B-A47DF894529B}">
      <dgm:prSet/>
      <dgm:spPr/>
      <dgm:t>
        <a:bodyPr/>
        <a:lstStyle/>
        <a:p>
          <a:endParaRPr lang="en-US"/>
        </a:p>
      </dgm:t>
    </dgm:pt>
    <dgm:pt modelId="{C3A8BDAF-C97D-467A-B945-EF52C0F5B442}">
      <dgm:prSet phldrT="[Text]"/>
      <dgm:spPr>
        <a:xfrm>
          <a:off x="2006865" y="2012677"/>
          <a:ext cx="1273016" cy="575765"/>
        </a:xfrm>
      </dgm:spPr>
      <dgm:t>
        <a:bodyPr/>
        <a:lstStyle/>
        <a:p>
          <a:r>
            <a:rPr lang="en-US">
              <a:latin typeface="Times New Roman" panose="02020603050405020304"/>
              <a:ea typeface="+mn-ea"/>
              <a:cs typeface="+mn-cs"/>
            </a:rPr>
            <a:t>Concern is </a:t>
          </a:r>
          <a:r>
            <a:rPr lang="en-US" b="1">
              <a:latin typeface="Times New Roman" panose="02020603050405020304"/>
              <a:ea typeface="+mn-ea"/>
              <a:cs typeface="+mn-cs"/>
            </a:rPr>
            <a:t>Financial Impact</a:t>
          </a:r>
          <a:endParaRPr lang="en-US">
            <a:latin typeface="Times New Roman" panose="02020603050405020304"/>
            <a:ea typeface="+mn-ea"/>
            <a:cs typeface="+mn-cs"/>
          </a:endParaRPr>
        </a:p>
      </dgm:t>
    </dgm:pt>
    <dgm:pt modelId="{27DAB05E-E4BB-4F00-9FE2-18EB0019EF8E}" type="parTrans" cxnId="{5CB299BE-2A7E-40C1-B08B-B4F676C75523}">
      <dgm:prSet/>
      <dgm:spPr/>
      <dgm:t>
        <a:bodyPr/>
        <a:lstStyle/>
        <a:p>
          <a:endParaRPr lang="en-US"/>
        </a:p>
      </dgm:t>
    </dgm:pt>
    <dgm:pt modelId="{63FCD6C7-27E8-433A-9EEE-31805B120BF4}" type="sibTrans" cxnId="{5CB299BE-2A7E-40C1-B08B-B4F676C75523}">
      <dgm:prSet/>
      <dgm:spPr/>
      <dgm:t>
        <a:bodyPr/>
        <a:lstStyle/>
        <a:p>
          <a:endParaRPr lang="en-US"/>
        </a:p>
      </dgm:t>
    </dgm:pt>
    <dgm:pt modelId="{D3B6AF24-3F46-4707-896F-56AC9EBE2EE3}">
      <dgm:prSet phldrT="[Text]"/>
      <dgm:spPr>
        <a:xfrm>
          <a:off x="2006865" y="671144"/>
          <a:ext cx="1273016" cy="575765"/>
        </a:xfrm>
      </dgm:spPr>
      <dgm:t>
        <a:bodyPr/>
        <a:lstStyle/>
        <a:p>
          <a:r>
            <a:rPr lang="en-US">
              <a:latin typeface="Times New Roman" panose="02020603050405020304"/>
              <a:ea typeface="+mn-ea"/>
              <a:cs typeface="+mn-cs"/>
            </a:rPr>
            <a:t>Driver is Reduction in climate impact on roadway asset condition</a:t>
          </a:r>
        </a:p>
      </dgm:t>
    </dgm:pt>
    <dgm:pt modelId="{AD00877E-BCBD-4C61-A61F-C14D560F682B}" type="parTrans" cxnId="{3DFBAAA8-DA14-4015-A6AB-805DDB954B58}">
      <dgm:prSet/>
      <dgm:spPr/>
      <dgm:t>
        <a:bodyPr/>
        <a:lstStyle/>
        <a:p>
          <a:endParaRPr lang="en-US"/>
        </a:p>
      </dgm:t>
    </dgm:pt>
    <dgm:pt modelId="{294CC9EA-C9B6-4F26-84BE-6BFCDF88206E}" type="sibTrans" cxnId="{3DFBAAA8-DA14-4015-A6AB-805DDB954B58}">
      <dgm:prSet/>
      <dgm:spPr/>
      <dgm:t>
        <a:bodyPr/>
        <a:lstStyle/>
        <a:p>
          <a:endParaRPr lang="en-US"/>
        </a:p>
      </dgm:t>
    </dgm:pt>
    <dgm:pt modelId="{CF91D008-F7BA-4971-86F0-D175F51034BB}" type="pres">
      <dgm:prSet presAssocID="{99E3EC93-D8C8-493B-B51B-1FE23E1A69CF}" presName="diagram" presStyleCnt="0">
        <dgm:presLayoutVars>
          <dgm:dir/>
          <dgm:animLvl val="lvl"/>
          <dgm:resizeHandles val="exact"/>
        </dgm:presLayoutVars>
      </dgm:prSet>
      <dgm:spPr/>
      <dgm:t>
        <a:bodyPr/>
        <a:lstStyle/>
        <a:p>
          <a:endParaRPr lang="en-US"/>
        </a:p>
      </dgm:t>
    </dgm:pt>
    <dgm:pt modelId="{4DB69B3D-743F-4BF2-8F11-F587664642B1}" type="pres">
      <dgm:prSet presAssocID="{6F2FD262-E39F-4905-95E5-B0A61E3295CE}" presName="compNode" presStyleCnt="0"/>
      <dgm:spPr/>
      <dgm:t>
        <a:bodyPr/>
        <a:lstStyle/>
        <a:p>
          <a:endParaRPr lang="en-US"/>
        </a:p>
      </dgm:t>
    </dgm:pt>
    <dgm:pt modelId="{EC07B9F4-B3B5-4624-B16E-9B11C02DA15D}" type="pres">
      <dgm:prSet presAssocID="{6F2FD262-E39F-4905-95E5-B0A61E3295CE}" presName="childRect" presStyleLbl="bgAcc1" presStyleIdx="0" presStyleCnt="4">
        <dgm:presLayoutVars>
          <dgm:bulletEnabled val="1"/>
        </dgm:presLayoutVars>
      </dgm:prSet>
      <dgm:spPr/>
      <dgm:t>
        <a:bodyPr/>
        <a:lstStyle/>
        <a:p>
          <a:endParaRPr lang="en-US"/>
        </a:p>
      </dgm:t>
    </dgm:pt>
    <dgm:pt modelId="{351895EA-6F9F-46C8-9ECD-3CF3E4BE2F30}" type="pres">
      <dgm:prSet presAssocID="{6F2FD262-E39F-4905-95E5-B0A61E3295CE}" presName="parentText" presStyleLbl="node1" presStyleIdx="0" presStyleCnt="0">
        <dgm:presLayoutVars>
          <dgm:chMax val="0"/>
          <dgm:bulletEnabled val="1"/>
        </dgm:presLayoutVars>
      </dgm:prSet>
      <dgm:spPr/>
      <dgm:t>
        <a:bodyPr/>
        <a:lstStyle/>
        <a:p>
          <a:endParaRPr lang="en-US"/>
        </a:p>
      </dgm:t>
    </dgm:pt>
    <dgm:pt modelId="{BCE5A0A9-6162-4D4A-86BA-A49070CCB375}" type="pres">
      <dgm:prSet presAssocID="{6F2FD262-E39F-4905-95E5-B0A61E3295CE}" presName="parentRect" presStyleLbl="alignNode1" presStyleIdx="0" presStyleCnt="4"/>
      <dgm:spPr/>
      <dgm:t>
        <a:bodyPr/>
        <a:lstStyle/>
        <a:p>
          <a:endParaRPr lang="en-US"/>
        </a:p>
      </dgm:t>
    </dgm:pt>
    <dgm:pt modelId="{2E59DA39-F1C6-447A-A84F-EED9D7E9B39E}" type="pres">
      <dgm:prSet presAssocID="{6F2FD262-E39F-4905-95E5-B0A61E3295CE}" presName="adorn" presStyleLbl="fgAccFollowNode1" presStyleIdx="0" presStyleCnt="4"/>
      <dgm:spPr>
        <a:prstGeom prst="round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000" r="-2000"/>
          </a:stretch>
        </a:blipFill>
      </dgm:spPr>
      <dgm:t>
        <a:bodyPr/>
        <a:lstStyle/>
        <a:p>
          <a:endParaRPr lang="en-US"/>
        </a:p>
      </dgm:t>
    </dgm:pt>
    <dgm:pt modelId="{294E7F57-D06F-4A65-87BE-1294ECBDA455}" type="pres">
      <dgm:prSet presAssocID="{57C4C0DE-032A-4BCD-8815-73EBD226D94C}" presName="sibTrans" presStyleLbl="sibTrans2D1" presStyleIdx="0" presStyleCnt="0"/>
      <dgm:spPr/>
      <dgm:t>
        <a:bodyPr/>
        <a:lstStyle/>
        <a:p>
          <a:endParaRPr lang="en-US"/>
        </a:p>
      </dgm:t>
    </dgm:pt>
    <dgm:pt modelId="{754D9E89-515D-4F79-9CCA-7B0EC65F781E}" type="pres">
      <dgm:prSet presAssocID="{F5D7628A-DC64-4FB2-A2AB-384958B13E98}" presName="compNode" presStyleCnt="0"/>
      <dgm:spPr/>
      <dgm:t>
        <a:bodyPr/>
        <a:lstStyle/>
        <a:p>
          <a:endParaRPr lang="en-US"/>
        </a:p>
      </dgm:t>
    </dgm:pt>
    <dgm:pt modelId="{536A64A3-0CB3-4D68-9651-8B848A79C2F6}" type="pres">
      <dgm:prSet presAssocID="{F5D7628A-DC64-4FB2-A2AB-384958B13E98}" presName="childRect" presStyleLbl="bgAcc1" presStyleIdx="1" presStyleCnt="4">
        <dgm:presLayoutVars>
          <dgm:bulletEnabled val="1"/>
        </dgm:presLayoutVars>
      </dgm:prSet>
      <dgm:spPr/>
      <dgm:t>
        <a:bodyPr/>
        <a:lstStyle/>
        <a:p>
          <a:endParaRPr lang="en-US"/>
        </a:p>
      </dgm:t>
    </dgm:pt>
    <dgm:pt modelId="{76BBEDD5-D232-4557-B854-565F69B5E970}" type="pres">
      <dgm:prSet presAssocID="{F5D7628A-DC64-4FB2-A2AB-384958B13E98}" presName="parentText" presStyleLbl="node1" presStyleIdx="0" presStyleCnt="0">
        <dgm:presLayoutVars>
          <dgm:chMax val="0"/>
          <dgm:bulletEnabled val="1"/>
        </dgm:presLayoutVars>
      </dgm:prSet>
      <dgm:spPr/>
      <dgm:t>
        <a:bodyPr/>
        <a:lstStyle/>
        <a:p>
          <a:endParaRPr lang="en-US"/>
        </a:p>
      </dgm:t>
    </dgm:pt>
    <dgm:pt modelId="{2AF5DE3B-244D-405D-8DE3-9B7CDEA01F7D}" type="pres">
      <dgm:prSet presAssocID="{F5D7628A-DC64-4FB2-A2AB-384958B13E98}" presName="parentRect" presStyleLbl="alignNode1" presStyleIdx="1" presStyleCnt="4"/>
      <dgm:spPr/>
      <dgm:t>
        <a:bodyPr/>
        <a:lstStyle/>
        <a:p>
          <a:endParaRPr lang="en-US"/>
        </a:p>
      </dgm:t>
    </dgm:pt>
    <dgm:pt modelId="{E499AE42-E36A-4B18-B9BF-01047ABC853B}" type="pres">
      <dgm:prSet presAssocID="{F5D7628A-DC64-4FB2-A2AB-384958B13E98}" presName="adorn" presStyleLbl="fgAccFollowNode1" presStyleIdx="1" presStyleCnt="4"/>
      <dgm:spPr>
        <a:prstGeom prst="round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dgm:spPr>
      <dgm:t>
        <a:bodyPr/>
        <a:lstStyle/>
        <a:p>
          <a:endParaRPr lang="en-US"/>
        </a:p>
      </dgm:t>
    </dgm:pt>
    <dgm:pt modelId="{AAF5FAFC-6C46-4B03-914F-38A08D300267}" type="pres">
      <dgm:prSet presAssocID="{BDEAFE06-0E61-458C-AC18-284BD6DE86A2}" presName="sibTrans" presStyleLbl="sibTrans2D1" presStyleIdx="0" presStyleCnt="0"/>
      <dgm:spPr/>
      <dgm:t>
        <a:bodyPr/>
        <a:lstStyle/>
        <a:p>
          <a:endParaRPr lang="en-US"/>
        </a:p>
      </dgm:t>
    </dgm:pt>
    <dgm:pt modelId="{ACF519AF-6C03-4DA6-82CD-BCD42684A7CE}" type="pres">
      <dgm:prSet presAssocID="{AB7064AC-CB38-4DBF-8C3D-6909BB78D585}" presName="compNode" presStyleCnt="0"/>
      <dgm:spPr/>
      <dgm:t>
        <a:bodyPr/>
        <a:lstStyle/>
        <a:p>
          <a:endParaRPr lang="en-US"/>
        </a:p>
      </dgm:t>
    </dgm:pt>
    <dgm:pt modelId="{909BA0B6-81CB-44B9-B523-3CC5D5858D76}" type="pres">
      <dgm:prSet presAssocID="{AB7064AC-CB38-4DBF-8C3D-6909BB78D585}" presName="childRect" presStyleLbl="bgAcc1" presStyleIdx="2" presStyleCnt="4">
        <dgm:presLayoutVars>
          <dgm:bulletEnabled val="1"/>
        </dgm:presLayoutVars>
      </dgm:prSet>
      <dgm:spPr/>
      <dgm:t>
        <a:bodyPr/>
        <a:lstStyle/>
        <a:p>
          <a:endParaRPr lang="en-US"/>
        </a:p>
      </dgm:t>
    </dgm:pt>
    <dgm:pt modelId="{F55824AD-AEE1-45D5-81C4-6525603D0171}" type="pres">
      <dgm:prSet presAssocID="{AB7064AC-CB38-4DBF-8C3D-6909BB78D585}" presName="parentText" presStyleLbl="node1" presStyleIdx="0" presStyleCnt="0">
        <dgm:presLayoutVars>
          <dgm:chMax val="0"/>
          <dgm:bulletEnabled val="1"/>
        </dgm:presLayoutVars>
      </dgm:prSet>
      <dgm:spPr/>
      <dgm:t>
        <a:bodyPr/>
        <a:lstStyle/>
        <a:p>
          <a:endParaRPr lang="en-US"/>
        </a:p>
      </dgm:t>
    </dgm:pt>
    <dgm:pt modelId="{B280A329-0616-460E-9D7E-7F6A1E0636E3}" type="pres">
      <dgm:prSet presAssocID="{AB7064AC-CB38-4DBF-8C3D-6909BB78D585}" presName="parentRect" presStyleLbl="alignNode1" presStyleIdx="2" presStyleCnt="4"/>
      <dgm:spPr/>
      <dgm:t>
        <a:bodyPr/>
        <a:lstStyle/>
        <a:p>
          <a:endParaRPr lang="en-US"/>
        </a:p>
      </dgm:t>
    </dgm:pt>
    <dgm:pt modelId="{3DDEC12E-FD68-4645-B67B-F12DC491E250}" type="pres">
      <dgm:prSet presAssocID="{AB7064AC-CB38-4DBF-8C3D-6909BB78D585}" presName="adorn" presStyleLbl="fgAccFollowNode1" presStyleIdx="2" presStyleCnt="4"/>
      <dgm:spPr>
        <a:prstGeom prst="round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000" r="-1000"/>
          </a:stretch>
        </a:blipFill>
      </dgm:spPr>
      <dgm:t>
        <a:bodyPr/>
        <a:lstStyle/>
        <a:p>
          <a:endParaRPr lang="en-US"/>
        </a:p>
      </dgm:t>
    </dgm:pt>
    <dgm:pt modelId="{FF6C0E8B-E642-4423-A4A7-16427AF165B0}" type="pres">
      <dgm:prSet presAssocID="{5BAB85B1-17F1-40BD-8613-699F40D756CD}" presName="sibTrans" presStyleLbl="sibTrans2D1" presStyleIdx="0" presStyleCnt="0"/>
      <dgm:spPr/>
      <dgm:t>
        <a:bodyPr/>
        <a:lstStyle/>
        <a:p>
          <a:endParaRPr lang="en-US"/>
        </a:p>
      </dgm:t>
    </dgm:pt>
    <dgm:pt modelId="{B117A1D3-F081-4E1D-824A-FB90C488DB23}" type="pres">
      <dgm:prSet presAssocID="{C7F13753-0657-46AB-89B0-B526DEEFAA55}" presName="compNode" presStyleCnt="0"/>
      <dgm:spPr/>
      <dgm:t>
        <a:bodyPr/>
        <a:lstStyle/>
        <a:p>
          <a:endParaRPr lang="en-US"/>
        </a:p>
      </dgm:t>
    </dgm:pt>
    <dgm:pt modelId="{E6432288-EA76-4436-B44A-99909833064D}" type="pres">
      <dgm:prSet presAssocID="{C7F13753-0657-46AB-89B0-B526DEEFAA55}" presName="childRect" presStyleLbl="bgAcc1" presStyleIdx="3" presStyleCnt="4">
        <dgm:presLayoutVars>
          <dgm:bulletEnabled val="1"/>
        </dgm:presLayoutVars>
      </dgm:prSet>
      <dgm:spPr/>
      <dgm:t>
        <a:bodyPr/>
        <a:lstStyle/>
        <a:p>
          <a:endParaRPr lang="en-US"/>
        </a:p>
      </dgm:t>
    </dgm:pt>
    <dgm:pt modelId="{0E3E986A-171F-437A-B593-DF6B8AAA2CC0}" type="pres">
      <dgm:prSet presAssocID="{C7F13753-0657-46AB-89B0-B526DEEFAA55}" presName="parentText" presStyleLbl="node1" presStyleIdx="0" presStyleCnt="0">
        <dgm:presLayoutVars>
          <dgm:chMax val="0"/>
          <dgm:bulletEnabled val="1"/>
        </dgm:presLayoutVars>
      </dgm:prSet>
      <dgm:spPr/>
      <dgm:t>
        <a:bodyPr/>
        <a:lstStyle/>
        <a:p>
          <a:endParaRPr lang="en-US"/>
        </a:p>
      </dgm:t>
    </dgm:pt>
    <dgm:pt modelId="{DE803D66-5666-451E-90A3-88BDCF394F93}" type="pres">
      <dgm:prSet presAssocID="{C7F13753-0657-46AB-89B0-B526DEEFAA55}" presName="parentRect" presStyleLbl="alignNode1" presStyleIdx="3" presStyleCnt="4"/>
      <dgm:spPr/>
      <dgm:t>
        <a:bodyPr/>
        <a:lstStyle/>
        <a:p>
          <a:endParaRPr lang="en-US"/>
        </a:p>
      </dgm:t>
    </dgm:pt>
    <dgm:pt modelId="{BF21A17A-0944-4DDA-A6B6-5CAD6C6C9F04}" type="pres">
      <dgm:prSet presAssocID="{C7F13753-0657-46AB-89B0-B526DEEFAA55}" presName="adorn" presStyleLbl="fgAccFollowNode1" presStyleIdx="3" presStyleCnt="4"/>
      <dgm:spPr>
        <a:prstGeom prst="roundRect">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1000" r="-1000"/>
          </a:stretch>
        </a:blipFill>
      </dgm:spPr>
      <dgm:t>
        <a:bodyPr/>
        <a:lstStyle/>
        <a:p>
          <a:endParaRPr lang="en-US"/>
        </a:p>
      </dgm:t>
    </dgm:pt>
  </dgm:ptLst>
  <dgm:cxnLst>
    <dgm:cxn modelId="{D28558FC-B683-4CDC-94CC-7A3C716BB7E7}" srcId="{6F2FD262-E39F-4905-95E5-B0A61E3295CE}" destId="{65D10E68-4289-4ADE-A395-754D567E346C}" srcOrd="0" destOrd="0" parTransId="{85FB6176-A793-42E6-B5BB-3BB2FA31B752}" sibTransId="{CCDBC5F9-36E9-4B05-A576-BF120B0C368E}"/>
    <dgm:cxn modelId="{5CB299BE-2A7E-40C1-B08B-B4F676C75523}" srcId="{C7F13753-0657-46AB-89B0-B526DEEFAA55}" destId="{C3A8BDAF-C97D-467A-B945-EF52C0F5B442}" srcOrd="0" destOrd="0" parTransId="{27DAB05E-E4BB-4F00-9FE2-18EB0019EF8E}" sibTransId="{63FCD6C7-27E8-433A-9EEE-31805B120BF4}"/>
    <dgm:cxn modelId="{064FCF69-41D9-43DB-AA71-5A972B3AF211}" srcId="{99E3EC93-D8C8-493B-B51B-1FE23E1A69CF}" destId="{F5D7628A-DC64-4FB2-A2AB-384958B13E98}" srcOrd="1" destOrd="0" parTransId="{1415F5F8-81B8-4F21-B62E-6F175C6177A1}" sibTransId="{BDEAFE06-0E61-458C-AC18-284BD6DE86A2}"/>
    <dgm:cxn modelId="{F5E4D135-E42A-4D0E-98D4-688A242B4B9A}" srcId="{AB7064AC-CB38-4DBF-8C3D-6909BB78D585}" destId="{D35247CF-B3E9-4F35-ABC9-1E055F0E88FD}" srcOrd="0" destOrd="0" parTransId="{B280FD00-F9AF-4AE5-AF10-011397C7B43F}" sibTransId="{595FE41E-9B9A-47BC-A8BD-B0C2C58B880D}"/>
    <dgm:cxn modelId="{C30CC6A9-6A50-450D-9105-A73395ED70D0}" type="presOf" srcId="{D3B6AF24-3F46-4707-896F-56AC9EBE2EE3}" destId="{536A64A3-0CB3-4D68-9651-8B848A79C2F6}" srcOrd="0" destOrd="1" presId="urn:microsoft.com/office/officeart/2005/8/layout/bList2"/>
    <dgm:cxn modelId="{DB6512D8-00D7-481F-86C6-5EE29EE2782A}" type="presOf" srcId="{5BAB85B1-17F1-40BD-8613-699F40D756CD}" destId="{FF6C0E8B-E642-4423-A4A7-16427AF165B0}" srcOrd="0" destOrd="0" presId="urn:microsoft.com/office/officeart/2005/8/layout/bList2"/>
    <dgm:cxn modelId="{93F7375D-810E-4574-AE74-3AD613532265}" type="presOf" srcId="{57C4C0DE-032A-4BCD-8815-73EBD226D94C}" destId="{294E7F57-D06F-4A65-87BE-1294ECBDA455}" srcOrd="0" destOrd="0" presId="urn:microsoft.com/office/officeart/2005/8/layout/bList2"/>
    <dgm:cxn modelId="{8CE2EAFD-63C1-47AB-BF7F-DDCFCC9DD45D}" type="presOf" srcId="{902C83E4-1628-4BFF-B51D-3C60542584EA}" destId="{536A64A3-0CB3-4D68-9651-8B848A79C2F6}" srcOrd="0" destOrd="0" presId="urn:microsoft.com/office/officeart/2005/8/layout/bList2"/>
    <dgm:cxn modelId="{17D782BA-1567-415B-8DC7-10C1E43EF80C}" srcId="{99E3EC93-D8C8-493B-B51B-1FE23E1A69CF}" destId="{6F2FD262-E39F-4905-95E5-B0A61E3295CE}" srcOrd="0" destOrd="0" parTransId="{F272DD33-926D-4332-8FB9-891D3A7A5F0D}" sibTransId="{57C4C0DE-032A-4BCD-8815-73EBD226D94C}"/>
    <dgm:cxn modelId="{14303229-C77E-40CB-9F1F-58DEBAF9E692}" type="presOf" srcId="{F5D7628A-DC64-4FB2-A2AB-384958B13E98}" destId="{2AF5DE3B-244D-405D-8DE3-9B7CDEA01F7D}" srcOrd="1" destOrd="0" presId="urn:microsoft.com/office/officeart/2005/8/layout/bList2"/>
    <dgm:cxn modelId="{299CC03F-F823-403B-B6ED-6DE39B9AF1FC}" type="presOf" srcId="{6F2FD262-E39F-4905-95E5-B0A61E3295CE}" destId="{BCE5A0A9-6162-4D4A-86BA-A49070CCB375}" srcOrd="1" destOrd="0" presId="urn:microsoft.com/office/officeart/2005/8/layout/bList2"/>
    <dgm:cxn modelId="{9595AC51-78DF-4C26-991B-A47DF894529B}" srcId="{99E3EC93-D8C8-493B-B51B-1FE23E1A69CF}" destId="{C7F13753-0657-46AB-89B0-B526DEEFAA55}" srcOrd="3" destOrd="0" parTransId="{35428E59-0ABB-4DE5-BAF3-B6EAFB39D585}" sibTransId="{7E5DB49A-EC1D-4E74-B8B5-009788E63976}"/>
    <dgm:cxn modelId="{899F81FD-3650-40FD-9C16-3E6A55F39E5E}" type="presOf" srcId="{AB7064AC-CB38-4DBF-8C3D-6909BB78D585}" destId="{B280A329-0616-460E-9D7E-7F6A1E0636E3}" srcOrd="1" destOrd="0" presId="urn:microsoft.com/office/officeart/2005/8/layout/bList2"/>
    <dgm:cxn modelId="{1F9038DA-606E-44A1-ADC2-2B57951593AC}" type="presOf" srcId="{99E3EC93-D8C8-493B-B51B-1FE23E1A69CF}" destId="{CF91D008-F7BA-4971-86F0-D175F51034BB}" srcOrd="0" destOrd="0" presId="urn:microsoft.com/office/officeart/2005/8/layout/bList2"/>
    <dgm:cxn modelId="{334F0374-0261-4FCA-B4D8-0AFC55AB0E73}" type="presOf" srcId="{64B4DAFA-4733-4CE5-8841-954F0701804B}" destId="{E6432288-EA76-4436-B44A-99909833064D}" srcOrd="0" destOrd="1" presId="urn:microsoft.com/office/officeart/2005/8/layout/bList2"/>
    <dgm:cxn modelId="{EF5B2A42-3FFD-47B1-9244-365E6A47D93C}" type="presOf" srcId="{6F2FD262-E39F-4905-95E5-B0A61E3295CE}" destId="{351895EA-6F9F-46C8-9ECD-3CF3E4BE2F30}" srcOrd="0" destOrd="0" presId="urn:microsoft.com/office/officeart/2005/8/layout/bList2"/>
    <dgm:cxn modelId="{69CA38E6-DDD0-4452-96A7-2DE5B99348A7}" srcId="{F5D7628A-DC64-4FB2-A2AB-384958B13E98}" destId="{902C83E4-1628-4BFF-B51D-3C60542584EA}" srcOrd="0" destOrd="0" parTransId="{8692B691-20B6-4FBE-AEB5-D5E1AD333719}" sibTransId="{3D75B313-B581-429D-B499-43517EFC31B3}"/>
    <dgm:cxn modelId="{BFE1F18C-6934-421C-9E6B-4855784A1F2D}" type="presOf" srcId="{9E190BF5-FE65-4F43-B08F-7AA3437C5C3C}" destId="{EC07B9F4-B3B5-4624-B16E-9B11C02DA15D}" srcOrd="0" destOrd="1" presId="urn:microsoft.com/office/officeart/2005/8/layout/bList2"/>
    <dgm:cxn modelId="{72E31BAB-979B-4AF5-8660-B47E077C5BD2}" srcId="{6F2FD262-E39F-4905-95E5-B0A61E3295CE}" destId="{9E190BF5-FE65-4F43-B08F-7AA3437C5C3C}" srcOrd="1" destOrd="0" parTransId="{7F3ADEF8-5921-449A-8A41-1D14F09F0DBF}" sibTransId="{255A521D-ED41-465D-A565-26672541332E}"/>
    <dgm:cxn modelId="{98DF48F1-53A6-4ED9-B34D-11ACEE24E3D2}" srcId="{99E3EC93-D8C8-493B-B51B-1FE23E1A69CF}" destId="{AB7064AC-CB38-4DBF-8C3D-6909BB78D585}" srcOrd="2" destOrd="0" parTransId="{5E3FDD74-9D9A-4184-BFAF-D52504D61663}" sibTransId="{5BAB85B1-17F1-40BD-8613-699F40D756CD}"/>
    <dgm:cxn modelId="{29B5A145-CC13-4949-9191-B4A57F4C1B0E}" type="presOf" srcId="{D35247CF-B3E9-4F35-ABC9-1E055F0E88FD}" destId="{909BA0B6-81CB-44B9-B523-3CC5D5858D76}" srcOrd="0" destOrd="0" presId="urn:microsoft.com/office/officeart/2005/8/layout/bList2"/>
    <dgm:cxn modelId="{61B98BB0-CC06-4731-AE9D-8016037EAAD9}" type="presOf" srcId="{C7F13753-0657-46AB-89B0-B526DEEFAA55}" destId="{DE803D66-5666-451E-90A3-88BDCF394F93}" srcOrd="1" destOrd="0" presId="urn:microsoft.com/office/officeart/2005/8/layout/bList2"/>
    <dgm:cxn modelId="{2484D4A7-DC9E-4E5D-B811-4F1AF7ADF0A7}" srcId="{AB7064AC-CB38-4DBF-8C3D-6909BB78D585}" destId="{C8B38447-DA0D-43BE-B66E-6D210918C980}" srcOrd="1" destOrd="0" parTransId="{689782E0-9D12-4733-A0C0-D6F8CCC471FB}" sibTransId="{06FF2A2E-B1D0-4856-A6B0-3264DE1A58A9}"/>
    <dgm:cxn modelId="{3DFBAAA8-DA14-4015-A6AB-805DDB954B58}" srcId="{F5D7628A-DC64-4FB2-A2AB-384958B13E98}" destId="{D3B6AF24-3F46-4707-896F-56AC9EBE2EE3}" srcOrd="1" destOrd="0" parTransId="{AD00877E-BCBD-4C61-A61F-C14D560F682B}" sibTransId="{294CC9EA-C9B6-4F26-84BE-6BFCDF88206E}"/>
    <dgm:cxn modelId="{EE4B34BF-6DC4-4CFF-98D9-72D14ABF51B6}" type="presOf" srcId="{BDEAFE06-0E61-458C-AC18-284BD6DE86A2}" destId="{AAF5FAFC-6C46-4B03-914F-38A08D300267}" srcOrd="0" destOrd="0" presId="urn:microsoft.com/office/officeart/2005/8/layout/bList2"/>
    <dgm:cxn modelId="{DB1762B6-8623-4D3C-88D3-3C9D574874F4}" srcId="{C7F13753-0657-46AB-89B0-B526DEEFAA55}" destId="{64B4DAFA-4733-4CE5-8841-954F0701804B}" srcOrd="1" destOrd="0" parTransId="{A78A716C-E95F-4373-8924-6DC74D347C91}" sibTransId="{96DC26E6-5295-468B-B61B-B15B18C724ED}"/>
    <dgm:cxn modelId="{6F1CC71E-987A-42DF-AF93-46F65CF4D698}" type="presOf" srcId="{C8B38447-DA0D-43BE-B66E-6D210918C980}" destId="{909BA0B6-81CB-44B9-B523-3CC5D5858D76}" srcOrd="0" destOrd="1" presId="urn:microsoft.com/office/officeart/2005/8/layout/bList2"/>
    <dgm:cxn modelId="{FEEFE718-BB87-4FF0-A72A-A31FBC0E7096}" type="presOf" srcId="{F5D7628A-DC64-4FB2-A2AB-384958B13E98}" destId="{76BBEDD5-D232-4557-B854-565F69B5E970}" srcOrd="0" destOrd="0" presId="urn:microsoft.com/office/officeart/2005/8/layout/bList2"/>
    <dgm:cxn modelId="{F45F4F79-FE46-406C-9478-86B0EF256A0F}" type="presOf" srcId="{C7F13753-0657-46AB-89B0-B526DEEFAA55}" destId="{0E3E986A-171F-437A-B593-DF6B8AAA2CC0}" srcOrd="0" destOrd="0" presId="urn:microsoft.com/office/officeart/2005/8/layout/bList2"/>
    <dgm:cxn modelId="{3E8044BC-EAEB-42D6-AB12-2AAD8DBF2ED1}" type="presOf" srcId="{AB7064AC-CB38-4DBF-8C3D-6909BB78D585}" destId="{F55824AD-AEE1-45D5-81C4-6525603D0171}" srcOrd="0" destOrd="0" presId="urn:microsoft.com/office/officeart/2005/8/layout/bList2"/>
    <dgm:cxn modelId="{8945646C-A0D0-4C87-99B8-73A8FCABCF56}" type="presOf" srcId="{C3A8BDAF-C97D-467A-B945-EF52C0F5B442}" destId="{E6432288-EA76-4436-B44A-99909833064D}" srcOrd="0" destOrd="0" presId="urn:microsoft.com/office/officeart/2005/8/layout/bList2"/>
    <dgm:cxn modelId="{BE808F7D-91D6-48FF-B29B-EB1698B0120D}" type="presOf" srcId="{65D10E68-4289-4ADE-A395-754D567E346C}" destId="{EC07B9F4-B3B5-4624-B16E-9B11C02DA15D}" srcOrd="0" destOrd="0" presId="urn:microsoft.com/office/officeart/2005/8/layout/bList2"/>
    <dgm:cxn modelId="{316F9D10-4B5D-4B6E-BB4D-A666C58ACFB8}" type="presParOf" srcId="{CF91D008-F7BA-4971-86F0-D175F51034BB}" destId="{4DB69B3D-743F-4BF2-8F11-F587664642B1}" srcOrd="0" destOrd="0" presId="urn:microsoft.com/office/officeart/2005/8/layout/bList2"/>
    <dgm:cxn modelId="{E2D548B0-4229-4638-8E59-31880F80D2F7}" type="presParOf" srcId="{4DB69B3D-743F-4BF2-8F11-F587664642B1}" destId="{EC07B9F4-B3B5-4624-B16E-9B11C02DA15D}" srcOrd="0" destOrd="0" presId="urn:microsoft.com/office/officeart/2005/8/layout/bList2"/>
    <dgm:cxn modelId="{42F4775A-B625-4628-803F-DD09DBCA3EFF}" type="presParOf" srcId="{4DB69B3D-743F-4BF2-8F11-F587664642B1}" destId="{351895EA-6F9F-46C8-9ECD-3CF3E4BE2F30}" srcOrd="1" destOrd="0" presId="urn:microsoft.com/office/officeart/2005/8/layout/bList2"/>
    <dgm:cxn modelId="{0385ECCD-AD83-4E35-A247-C580F8DF9BB7}" type="presParOf" srcId="{4DB69B3D-743F-4BF2-8F11-F587664642B1}" destId="{BCE5A0A9-6162-4D4A-86BA-A49070CCB375}" srcOrd="2" destOrd="0" presId="urn:microsoft.com/office/officeart/2005/8/layout/bList2"/>
    <dgm:cxn modelId="{BD213554-25D7-431E-BA5C-78AE9397E041}" type="presParOf" srcId="{4DB69B3D-743F-4BF2-8F11-F587664642B1}" destId="{2E59DA39-F1C6-447A-A84F-EED9D7E9B39E}" srcOrd="3" destOrd="0" presId="urn:microsoft.com/office/officeart/2005/8/layout/bList2"/>
    <dgm:cxn modelId="{9B0EE186-296F-4D01-8DB7-0909D5132A75}" type="presParOf" srcId="{CF91D008-F7BA-4971-86F0-D175F51034BB}" destId="{294E7F57-D06F-4A65-87BE-1294ECBDA455}" srcOrd="1" destOrd="0" presId="urn:microsoft.com/office/officeart/2005/8/layout/bList2"/>
    <dgm:cxn modelId="{AED5DDE5-6704-47CB-8D93-B1928838E965}" type="presParOf" srcId="{CF91D008-F7BA-4971-86F0-D175F51034BB}" destId="{754D9E89-515D-4F79-9CCA-7B0EC65F781E}" srcOrd="2" destOrd="0" presId="urn:microsoft.com/office/officeart/2005/8/layout/bList2"/>
    <dgm:cxn modelId="{52A72859-8DCB-428E-975D-F06AABAAF05E}" type="presParOf" srcId="{754D9E89-515D-4F79-9CCA-7B0EC65F781E}" destId="{536A64A3-0CB3-4D68-9651-8B848A79C2F6}" srcOrd="0" destOrd="0" presId="urn:microsoft.com/office/officeart/2005/8/layout/bList2"/>
    <dgm:cxn modelId="{E716060C-66EE-443A-B047-C76B0FA79C78}" type="presParOf" srcId="{754D9E89-515D-4F79-9CCA-7B0EC65F781E}" destId="{76BBEDD5-D232-4557-B854-565F69B5E970}" srcOrd="1" destOrd="0" presId="urn:microsoft.com/office/officeart/2005/8/layout/bList2"/>
    <dgm:cxn modelId="{CE950170-8151-4F52-86A0-BE64C4B42992}" type="presParOf" srcId="{754D9E89-515D-4F79-9CCA-7B0EC65F781E}" destId="{2AF5DE3B-244D-405D-8DE3-9B7CDEA01F7D}" srcOrd="2" destOrd="0" presId="urn:microsoft.com/office/officeart/2005/8/layout/bList2"/>
    <dgm:cxn modelId="{C8F46074-A1A2-4C0C-B3C7-F16FDCDBA1F3}" type="presParOf" srcId="{754D9E89-515D-4F79-9CCA-7B0EC65F781E}" destId="{E499AE42-E36A-4B18-B9BF-01047ABC853B}" srcOrd="3" destOrd="0" presId="urn:microsoft.com/office/officeart/2005/8/layout/bList2"/>
    <dgm:cxn modelId="{0DA45455-4EC6-4196-9617-14CE2BDFAF0C}" type="presParOf" srcId="{CF91D008-F7BA-4971-86F0-D175F51034BB}" destId="{AAF5FAFC-6C46-4B03-914F-38A08D300267}" srcOrd="3" destOrd="0" presId="urn:microsoft.com/office/officeart/2005/8/layout/bList2"/>
    <dgm:cxn modelId="{61225CDC-C047-4E6B-B075-CFAFD3DBE4B9}" type="presParOf" srcId="{CF91D008-F7BA-4971-86F0-D175F51034BB}" destId="{ACF519AF-6C03-4DA6-82CD-BCD42684A7CE}" srcOrd="4" destOrd="0" presId="urn:microsoft.com/office/officeart/2005/8/layout/bList2"/>
    <dgm:cxn modelId="{19CA0A15-A25F-4574-880F-CBBCD7FBE0EB}" type="presParOf" srcId="{ACF519AF-6C03-4DA6-82CD-BCD42684A7CE}" destId="{909BA0B6-81CB-44B9-B523-3CC5D5858D76}" srcOrd="0" destOrd="0" presId="urn:microsoft.com/office/officeart/2005/8/layout/bList2"/>
    <dgm:cxn modelId="{50F83676-0620-455D-90D9-4E4B08F49657}" type="presParOf" srcId="{ACF519AF-6C03-4DA6-82CD-BCD42684A7CE}" destId="{F55824AD-AEE1-45D5-81C4-6525603D0171}" srcOrd="1" destOrd="0" presId="urn:microsoft.com/office/officeart/2005/8/layout/bList2"/>
    <dgm:cxn modelId="{DE4DC4C9-95D3-44FD-897A-7C0E34D8930F}" type="presParOf" srcId="{ACF519AF-6C03-4DA6-82CD-BCD42684A7CE}" destId="{B280A329-0616-460E-9D7E-7F6A1E0636E3}" srcOrd="2" destOrd="0" presId="urn:microsoft.com/office/officeart/2005/8/layout/bList2"/>
    <dgm:cxn modelId="{C21023E8-A6F8-45EB-8117-30E2D969C831}" type="presParOf" srcId="{ACF519AF-6C03-4DA6-82CD-BCD42684A7CE}" destId="{3DDEC12E-FD68-4645-B67B-F12DC491E250}" srcOrd="3" destOrd="0" presId="urn:microsoft.com/office/officeart/2005/8/layout/bList2"/>
    <dgm:cxn modelId="{CE9DC582-3081-4AFE-8C9A-2733CA15D7C3}" type="presParOf" srcId="{CF91D008-F7BA-4971-86F0-D175F51034BB}" destId="{FF6C0E8B-E642-4423-A4A7-16427AF165B0}" srcOrd="5" destOrd="0" presId="urn:microsoft.com/office/officeart/2005/8/layout/bList2"/>
    <dgm:cxn modelId="{D9C86C47-9DD1-4FC1-B3C6-201C1933A0B6}" type="presParOf" srcId="{CF91D008-F7BA-4971-86F0-D175F51034BB}" destId="{B117A1D3-F081-4E1D-824A-FB90C488DB23}" srcOrd="6" destOrd="0" presId="urn:microsoft.com/office/officeart/2005/8/layout/bList2"/>
    <dgm:cxn modelId="{706348BD-4777-49A4-8138-D5392467F2BE}" type="presParOf" srcId="{B117A1D3-F081-4E1D-824A-FB90C488DB23}" destId="{E6432288-EA76-4436-B44A-99909833064D}" srcOrd="0" destOrd="0" presId="urn:microsoft.com/office/officeart/2005/8/layout/bList2"/>
    <dgm:cxn modelId="{0161CA14-B9A1-49D8-ACF8-48184445B933}" type="presParOf" srcId="{B117A1D3-F081-4E1D-824A-FB90C488DB23}" destId="{0E3E986A-171F-437A-B593-DF6B8AAA2CC0}" srcOrd="1" destOrd="0" presId="urn:microsoft.com/office/officeart/2005/8/layout/bList2"/>
    <dgm:cxn modelId="{BE21F135-2EB3-423A-9162-8B83A135A2A0}" type="presParOf" srcId="{B117A1D3-F081-4E1D-824A-FB90C488DB23}" destId="{DE803D66-5666-451E-90A3-88BDCF394F93}" srcOrd="2" destOrd="0" presId="urn:microsoft.com/office/officeart/2005/8/layout/bList2"/>
    <dgm:cxn modelId="{AE7C02EB-93B5-4608-A20E-CC8EAC75B5B3}" type="presParOf" srcId="{B117A1D3-F081-4E1D-824A-FB90C488DB23}" destId="{BF21A17A-0944-4DDA-A6B6-5CAD6C6C9F04}"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99E3EC93-D8C8-493B-B51B-1FE23E1A69CF}" type="doc">
      <dgm:prSet loTypeId="urn:microsoft.com/office/officeart/2008/layout/LinedList" loCatId="list" qsTypeId="urn:microsoft.com/office/officeart/2005/8/quickstyle/simple1" qsCatId="simple" csTypeId="urn:microsoft.com/office/officeart/2005/8/colors/accent2_2" csCatId="accent2" phldr="1"/>
      <dgm:spPr/>
      <dgm:t>
        <a:bodyPr/>
        <a:lstStyle/>
        <a:p>
          <a:endParaRPr lang="en-US"/>
        </a:p>
      </dgm:t>
    </dgm:pt>
    <dgm:pt modelId="{65D10E68-4289-4ADE-A395-754D567E346C}">
      <dgm:prSet phldrT="[Text]"/>
      <dgm:spPr>
        <a:xfrm>
          <a:off x="1537576" y="459"/>
          <a:ext cx="4376178" cy="212974"/>
        </a:xfrm>
      </dgm:spPr>
      <dgm:t>
        <a:bodyPr/>
        <a:lstStyle/>
        <a:p>
          <a:r>
            <a:rPr lang="en-US" b="1">
              <a:latin typeface="Times New Roman" panose="02020603050405020304"/>
              <a:ea typeface="+mn-ea"/>
              <a:cs typeface="+mn-cs"/>
            </a:rPr>
            <a:t>Social Impact</a:t>
          </a:r>
        </a:p>
      </dgm:t>
    </dgm:pt>
    <dgm:pt modelId="{85FB6176-A793-42E6-B5BB-3BB2FA31B752}" type="parTrans" cxnId="{D28558FC-B683-4CDC-94CC-7A3C716BB7E7}">
      <dgm:prSet/>
      <dgm:spPr/>
      <dgm:t>
        <a:bodyPr/>
        <a:lstStyle/>
        <a:p>
          <a:endParaRPr lang="en-US"/>
        </a:p>
      </dgm:t>
    </dgm:pt>
    <dgm:pt modelId="{CCDBC5F9-36E9-4B05-A576-BF120B0C368E}" type="sibTrans" cxnId="{D28558FC-B683-4CDC-94CC-7A3C716BB7E7}">
      <dgm:prSet/>
      <dgm:spPr/>
      <dgm:t>
        <a:bodyPr/>
        <a:lstStyle/>
        <a:p>
          <a:endParaRPr lang="en-US"/>
        </a:p>
      </dgm:t>
    </dgm:pt>
    <dgm:pt modelId="{9E190BF5-FE65-4F43-B08F-7AA3437C5C3C}">
      <dgm:prSet phldrT="[Text]"/>
      <dgm:spPr>
        <a:xfrm>
          <a:off x="0" y="213434"/>
          <a:ext cx="5913755" cy="426013"/>
        </a:xfrm>
      </dgm:spPr>
      <dgm:t>
        <a:bodyPr/>
        <a:lstStyle/>
        <a:p>
          <a:r>
            <a:rPr lang="en-US"/>
            <a:t>Availability Performance </a:t>
          </a:r>
          <a:endParaRPr lang="en-US">
            <a:latin typeface="Times New Roman" panose="02020603050405020304"/>
            <a:ea typeface="+mn-ea"/>
            <a:cs typeface="+mn-cs"/>
          </a:endParaRPr>
        </a:p>
      </dgm:t>
    </dgm:pt>
    <dgm:pt modelId="{7F3ADEF8-5921-449A-8A41-1D14F09F0DBF}" type="parTrans" cxnId="{72E31BAB-979B-4AF5-8660-B47E077C5BD2}">
      <dgm:prSet/>
      <dgm:spPr/>
      <dgm:t>
        <a:bodyPr/>
        <a:lstStyle/>
        <a:p>
          <a:endParaRPr lang="en-US"/>
        </a:p>
      </dgm:t>
    </dgm:pt>
    <dgm:pt modelId="{255A521D-ED41-465D-A565-26672541332E}" type="sibTrans" cxnId="{72E31BAB-979B-4AF5-8660-B47E077C5BD2}">
      <dgm:prSet/>
      <dgm:spPr/>
      <dgm:t>
        <a:bodyPr/>
        <a:lstStyle/>
        <a:p>
          <a:endParaRPr lang="en-US"/>
        </a:p>
      </dgm:t>
    </dgm:pt>
    <dgm:pt modelId="{902C83E4-1628-4BFF-B51D-3C60542584EA}">
      <dgm:prSet phldrT="[Text]"/>
      <dgm:spPr>
        <a:xfrm>
          <a:off x="1537576" y="650097"/>
          <a:ext cx="4376178" cy="212974"/>
        </a:xfrm>
      </dgm:spPr>
      <dgm:t>
        <a:bodyPr/>
        <a:lstStyle/>
        <a:p>
          <a:r>
            <a:rPr lang="en-US" b="1">
              <a:latin typeface="Times New Roman" panose="02020603050405020304"/>
              <a:ea typeface="+mn-ea"/>
              <a:cs typeface="+mn-cs"/>
            </a:rPr>
            <a:t>Physical Impact</a:t>
          </a:r>
          <a:endParaRPr lang="en-US">
            <a:latin typeface="Times New Roman" panose="02020603050405020304"/>
            <a:ea typeface="+mn-ea"/>
            <a:cs typeface="+mn-cs"/>
          </a:endParaRPr>
        </a:p>
      </dgm:t>
    </dgm:pt>
    <dgm:pt modelId="{8692B691-20B6-4FBE-AEB5-D5E1AD333719}" type="parTrans" cxnId="{69CA38E6-DDD0-4452-96A7-2DE5B99348A7}">
      <dgm:prSet/>
      <dgm:spPr/>
      <dgm:t>
        <a:bodyPr/>
        <a:lstStyle/>
        <a:p>
          <a:endParaRPr lang="en-US"/>
        </a:p>
      </dgm:t>
    </dgm:pt>
    <dgm:pt modelId="{3D75B313-B581-429D-B499-43517EFC31B3}" type="sibTrans" cxnId="{69CA38E6-DDD0-4452-96A7-2DE5B99348A7}">
      <dgm:prSet/>
      <dgm:spPr/>
      <dgm:t>
        <a:bodyPr/>
        <a:lstStyle/>
        <a:p>
          <a:endParaRPr lang="en-US"/>
        </a:p>
      </dgm:t>
    </dgm:pt>
    <dgm:pt modelId="{D35247CF-B3E9-4F35-ABC9-1E055F0E88FD}">
      <dgm:prSet phldrT="[Text]"/>
      <dgm:spPr>
        <a:xfrm>
          <a:off x="1537576" y="1299734"/>
          <a:ext cx="4376178" cy="212974"/>
        </a:xfrm>
      </dgm:spPr>
      <dgm:t>
        <a:bodyPr/>
        <a:lstStyle/>
        <a:p>
          <a:r>
            <a:rPr lang="en-US" b="1">
              <a:latin typeface="Times New Roman" panose="02020603050405020304"/>
              <a:ea typeface="+mn-ea"/>
              <a:cs typeface="+mn-cs"/>
            </a:rPr>
            <a:t>Economic Impact</a:t>
          </a:r>
          <a:endParaRPr lang="en-US">
            <a:latin typeface="Times New Roman" panose="02020603050405020304"/>
            <a:ea typeface="+mn-ea"/>
            <a:cs typeface="+mn-cs"/>
          </a:endParaRPr>
        </a:p>
      </dgm:t>
    </dgm:pt>
    <dgm:pt modelId="{B280FD00-F9AF-4AE5-AF10-011397C7B43F}" type="parTrans" cxnId="{F5E4D135-E42A-4D0E-98D4-688A242B4B9A}">
      <dgm:prSet/>
      <dgm:spPr/>
      <dgm:t>
        <a:bodyPr/>
        <a:lstStyle/>
        <a:p>
          <a:endParaRPr lang="en-US"/>
        </a:p>
      </dgm:t>
    </dgm:pt>
    <dgm:pt modelId="{595FE41E-9B9A-47BC-A8BD-B0C2C58B880D}" type="sibTrans" cxnId="{F5E4D135-E42A-4D0E-98D4-688A242B4B9A}">
      <dgm:prSet/>
      <dgm:spPr/>
      <dgm:t>
        <a:bodyPr/>
        <a:lstStyle/>
        <a:p>
          <a:endParaRPr lang="en-US"/>
        </a:p>
      </dgm:t>
    </dgm:pt>
    <dgm:pt modelId="{C8B38447-DA0D-43BE-B66E-6D210918C980}">
      <dgm:prSet phldrT="[Text]"/>
      <dgm:spPr>
        <a:xfrm>
          <a:off x="0" y="1512709"/>
          <a:ext cx="5913755" cy="426013"/>
        </a:xfrm>
      </dgm:spPr>
      <dgm:t>
        <a:bodyPr/>
        <a:lstStyle/>
        <a:p>
          <a:r>
            <a:rPr lang="en-US"/>
            <a:t>Business Generation</a:t>
          </a:r>
          <a:endParaRPr lang="en-US">
            <a:latin typeface="Times New Roman" panose="02020603050405020304"/>
            <a:ea typeface="+mn-ea"/>
            <a:cs typeface="+mn-cs"/>
          </a:endParaRPr>
        </a:p>
      </dgm:t>
    </dgm:pt>
    <dgm:pt modelId="{689782E0-9D12-4733-A0C0-D6F8CCC471FB}" type="parTrans" cxnId="{2484D4A7-DC9E-4E5D-B811-4F1AF7ADF0A7}">
      <dgm:prSet/>
      <dgm:spPr/>
      <dgm:t>
        <a:bodyPr/>
        <a:lstStyle/>
        <a:p>
          <a:endParaRPr lang="en-US"/>
        </a:p>
      </dgm:t>
    </dgm:pt>
    <dgm:pt modelId="{06FF2A2E-B1D0-4856-A6B0-3264DE1A58A9}" type="sibTrans" cxnId="{2484D4A7-DC9E-4E5D-B811-4F1AF7ADF0A7}">
      <dgm:prSet/>
      <dgm:spPr/>
      <dgm:t>
        <a:bodyPr/>
        <a:lstStyle/>
        <a:p>
          <a:endParaRPr lang="en-US"/>
        </a:p>
      </dgm:t>
    </dgm:pt>
    <dgm:pt modelId="{64B4DAFA-4733-4CE5-8841-954F0701804B}">
      <dgm:prSet phldrT="[Text]"/>
      <dgm:spPr>
        <a:xfrm>
          <a:off x="0" y="2162347"/>
          <a:ext cx="5913755" cy="426013"/>
        </a:xfrm>
      </dgm:spPr>
      <dgm:t>
        <a:bodyPr/>
        <a:lstStyle/>
        <a:p>
          <a:r>
            <a:rPr lang="en-US" b="1"/>
            <a:t>Loss</a:t>
          </a:r>
          <a:r>
            <a:rPr lang="en-US"/>
            <a:t> </a:t>
          </a:r>
          <a:r>
            <a:rPr lang="en-US" b="1"/>
            <a:t>Reduction</a:t>
          </a:r>
          <a:endParaRPr lang="en-US" b="1">
            <a:latin typeface="Times New Roman" panose="02020603050405020304"/>
            <a:ea typeface="+mn-ea"/>
            <a:cs typeface="+mn-cs"/>
          </a:endParaRPr>
        </a:p>
      </dgm:t>
    </dgm:pt>
    <dgm:pt modelId="{A78A716C-E95F-4373-8924-6DC74D347C91}" type="parTrans" cxnId="{DB1762B6-8623-4D3C-88D3-3C9D574874F4}">
      <dgm:prSet/>
      <dgm:spPr/>
      <dgm:t>
        <a:bodyPr/>
        <a:lstStyle/>
        <a:p>
          <a:endParaRPr lang="en-US"/>
        </a:p>
      </dgm:t>
    </dgm:pt>
    <dgm:pt modelId="{96DC26E6-5295-468B-B61B-B15B18C724ED}" type="sibTrans" cxnId="{DB1762B6-8623-4D3C-88D3-3C9D574874F4}">
      <dgm:prSet/>
      <dgm:spPr/>
      <dgm:t>
        <a:bodyPr/>
        <a:lstStyle/>
        <a:p>
          <a:endParaRPr lang="en-US"/>
        </a:p>
      </dgm:t>
    </dgm:pt>
    <dgm:pt modelId="{AE137B84-238E-40CE-8292-7151BEEFD3E8}">
      <dgm:prSet phldrT="[Text]"/>
      <dgm:spPr>
        <a:xfrm>
          <a:off x="0" y="213434"/>
          <a:ext cx="5913755" cy="426013"/>
        </a:xfrm>
      </dgm:spPr>
      <dgm:t>
        <a:bodyPr/>
        <a:lstStyle/>
        <a:p>
          <a:r>
            <a:rPr lang="en-US"/>
            <a:t>Service Performance</a:t>
          </a:r>
          <a:endParaRPr lang="en-US">
            <a:latin typeface="Times New Roman" panose="02020603050405020304"/>
            <a:ea typeface="+mn-ea"/>
            <a:cs typeface="+mn-cs"/>
          </a:endParaRPr>
        </a:p>
      </dgm:t>
    </dgm:pt>
    <dgm:pt modelId="{EF652535-F339-4306-AFE0-785E19B0D9EA}" type="parTrans" cxnId="{91ED4715-844B-4366-868D-02A7C43E963C}">
      <dgm:prSet/>
      <dgm:spPr/>
      <dgm:t>
        <a:bodyPr/>
        <a:lstStyle/>
        <a:p>
          <a:endParaRPr lang="en-US"/>
        </a:p>
      </dgm:t>
    </dgm:pt>
    <dgm:pt modelId="{2F3449AA-20FD-44C6-A6ED-E3B559734BA2}" type="sibTrans" cxnId="{91ED4715-844B-4366-868D-02A7C43E963C}">
      <dgm:prSet/>
      <dgm:spPr/>
      <dgm:t>
        <a:bodyPr/>
        <a:lstStyle/>
        <a:p>
          <a:endParaRPr lang="en-US"/>
        </a:p>
      </dgm:t>
    </dgm:pt>
    <dgm:pt modelId="{A88121E3-AF7B-41C6-B8A0-9533A64A7BF0}">
      <dgm:prSet phldrT="[Text]"/>
      <dgm:spPr>
        <a:xfrm>
          <a:off x="0" y="863072"/>
          <a:ext cx="5913755" cy="426013"/>
        </a:xfrm>
      </dgm:spPr>
      <dgm:t>
        <a:bodyPr/>
        <a:lstStyle/>
        <a:p>
          <a:r>
            <a:rPr lang="en-US"/>
            <a:t>Physical Damage</a:t>
          </a:r>
          <a:endParaRPr lang="en-US">
            <a:latin typeface="Times New Roman" panose="02020603050405020304"/>
            <a:ea typeface="+mn-ea"/>
            <a:cs typeface="+mn-cs"/>
          </a:endParaRPr>
        </a:p>
      </dgm:t>
    </dgm:pt>
    <dgm:pt modelId="{69A9372A-CED5-4B81-9362-E9FB11BD979E}" type="parTrans" cxnId="{40213885-3598-4C3B-9C19-4261D37A8AEF}">
      <dgm:prSet/>
      <dgm:spPr/>
      <dgm:t>
        <a:bodyPr/>
        <a:lstStyle/>
        <a:p>
          <a:endParaRPr lang="en-US"/>
        </a:p>
      </dgm:t>
    </dgm:pt>
    <dgm:pt modelId="{9B857120-F514-4936-BB16-2A083961A130}" type="sibTrans" cxnId="{40213885-3598-4C3B-9C19-4261D37A8AEF}">
      <dgm:prSet/>
      <dgm:spPr/>
      <dgm:t>
        <a:bodyPr/>
        <a:lstStyle/>
        <a:p>
          <a:endParaRPr lang="en-US"/>
        </a:p>
      </dgm:t>
    </dgm:pt>
    <dgm:pt modelId="{258B4A8A-61A7-4BC6-B950-59FFF69D9777}">
      <dgm:prSet phldrT="[Text]"/>
      <dgm:spPr>
        <a:xfrm>
          <a:off x="0" y="863072"/>
          <a:ext cx="5913755" cy="426013"/>
        </a:xfrm>
      </dgm:spPr>
      <dgm:t>
        <a:bodyPr/>
        <a:lstStyle/>
        <a:p>
          <a:r>
            <a:rPr lang="en-US"/>
            <a:t>Environmental Damage</a:t>
          </a:r>
          <a:endParaRPr lang="en-US">
            <a:latin typeface="Times New Roman" panose="02020603050405020304"/>
            <a:ea typeface="+mn-ea"/>
            <a:cs typeface="+mn-cs"/>
          </a:endParaRPr>
        </a:p>
      </dgm:t>
    </dgm:pt>
    <dgm:pt modelId="{943DCC4C-ECC3-4113-B45A-7675A42C46C9}" type="parTrans" cxnId="{B49513C2-3B61-44AD-ABF6-38C3CAA6FB56}">
      <dgm:prSet/>
      <dgm:spPr/>
      <dgm:t>
        <a:bodyPr/>
        <a:lstStyle/>
        <a:p>
          <a:endParaRPr lang="en-US"/>
        </a:p>
      </dgm:t>
    </dgm:pt>
    <dgm:pt modelId="{7277A35E-7A11-49AC-ADE7-44F72AC2C198}" type="sibTrans" cxnId="{B49513C2-3B61-44AD-ABF6-38C3CAA6FB56}">
      <dgm:prSet/>
      <dgm:spPr/>
      <dgm:t>
        <a:bodyPr/>
        <a:lstStyle/>
        <a:p>
          <a:endParaRPr lang="en-US"/>
        </a:p>
      </dgm:t>
    </dgm:pt>
    <dgm:pt modelId="{B4827E51-6CDD-4820-9769-1B9411EA424A}">
      <dgm:prSet phldrT="[Text]"/>
      <dgm:spPr>
        <a:xfrm>
          <a:off x="0" y="1512709"/>
          <a:ext cx="5913755" cy="426013"/>
        </a:xfrm>
      </dgm:spPr>
      <dgm:t>
        <a:bodyPr/>
        <a:lstStyle/>
        <a:p>
          <a:r>
            <a:rPr lang="en-US"/>
            <a:t>Business Downtime</a:t>
          </a:r>
          <a:endParaRPr lang="en-US">
            <a:latin typeface="Times New Roman" panose="02020603050405020304"/>
            <a:ea typeface="+mn-ea"/>
            <a:cs typeface="+mn-cs"/>
          </a:endParaRPr>
        </a:p>
      </dgm:t>
    </dgm:pt>
    <dgm:pt modelId="{0706237C-97CB-4EFE-A149-0490C5101B10}" type="parTrans" cxnId="{0CD8DAA0-C720-49EB-BBB9-4004B12696E0}">
      <dgm:prSet/>
      <dgm:spPr/>
      <dgm:t>
        <a:bodyPr/>
        <a:lstStyle/>
        <a:p>
          <a:endParaRPr lang="en-US"/>
        </a:p>
      </dgm:t>
    </dgm:pt>
    <dgm:pt modelId="{9AEA0117-7A27-48AA-80B6-DEAE0EBA9B19}" type="sibTrans" cxnId="{0CD8DAA0-C720-49EB-BBB9-4004B12696E0}">
      <dgm:prSet/>
      <dgm:spPr/>
      <dgm:t>
        <a:bodyPr/>
        <a:lstStyle/>
        <a:p>
          <a:endParaRPr lang="en-US"/>
        </a:p>
      </dgm:t>
    </dgm:pt>
    <dgm:pt modelId="{7876F5B8-685C-4801-BE49-6B1C81347FC3}">
      <dgm:prSet phldrT="[Text]"/>
      <dgm:spPr>
        <a:xfrm>
          <a:off x="0" y="2162347"/>
          <a:ext cx="5913755" cy="426013"/>
        </a:xfrm>
      </dgm:spPr>
      <dgm:t>
        <a:bodyPr/>
        <a:lstStyle/>
        <a:p>
          <a:r>
            <a:rPr lang="en-US" dirty="0"/>
            <a:t>Repair Cost Estimates</a:t>
          </a:r>
          <a:endParaRPr lang="en-US" dirty="0">
            <a:latin typeface="Times New Roman" panose="02020603050405020304"/>
            <a:ea typeface="+mn-ea"/>
            <a:cs typeface="+mn-cs"/>
          </a:endParaRPr>
        </a:p>
      </dgm:t>
    </dgm:pt>
    <dgm:pt modelId="{AC4C1A8C-8554-4A4A-B6FD-1FFE84497E8A}" type="parTrans" cxnId="{998C8017-C564-4CA9-BE8F-2AF164BDBBA1}">
      <dgm:prSet/>
      <dgm:spPr/>
      <dgm:t>
        <a:bodyPr/>
        <a:lstStyle/>
        <a:p>
          <a:endParaRPr lang="en-US"/>
        </a:p>
      </dgm:t>
    </dgm:pt>
    <dgm:pt modelId="{27E046D3-51DA-4A78-BDBB-A69BC1B605E2}" type="sibTrans" cxnId="{998C8017-C564-4CA9-BE8F-2AF164BDBBA1}">
      <dgm:prSet/>
      <dgm:spPr/>
      <dgm:t>
        <a:bodyPr/>
        <a:lstStyle/>
        <a:p>
          <a:endParaRPr lang="en-US"/>
        </a:p>
      </dgm:t>
    </dgm:pt>
    <dgm:pt modelId="{E567DF18-8782-4241-8031-E7E9E9920CB5}">
      <dgm:prSet phldrT="[Text]"/>
      <dgm:spPr>
        <a:xfrm>
          <a:off x="1537576" y="459"/>
          <a:ext cx="4376178" cy="212974"/>
        </a:xfrm>
      </dgm:spPr>
      <dgm:t>
        <a:bodyPr/>
        <a:lstStyle/>
        <a:p>
          <a:r>
            <a:rPr lang="en-US" b="1">
              <a:latin typeface="Times New Roman" panose="02020603050405020304"/>
              <a:ea typeface="+mn-ea"/>
              <a:cs typeface="+mn-cs"/>
            </a:rPr>
            <a:t>Asset Functionality</a:t>
          </a:r>
          <a:r>
            <a:rPr lang="en-US">
              <a:latin typeface="Times New Roman" panose="02020603050405020304"/>
              <a:ea typeface="+mn-ea"/>
              <a:cs typeface="+mn-cs"/>
            </a:rPr>
            <a:t> </a:t>
          </a:r>
        </a:p>
      </dgm:t>
    </dgm:pt>
    <dgm:pt modelId="{9CEAB346-33FE-4F03-B310-057EB2C080A4}" type="parTrans" cxnId="{A6B3114F-7148-483D-8D18-198300C2862D}">
      <dgm:prSet/>
      <dgm:spPr/>
      <dgm:t>
        <a:bodyPr/>
        <a:lstStyle/>
        <a:p>
          <a:endParaRPr lang="en-US"/>
        </a:p>
      </dgm:t>
    </dgm:pt>
    <dgm:pt modelId="{23D00634-9B33-406B-87B3-FE75193695A2}" type="sibTrans" cxnId="{A6B3114F-7148-483D-8D18-198300C2862D}">
      <dgm:prSet/>
      <dgm:spPr/>
      <dgm:t>
        <a:bodyPr/>
        <a:lstStyle/>
        <a:p>
          <a:endParaRPr lang="en-US"/>
        </a:p>
      </dgm:t>
    </dgm:pt>
    <dgm:pt modelId="{987DB58F-BA46-42AC-8620-BE5F19FEBEB0}">
      <dgm:prSet phldrT="[Text]"/>
      <dgm:spPr>
        <a:xfrm>
          <a:off x="1537576" y="650097"/>
          <a:ext cx="4376178" cy="212974"/>
        </a:xfrm>
      </dgm:spPr>
      <dgm:t>
        <a:bodyPr/>
        <a:lstStyle/>
        <a:p>
          <a:r>
            <a:rPr lang="en-US" b="1">
              <a:latin typeface="Times New Roman" panose="02020603050405020304"/>
              <a:ea typeface="+mn-ea"/>
              <a:cs typeface="+mn-cs"/>
            </a:rPr>
            <a:t>Damage Reduction</a:t>
          </a:r>
          <a:endParaRPr lang="en-US">
            <a:latin typeface="Times New Roman" panose="02020603050405020304"/>
            <a:ea typeface="+mn-ea"/>
            <a:cs typeface="+mn-cs"/>
          </a:endParaRPr>
        </a:p>
      </dgm:t>
    </dgm:pt>
    <dgm:pt modelId="{49157544-D633-4A71-8726-BFA16457C518}" type="parTrans" cxnId="{F9F5BF68-7F33-4819-9CFF-662B05CC9108}">
      <dgm:prSet/>
      <dgm:spPr/>
      <dgm:t>
        <a:bodyPr/>
        <a:lstStyle/>
        <a:p>
          <a:endParaRPr lang="en-US"/>
        </a:p>
      </dgm:t>
    </dgm:pt>
    <dgm:pt modelId="{8C496AB3-E185-466C-AE46-B09B927613F2}" type="sibTrans" cxnId="{F9F5BF68-7F33-4819-9CFF-662B05CC9108}">
      <dgm:prSet/>
      <dgm:spPr/>
      <dgm:t>
        <a:bodyPr/>
        <a:lstStyle/>
        <a:p>
          <a:endParaRPr lang="en-US"/>
        </a:p>
      </dgm:t>
    </dgm:pt>
    <dgm:pt modelId="{EA19E713-D09B-44E6-AFC0-44B6E2A95EBB}">
      <dgm:prSet phldrT="[Text]"/>
      <dgm:spPr>
        <a:xfrm>
          <a:off x="1537576" y="1949372"/>
          <a:ext cx="4376178" cy="212974"/>
        </a:xfrm>
      </dgm:spPr>
      <dgm:t>
        <a:bodyPr/>
        <a:lstStyle/>
        <a:p>
          <a:r>
            <a:rPr lang="en-US" b="1">
              <a:latin typeface="Times New Roman" panose="02020603050405020304"/>
              <a:ea typeface="+mn-ea"/>
              <a:cs typeface="+mn-cs"/>
            </a:rPr>
            <a:t>Value for Money</a:t>
          </a:r>
          <a:endParaRPr lang="en-US">
            <a:latin typeface="Times New Roman" panose="02020603050405020304"/>
            <a:ea typeface="+mn-ea"/>
            <a:cs typeface="+mn-cs"/>
          </a:endParaRPr>
        </a:p>
      </dgm:t>
    </dgm:pt>
    <dgm:pt modelId="{176B9F10-7A70-4DF8-8403-FDBA5E1586A5}" type="parTrans" cxnId="{F83E184C-799B-46BE-8716-BED86B018338}">
      <dgm:prSet/>
      <dgm:spPr/>
      <dgm:t>
        <a:bodyPr/>
        <a:lstStyle/>
        <a:p>
          <a:endParaRPr lang="en-US"/>
        </a:p>
      </dgm:t>
    </dgm:pt>
    <dgm:pt modelId="{33A6A0F8-0284-4C67-8BBE-414FEE931239}" type="sibTrans" cxnId="{F83E184C-799B-46BE-8716-BED86B018338}">
      <dgm:prSet/>
      <dgm:spPr/>
      <dgm:t>
        <a:bodyPr/>
        <a:lstStyle/>
        <a:p>
          <a:endParaRPr lang="en-US"/>
        </a:p>
      </dgm:t>
    </dgm:pt>
    <dgm:pt modelId="{776FCF78-64F8-497F-9F29-ADDA6B780CFA}">
      <dgm:prSet phldrT="[Text]"/>
      <dgm:spPr>
        <a:xfrm>
          <a:off x="0" y="2162347"/>
          <a:ext cx="5913755" cy="426013"/>
        </a:xfrm>
      </dgm:spPr>
      <dgm:t>
        <a:bodyPr/>
        <a:lstStyle/>
        <a:p>
          <a:r>
            <a:rPr lang="en-US"/>
            <a:t>Asset Values</a:t>
          </a:r>
          <a:endParaRPr lang="en-US">
            <a:latin typeface="Times New Roman" panose="02020603050405020304"/>
            <a:ea typeface="+mn-ea"/>
            <a:cs typeface="+mn-cs"/>
          </a:endParaRPr>
        </a:p>
      </dgm:t>
    </dgm:pt>
    <dgm:pt modelId="{60F5A6D7-668D-4AF3-BBAD-D2189F8F2746}" type="parTrans" cxnId="{0654B3B5-9D6B-4D0C-8EF7-8F18778F2C4F}">
      <dgm:prSet/>
      <dgm:spPr/>
      <dgm:t>
        <a:bodyPr/>
        <a:lstStyle/>
        <a:p>
          <a:endParaRPr lang="en-US"/>
        </a:p>
      </dgm:t>
    </dgm:pt>
    <dgm:pt modelId="{01406816-A62E-4907-8C12-E30E8C035419}" type="sibTrans" cxnId="{0654B3B5-9D6B-4D0C-8EF7-8F18778F2C4F}">
      <dgm:prSet/>
      <dgm:spPr/>
      <dgm:t>
        <a:bodyPr/>
        <a:lstStyle/>
        <a:p>
          <a:endParaRPr lang="en-US"/>
        </a:p>
      </dgm:t>
    </dgm:pt>
    <dgm:pt modelId="{8ECC9A73-B261-4426-941A-F1E523F8190A}">
      <dgm:prSet phldrT="[Text]"/>
      <dgm:spPr>
        <a:xfrm>
          <a:off x="0" y="1512709"/>
          <a:ext cx="5913755" cy="426013"/>
        </a:xfrm>
      </dgm:spPr>
      <dgm:t>
        <a:bodyPr/>
        <a:lstStyle/>
        <a:p>
          <a:r>
            <a:rPr lang="en-US" b="1">
              <a:latin typeface="Times New Roman" panose="02020603050405020304"/>
              <a:ea typeface="+mn-ea"/>
              <a:cs typeface="+mn-cs"/>
            </a:rPr>
            <a:t>Financial Impact</a:t>
          </a:r>
          <a:endParaRPr lang="en-US">
            <a:latin typeface="Times New Roman" panose="02020603050405020304"/>
            <a:ea typeface="+mn-ea"/>
            <a:cs typeface="+mn-cs"/>
          </a:endParaRPr>
        </a:p>
      </dgm:t>
    </dgm:pt>
    <dgm:pt modelId="{D0C3B26E-B79E-43CD-B541-5C0A415611E9}" type="parTrans" cxnId="{FF4CC6F8-9575-4FD1-99CE-3DA419AD94CF}">
      <dgm:prSet/>
      <dgm:spPr/>
      <dgm:t>
        <a:bodyPr/>
        <a:lstStyle/>
        <a:p>
          <a:endParaRPr lang="en-US"/>
        </a:p>
      </dgm:t>
    </dgm:pt>
    <dgm:pt modelId="{943AF761-4FD5-49CC-AD33-A7B9E8D02572}" type="sibTrans" cxnId="{FF4CC6F8-9575-4FD1-99CE-3DA419AD94CF}">
      <dgm:prSet/>
      <dgm:spPr/>
      <dgm:t>
        <a:bodyPr/>
        <a:lstStyle/>
        <a:p>
          <a:endParaRPr lang="en-US"/>
        </a:p>
      </dgm:t>
    </dgm:pt>
    <dgm:pt modelId="{A5B9CA2A-D0C8-4A20-A1FF-C2DA2D303666}" type="pres">
      <dgm:prSet presAssocID="{99E3EC93-D8C8-493B-B51B-1FE23E1A69CF}" presName="vert0" presStyleCnt="0">
        <dgm:presLayoutVars>
          <dgm:dir/>
          <dgm:animOne val="branch"/>
          <dgm:animLvl val="lvl"/>
        </dgm:presLayoutVars>
      </dgm:prSet>
      <dgm:spPr/>
      <dgm:t>
        <a:bodyPr/>
        <a:lstStyle/>
        <a:p>
          <a:endParaRPr lang="en-US"/>
        </a:p>
      </dgm:t>
    </dgm:pt>
    <dgm:pt modelId="{0E929830-7796-45AF-BD9A-E4AC8ED8058C}" type="pres">
      <dgm:prSet presAssocID="{65D10E68-4289-4ADE-A395-754D567E346C}" presName="thickLine" presStyleLbl="alignNode1" presStyleIdx="0" presStyleCnt="4"/>
      <dgm:spPr/>
      <dgm:t>
        <a:bodyPr/>
        <a:lstStyle/>
        <a:p>
          <a:endParaRPr lang="en-US"/>
        </a:p>
      </dgm:t>
    </dgm:pt>
    <dgm:pt modelId="{3ED43546-943E-47E2-921D-A902227FAFA7}" type="pres">
      <dgm:prSet presAssocID="{65D10E68-4289-4ADE-A395-754D567E346C}" presName="horz1" presStyleCnt="0"/>
      <dgm:spPr/>
      <dgm:t>
        <a:bodyPr/>
        <a:lstStyle/>
        <a:p>
          <a:endParaRPr lang="en-US"/>
        </a:p>
      </dgm:t>
    </dgm:pt>
    <dgm:pt modelId="{3C9B8DEE-2C5A-46C2-85FB-44D2F95A7C4C}" type="pres">
      <dgm:prSet presAssocID="{65D10E68-4289-4ADE-A395-754D567E346C}" presName="tx1" presStyleLbl="revTx" presStyleIdx="0" presStyleCnt="16"/>
      <dgm:spPr/>
      <dgm:t>
        <a:bodyPr/>
        <a:lstStyle/>
        <a:p>
          <a:endParaRPr lang="en-US"/>
        </a:p>
      </dgm:t>
    </dgm:pt>
    <dgm:pt modelId="{5952AC32-2FEB-4765-9C15-45907DC46D24}" type="pres">
      <dgm:prSet presAssocID="{65D10E68-4289-4ADE-A395-754D567E346C}" presName="vert1" presStyleCnt="0"/>
      <dgm:spPr/>
      <dgm:t>
        <a:bodyPr/>
        <a:lstStyle/>
        <a:p>
          <a:endParaRPr lang="en-US"/>
        </a:p>
      </dgm:t>
    </dgm:pt>
    <dgm:pt modelId="{0199FF7F-6A07-4A59-BB89-6ED1BA30DFAA}" type="pres">
      <dgm:prSet presAssocID="{E567DF18-8782-4241-8031-E7E9E9920CB5}" presName="vertSpace2a" presStyleCnt="0"/>
      <dgm:spPr/>
    </dgm:pt>
    <dgm:pt modelId="{109CBD79-2B67-4016-8B9C-EF8445673246}" type="pres">
      <dgm:prSet presAssocID="{E567DF18-8782-4241-8031-E7E9E9920CB5}" presName="horz2" presStyleCnt="0"/>
      <dgm:spPr/>
    </dgm:pt>
    <dgm:pt modelId="{704C44F3-7D27-467F-9C77-578D64EC0069}" type="pres">
      <dgm:prSet presAssocID="{E567DF18-8782-4241-8031-E7E9E9920CB5}" presName="horzSpace2" presStyleCnt="0"/>
      <dgm:spPr/>
    </dgm:pt>
    <dgm:pt modelId="{4607E01F-6094-4EE1-BCC1-B38E5B774EC9}" type="pres">
      <dgm:prSet presAssocID="{E567DF18-8782-4241-8031-E7E9E9920CB5}" presName="tx2" presStyleLbl="revTx" presStyleIdx="1" presStyleCnt="16"/>
      <dgm:spPr/>
      <dgm:t>
        <a:bodyPr/>
        <a:lstStyle/>
        <a:p>
          <a:endParaRPr lang="en-US"/>
        </a:p>
      </dgm:t>
    </dgm:pt>
    <dgm:pt modelId="{402B1C34-BE2D-41CD-8A65-A0CE8E7FFED9}" type="pres">
      <dgm:prSet presAssocID="{E567DF18-8782-4241-8031-E7E9E9920CB5}" presName="vert2" presStyleCnt="0"/>
      <dgm:spPr/>
    </dgm:pt>
    <dgm:pt modelId="{A5096B67-3375-4039-BF26-535A300C2472}" type="pres">
      <dgm:prSet presAssocID="{9E190BF5-FE65-4F43-B08F-7AA3437C5C3C}" presName="horz3" presStyleCnt="0"/>
      <dgm:spPr/>
    </dgm:pt>
    <dgm:pt modelId="{52848582-D989-420B-B08A-A09AE2A85656}" type="pres">
      <dgm:prSet presAssocID="{9E190BF5-FE65-4F43-B08F-7AA3437C5C3C}" presName="horzSpace3" presStyleCnt="0"/>
      <dgm:spPr/>
    </dgm:pt>
    <dgm:pt modelId="{CD8A6033-3EB3-4976-9F9D-32A4B5DE1CE2}" type="pres">
      <dgm:prSet presAssocID="{9E190BF5-FE65-4F43-B08F-7AA3437C5C3C}" presName="tx3" presStyleLbl="revTx" presStyleIdx="2" presStyleCnt="16"/>
      <dgm:spPr/>
      <dgm:t>
        <a:bodyPr/>
        <a:lstStyle/>
        <a:p>
          <a:endParaRPr lang="en-US"/>
        </a:p>
      </dgm:t>
    </dgm:pt>
    <dgm:pt modelId="{6B5707F0-1828-43E7-8C5D-4B64BE314155}" type="pres">
      <dgm:prSet presAssocID="{9E190BF5-FE65-4F43-B08F-7AA3437C5C3C}" presName="vert3" presStyleCnt="0"/>
      <dgm:spPr/>
    </dgm:pt>
    <dgm:pt modelId="{5D7BA1D3-6107-48D2-8845-AD190C8E97D4}" type="pres">
      <dgm:prSet presAssocID="{255A521D-ED41-465D-A565-26672541332E}" presName="thinLine3" presStyleLbl="callout" presStyleIdx="0" presStyleCnt="8"/>
      <dgm:spPr/>
    </dgm:pt>
    <dgm:pt modelId="{44361B61-66FA-46E8-B925-5AC88A5D24E4}" type="pres">
      <dgm:prSet presAssocID="{AE137B84-238E-40CE-8292-7151BEEFD3E8}" presName="horz3" presStyleCnt="0"/>
      <dgm:spPr/>
    </dgm:pt>
    <dgm:pt modelId="{67EC78E0-8911-461A-8828-FDBF54A9E127}" type="pres">
      <dgm:prSet presAssocID="{AE137B84-238E-40CE-8292-7151BEEFD3E8}" presName="horzSpace3" presStyleCnt="0"/>
      <dgm:spPr/>
    </dgm:pt>
    <dgm:pt modelId="{A0124839-B2D8-4289-8628-AAD501E6C644}" type="pres">
      <dgm:prSet presAssocID="{AE137B84-238E-40CE-8292-7151BEEFD3E8}" presName="tx3" presStyleLbl="revTx" presStyleIdx="3" presStyleCnt="16"/>
      <dgm:spPr/>
      <dgm:t>
        <a:bodyPr/>
        <a:lstStyle/>
        <a:p>
          <a:endParaRPr lang="en-US"/>
        </a:p>
      </dgm:t>
    </dgm:pt>
    <dgm:pt modelId="{31813FB5-EF2D-44DE-A425-6B0935A1B28A}" type="pres">
      <dgm:prSet presAssocID="{AE137B84-238E-40CE-8292-7151BEEFD3E8}" presName="vert3" presStyleCnt="0"/>
      <dgm:spPr/>
    </dgm:pt>
    <dgm:pt modelId="{A85E47CD-B328-4A6E-A770-8FDB53BE5609}" type="pres">
      <dgm:prSet presAssocID="{E567DF18-8782-4241-8031-E7E9E9920CB5}" presName="thinLine2b" presStyleLbl="callout" presStyleIdx="1" presStyleCnt="8"/>
      <dgm:spPr/>
    </dgm:pt>
    <dgm:pt modelId="{05080A29-9B5E-4E9B-8016-55CA8EF94BC3}" type="pres">
      <dgm:prSet presAssocID="{E567DF18-8782-4241-8031-E7E9E9920CB5}" presName="vertSpace2b" presStyleCnt="0"/>
      <dgm:spPr/>
    </dgm:pt>
    <dgm:pt modelId="{91E171A8-51F8-48D1-9F86-FEDD4CF7E937}" type="pres">
      <dgm:prSet presAssocID="{902C83E4-1628-4BFF-B51D-3C60542584EA}" presName="thickLine" presStyleLbl="alignNode1" presStyleIdx="1" presStyleCnt="4"/>
      <dgm:spPr/>
      <dgm:t>
        <a:bodyPr/>
        <a:lstStyle/>
        <a:p>
          <a:endParaRPr lang="en-US"/>
        </a:p>
      </dgm:t>
    </dgm:pt>
    <dgm:pt modelId="{6019C96C-F7C8-4ADC-A9EA-BDC855F57718}" type="pres">
      <dgm:prSet presAssocID="{902C83E4-1628-4BFF-B51D-3C60542584EA}" presName="horz1" presStyleCnt="0"/>
      <dgm:spPr/>
      <dgm:t>
        <a:bodyPr/>
        <a:lstStyle/>
        <a:p>
          <a:endParaRPr lang="en-US"/>
        </a:p>
      </dgm:t>
    </dgm:pt>
    <dgm:pt modelId="{050D4D60-CBA1-4E04-9038-18D50BF4A8FD}" type="pres">
      <dgm:prSet presAssocID="{902C83E4-1628-4BFF-B51D-3C60542584EA}" presName="tx1" presStyleLbl="revTx" presStyleIdx="4" presStyleCnt="16"/>
      <dgm:spPr/>
      <dgm:t>
        <a:bodyPr/>
        <a:lstStyle/>
        <a:p>
          <a:endParaRPr lang="en-US"/>
        </a:p>
      </dgm:t>
    </dgm:pt>
    <dgm:pt modelId="{5CA36FBA-544C-43CB-A860-3712539881CB}" type="pres">
      <dgm:prSet presAssocID="{902C83E4-1628-4BFF-B51D-3C60542584EA}" presName="vert1" presStyleCnt="0"/>
      <dgm:spPr/>
      <dgm:t>
        <a:bodyPr/>
        <a:lstStyle/>
        <a:p>
          <a:endParaRPr lang="en-US"/>
        </a:p>
      </dgm:t>
    </dgm:pt>
    <dgm:pt modelId="{D66E9EA4-C01E-4DAE-A9E3-835677B4AD79}" type="pres">
      <dgm:prSet presAssocID="{987DB58F-BA46-42AC-8620-BE5F19FEBEB0}" presName="vertSpace2a" presStyleCnt="0"/>
      <dgm:spPr/>
    </dgm:pt>
    <dgm:pt modelId="{C79F5F96-518B-4025-99F2-880B32EBF73C}" type="pres">
      <dgm:prSet presAssocID="{987DB58F-BA46-42AC-8620-BE5F19FEBEB0}" presName="horz2" presStyleCnt="0"/>
      <dgm:spPr/>
    </dgm:pt>
    <dgm:pt modelId="{3063D0B8-4500-494F-A9FD-96F6939048C5}" type="pres">
      <dgm:prSet presAssocID="{987DB58F-BA46-42AC-8620-BE5F19FEBEB0}" presName="horzSpace2" presStyleCnt="0"/>
      <dgm:spPr/>
    </dgm:pt>
    <dgm:pt modelId="{C757C173-C31F-4A03-9FB3-0468C009410C}" type="pres">
      <dgm:prSet presAssocID="{987DB58F-BA46-42AC-8620-BE5F19FEBEB0}" presName="tx2" presStyleLbl="revTx" presStyleIdx="5" presStyleCnt="16"/>
      <dgm:spPr/>
      <dgm:t>
        <a:bodyPr/>
        <a:lstStyle/>
        <a:p>
          <a:endParaRPr lang="en-US"/>
        </a:p>
      </dgm:t>
    </dgm:pt>
    <dgm:pt modelId="{4691ED2F-EE79-43B1-82DA-6BD9B2273A2D}" type="pres">
      <dgm:prSet presAssocID="{987DB58F-BA46-42AC-8620-BE5F19FEBEB0}" presName="vert2" presStyleCnt="0"/>
      <dgm:spPr/>
    </dgm:pt>
    <dgm:pt modelId="{47CF7349-0536-4CB1-A78F-8C6677CA5D2F}" type="pres">
      <dgm:prSet presAssocID="{A88121E3-AF7B-41C6-B8A0-9533A64A7BF0}" presName="horz3" presStyleCnt="0"/>
      <dgm:spPr/>
    </dgm:pt>
    <dgm:pt modelId="{5076A011-FE9F-4728-B97A-8430EB060089}" type="pres">
      <dgm:prSet presAssocID="{A88121E3-AF7B-41C6-B8A0-9533A64A7BF0}" presName="horzSpace3" presStyleCnt="0"/>
      <dgm:spPr/>
    </dgm:pt>
    <dgm:pt modelId="{A25B8A3E-8B1B-48C9-8B9F-0547FA1D3A5D}" type="pres">
      <dgm:prSet presAssocID="{A88121E3-AF7B-41C6-B8A0-9533A64A7BF0}" presName="tx3" presStyleLbl="revTx" presStyleIdx="6" presStyleCnt="16"/>
      <dgm:spPr/>
      <dgm:t>
        <a:bodyPr/>
        <a:lstStyle/>
        <a:p>
          <a:endParaRPr lang="en-US"/>
        </a:p>
      </dgm:t>
    </dgm:pt>
    <dgm:pt modelId="{B3FBCB92-895C-4893-9ECA-24C2B4A00142}" type="pres">
      <dgm:prSet presAssocID="{A88121E3-AF7B-41C6-B8A0-9533A64A7BF0}" presName="vert3" presStyleCnt="0"/>
      <dgm:spPr/>
    </dgm:pt>
    <dgm:pt modelId="{D079576A-57B0-4D65-B000-828E65D047EB}" type="pres">
      <dgm:prSet presAssocID="{9B857120-F514-4936-BB16-2A083961A130}" presName="thinLine3" presStyleLbl="callout" presStyleIdx="2" presStyleCnt="8"/>
      <dgm:spPr/>
    </dgm:pt>
    <dgm:pt modelId="{AC99747C-59A3-4458-A5FC-2D64FBD0FC44}" type="pres">
      <dgm:prSet presAssocID="{258B4A8A-61A7-4BC6-B950-59FFF69D9777}" presName="horz3" presStyleCnt="0"/>
      <dgm:spPr/>
    </dgm:pt>
    <dgm:pt modelId="{DFBD50E4-530E-4495-9B70-EDEDCAE1D607}" type="pres">
      <dgm:prSet presAssocID="{258B4A8A-61A7-4BC6-B950-59FFF69D9777}" presName="horzSpace3" presStyleCnt="0"/>
      <dgm:spPr/>
    </dgm:pt>
    <dgm:pt modelId="{CDA880C3-41F2-456B-AFC0-2E46343DFB00}" type="pres">
      <dgm:prSet presAssocID="{258B4A8A-61A7-4BC6-B950-59FFF69D9777}" presName="tx3" presStyleLbl="revTx" presStyleIdx="7" presStyleCnt="16"/>
      <dgm:spPr/>
      <dgm:t>
        <a:bodyPr/>
        <a:lstStyle/>
        <a:p>
          <a:endParaRPr lang="en-US"/>
        </a:p>
      </dgm:t>
    </dgm:pt>
    <dgm:pt modelId="{FA8BB99F-B215-409F-B7FD-7995780DC22B}" type="pres">
      <dgm:prSet presAssocID="{258B4A8A-61A7-4BC6-B950-59FFF69D9777}" presName="vert3" presStyleCnt="0"/>
      <dgm:spPr/>
    </dgm:pt>
    <dgm:pt modelId="{77424F1E-82F3-4DD9-97E3-2D1AE04387E3}" type="pres">
      <dgm:prSet presAssocID="{987DB58F-BA46-42AC-8620-BE5F19FEBEB0}" presName="thinLine2b" presStyleLbl="callout" presStyleIdx="3" presStyleCnt="8"/>
      <dgm:spPr/>
    </dgm:pt>
    <dgm:pt modelId="{A40330C0-0848-4085-84AC-B1372B80ED95}" type="pres">
      <dgm:prSet presAssocID="{987DB58F-BA46-42AC-8620-BE5F19FEBEB0}" presName="vertSpace2b" presStyleCnt="0"/>
      <dgm:spPr/>
    </dgm:pt>
    <dgm:pt modelId="{F5F61A8C-59BF-4195-B3DB-BBA32FA1EF82}" type="pres">
      <dgm:prSet presAssocID="{D35247CF-B3E9-4F35-ABC9-1E055F0E88FD}" presName="thickLine" presStyleLbl="alignNode1" presStyleIdx="2" presStyleCnt="4"/>
      <dgm:spPr/>
      <dgm:t>
        <a:bodyPr/>
        <a:lstStyle/>
        <a:p>
          <a:endParaRPr lang="en-US"/>
        </a:p>
      </dgm:t>
    </dgm:pt>
    <dgm:pt modelId="{02AB8625-28A4-457B-87B4-820A560BEDC6}" type="pres">
      <dgm:prSet presAssocID="{D35247CF-B3E9-4F35-ABC9-1E055F0E88FD}" presName="horz1" presStyleCnt="0"/>
      <dgm:spPr/>
      <dgm:t>
        <a:bodyPr/>
        <a:lstStyle/>
        <a:p>
          <a:endParaRPr lang="en-US"/>
        </a:p>
      </dgm:t>
    </dgm:pt>
    <dgm:pt modelId="{48101C8C-42A0-4AA5-9AE7-0DB881CD9B95}" type="pres">
      <dgm:prSet presAssocID="{D35247CF-B3E9-4F35-ABC9-1E055F0E88FD}" presName="tx1" presStyleLbl="revTx" presStyleIdx="8" presStyleCnt="16"/>
      <dgm:spPr/>
      <dgm:t>
        <a:bodyPr/>
        <a:lstStyle/>
        <a:p>
          <a:endParaRPr lang="en-US"/>
        </a:p>
      </dgm:t>
    </dgm:pt>
    <dgm:pt modelId="{CE8ED378-27B0-4334-9597-923E7F70477F}" type="pres">
      <dgm:prSet presAssocID="{D35247CF-B3E9-4F35-ABC9-1E055F0E88FD}" presName="vert1" presStyleCnt="0"/>
      <dgm:spPr/>
      <dgm:t>
        <a:bodyPr/>
        <a:lstStyle/>
        <a:p>
          <a:endParaRPr lang="en-US"/>
        </a:p>
      </dgm:t>
    </dgm:pt>
    <dgm:pt modelId="{AFA4A37F-D71F-4861-8346-7C1FF97CD9F4}" type="pres">
      <dgm:prSet presAssocID="{EA19E713-D09B-44E6-AFC0-44B6E2A95EBB}" presName="vertSpace2a" presStyleCnt="0"/>
      <dgm:spPr/>
    </dgm:pt>
    <dgm:pt modelId="{74BA1226-141E-4551-8C10-0AAFF3725715}" type="pres">
      <dgm:prSet presAssocID="{EA19E713-D09B-44E6-AFC0-44B6E2A95EBB}" presName="horz2" presStyleCnt="0"/>
      <dgm:spPr/>
    </dgm:pt>
    <dgm:pt modelId="{0B4A11EE-1C6E-494C-A06A-A77CBA57434A}" type="pres">
      <dgm:prSet presAssocID="{EA19E713-D09B-44E6-AFC0-44B6E2A95EBB}" presName="horzSpace2" presStyleCnt="0"/>
      <dgm:spPr/>
    </dgm:pt>
    <dgm:pt modelId="{82B130B9-9903-40E5-8982-6BEDA8E3D860}" type="pres">
      <dgm:prSet presAssocID="{EA19E713-D09B-44E6-AFC0-44B6E2A95EBB}" presName="tx2" presStyleLbl="revTx" presStyleIdx="9" presStyleCnt="16"/>
      <dgm:spPr/>
      <dgm:t>
        <a:bodyPr/>
        <a:lstStyle/>
        <a:p>
          <a:endParaRPr lang="en-US"/>
        </a:p>
      </dgm:t>
    </dgm:pt>
    <dgm:pt modelId="{806C1359-F466-4B5F-8F5D-9591B8F80D2A}" type="pres">
      <dgm:prSet presAssocID="{EA19E713-D09B-44E6-AFC0-44B6E2A95EBB}" presName="vert2" presStyleCnt="0"/>
      <dgm:spPr/>
    </dgm:pt>
    <dgm:pt modelId="{C950B79E-8594-4698-A758-131D3C3D8A79}" type="pres">
      <dgm:prSet presAssocID="{C8B38447-DA0D-43BE-B66E-6D210918C980}" presName="horz3" presStyleCnt="0"/>
      <dgm:spPr/>
    </dgm:pt>
    <dgm:pt modelId="{895C26FB-97F6-4382-9894-EF05F0B2CE4E}" type="pres">
      <dgm:prSet presAssocID="{C8B38447-DA0D-43BE-B66E-6D210918C980}" presName="horzSpace3" presStyleCnt="0"/>
      <dgm:spPr/>
    </dgm:pt>
    <dgm:pt modelId="{F0529B71-262A-455C-8776-AD71FBF7299C}" type="pres">
      <dgm:prSet presAssocID="{C8B38447-DA0D-43BE-B66E-6D210918C980}" presName="tx3" presStyleLbl="revTx" presStyleIdx="10" presStyleCnt="16"/>
      <dgm:spPr/>
      <dgm:t>
        <a:bodyPr/>
        <a:lstStyle/>
        <a:p>
          <a:endParaRPr lang="en-US"/>
        </a:p>
      </dgm:t>
    </dgm:pt>
    <dgm:pt modelId="{F2D323CF-9C44-4E06-8E3E-F79B44E36D61}" type="pres">
      <dgm:prSet presAssocID="{C8B38447-DA0D-43BE-B66E-6D210918C980}" presName="vert3" presStyleCnt="0"/>
      <dgm:spPr/>
    </dgm:pt>
    <dgm:pt modelId="{36C71BDC-F699-4E82-A23C-0291E481E551}" type="pres">
      <dgm:prSet presAssocID="{06FF2A2E-B1D0-4856-A6B0-3264DE1A58A9}" presName="thinLine3" presStyleLbl="callout" presStyleIdx="4" presStyleCnt="8"/>
      <dgm:spPr/>
    </dgm:pt>
    <dgm:pt modelId="{14F15894-D5DB-4B8E-AF42-67B6CE737AF1}" type="pres">
      <dgm:prSet presAssocID="{B4827E51-6CDD-4820-9769-1B9411EA424A}" presName="horz3" presStyleCnt="0"/>
      <dgm:spPr/>
    </dgm:pt>
    <dgm:pt modelId="{B8EEA88F-3E78-433D-ACFC-BF1894A94467}" type="pres">
      <dgm:prSet presAssocID="{B4827E51-6CDD-4820-9769-1B9411EA424A}" presName="horzSpace3" presStyleCnt="0"/>
      <dgm:spPr/>
    </dgm:pt>
    <dgm:pt modelId="{00898062-A466-4050-8018-161CC7124EB6}" type="pres">
      <dgm:prSet presAssocID="{B4827E51-6CDD-4820-9769-1B9411EA424A}" presName="tx3" presStyleLbl="revTx" presStyleIdx="11" presStyleCnt="16"/>
      <dgm:spPr/>
      <dgm:t>
        <a:bodyPr/>
        <a:lstStyle/>
        <a:p>
          <a:endParaRPr lang="en-US"/>
        </a:p>
      </dgm:t>
    </dgm:pt>
    <dgm:pt modelId="{E3929E5C-0AC5-40B8-9D7E-F47ECB16F8A1}" type="pres">
      <dgm:prSet presAssocID="{B4827E51-6CDD-4820-9769-1B9411EA424A}" presName="vert3" presStyleCnt="0"/>
      <dgm:spPr/>
    </dgm:pt>
    <dgm:pt modelId="{B57D9132-7470-4CF5-98C5-4FBFF8B616A0}" type="pres">
      <dgm:prSet presAssocID="{EA19E713-D09B-44E6-AFC0-44B6E2A95EBB}" presName="thinLine2b" presStyleLbl="callout" presStyleIdx="5" presStyleCnt="8"/>
      <dgm:spPr/>
    </dgm:pt>
    <dgm:pt modelId="{42481B51-DD91-4F1F-8418-046851B82E8B}" type="pres">
      <dgm:prSet presAssocID="{EA19E713-D09B-44E6-AFC0-44B6E2A95EBB}" presName="vertSpace2b" presStyleCnt="0"/>
      <dgm:spPr/>
    </dgm:pt>
    <dgm:pt modelId="{D690367F-D236-4EC8-8918-330548FE59A6}" type="pres">
      <dgm:prSet presAssocID="{8ECC9A73-B261-4426-941A-F1E523F8190A}" presName="thickLine" presStyleLbl="alignNode1" presStyleIdx="3" presStyleCnt="4"/>
      <dgm:spPr/>
    </dgm:pt>
    <dgm:pt modelId="{8C17C29E-D939-4074-A56D-4A618CEB7264}" type="pres">
      <dgm:prSet presAssocID="{8ECC9A73-B261-4426-941A-F1E523F8190A}" presName="horz1" presStyleCnt="0"/>
      <dgm:spPr/>
    </dgm:pt>
    <dgm:pt modelId="{0732ECF0-9675-4741-9AAD-E0F4D1468007}" type="pres">
      <dgm:prSet presAssocID="{8ECC9A73-B261-4426-941A-F1E523F8190A}" presName="tx1" presStyleLbl="revTx" presStyleIdx="12" presStyleCnt="16"/>
      <dgm:spPr/>
      <dgm:t>
        <a:bodyPr/>
        <a:lstStyle/>
        <a:p>
          <a:endParaRPr lang="en-US"/>
        </a:p>
      </dgm:t>
    </dgm:pt>
    <dgm:pt modelId="{8BF41834-DDB6-4B38-9337-0BFF7676CC6D}" type="pres">
      <dgm:prSet presAssocID="{8ECC9A73-B261-4426-941A-F1E523F8190A}" presName="vert1" presStyleCnt="0"/>
      <dgm:spPr/>
    </dgm:pt>
    <dgm:pt modelId="{DAB7A23D-30B8-4FE2-B96F-EA2DABAF58AB}" type="pres">
      <dgm:prSet presAssocID="{64B4DAFA-4733-4CE5-8841-954F0701804B}" presName="vertSpace2a" presStyleCnt="0"/>
      <dgm:spPr/>
      <dgm:t>
        <a:bodyPr/>
        <a:lstStyle/>
        <a:p>
          <a:endParaRPr lang="en-US"/>
        </a:p>
      </dgm:t>
    </dgm:pt>
    <dgm:pt modelId="{1B807C20-B055-4F4E-B15B-C79F652C5737}" type="pres">
      <dgm:prSet presAssocID="{64B4DAFA-4733-4CE5-8841-954F0701804B}" presName="horz2" presStyleCnt="0"/>
      <dgm:spPr/>
      <dgm:t>
        <a:bodyPr/>
        <a:lstStyle/>
        <a:p>
          <a:endParaRPr lang="en-US"/>
        </a:p>
      </dgm:t>
    </dgm:pt>
    <dgm:pt modelId="{072D4D1D-0D2C-4892-9C97-C42E18FF3555}" type="pres">
      <dgm:prSet presAssocID="{64B4DAFA-4733-4CE5-8841-954F0701804B}" presName="horzSpace2" presStyleCnt="0"/>
      <dgm:spPr/>
      <dgm:t>
        <a:bodyPr/>
        <a:lstStyle/>
        <a:p>
          <a:endParaRPr lang="en-US"/>
        </a:p>
      </dgm:t>
    </dgm:pt>
    <dgm:pt modelId="{D0479403-F0C6-4B51-BD04-EC8D728E64D3}" type="pres">
      <dgm:prSet presAssocID="{64B4DAFA-4733-4CE5-8841-954F0701804B}" presName="tx2" presStyleLbl="revTx" presStyleIdx="13" presStyleCnt="16"/>
      <dgm:spPr>
        <a:prstGeom prst="rect">
          <a:avLst/>
        </a:prstGeom>
      </dgm:spPr>
      <dgm:t>
        <a:bodyPr/>
        <a:lstStyle/>
        <a:p>
          <a:endParaRPr lang="en-US"/>
        </a:p>
      </dgm:t>
    </dgm:pt>
    <dgm:pt modelId="{7085DD8E-8C5E-4A02-A589-A1D019AC17AF}" type="pres">
      <dgm:prSet presAssocID="{64B4DAFA-4733-4CE5-8841-954F0701804B}" presName="vert2" presStyleCnt="0"/>
      <dgm:spPr/>
      <dgm:t>
        <a:bodyPr/>
        <a:lstStyle/>
        <a:p>
          <a:endParaRPr lang="en-US"/>
        </a:p>
      </dgm:t>
    </dgm:pt>
    <dgm:pt modelId="{DCF4ED67-3086-484D-A8EB-90CFDEFA0A68}" type="pres">
      <dgm:prSet presAssocID="{776FCF78-64F8-497F-9F29-ADDA6B780CFA}" presName="horz3" presStyleCnt="0"/>
      <dgm:spPr/>
    </dgm:pt>
    <dgm:pt modelId="{3DC076D9-C4E3-499D-B709-352FE6BB1946}" type="pres">
      <dgm:prSet presAssocID="{776FCF78-64F8-497F-9F29-ADDA6B780CFA}" presName="horzSpace3" presStyleCnt="0"/>
      <dgm:spPr/>
    </dgm:pt>
    <dgm:pt modelId="{FF5DF8DB-820B-4503-BCD4-11181A4F8836}" type="pres">
      <dgm:prSet presAssocID="{776FCF78-64F8-497F-9F29-ADDA6B780CFA}" presName="tx3" presStyleLbl="revTx" presStyleIdx="14" presStyleCnt="16"/>
      <dgm:spPr/>
      <dgm:t>
        <a:bodyPr/>
        <a:lstStyle/>
        <a:p>
          <a:endParaRPr lang="en-US"/>
        </a:p>
      </dgm:t>
    </dgm:pt>
    <dgm:pt modelId="{7BD67797-87E3-40AC-8A13-9439B0C76D9F}" type="pres">
      <dgm:prSet presAssocID="{776FCF78-64F8-497F-9F29-ADDA6B780CFA}" presName="vert3" presStyleCnt="0"/>
      <dgm:spPr/>
    </dgm:pt>
    <dgm:pt modelId="{885A0C83-0ED8-48D9-A7A6-A2FDB34862F5}" type="pres">
      <dgm:prSet presAssocID="{01406816-A62E-4907-8C12-E30E8C035419}" presName="thinLine3" presStyleLbl="callout" presStyleIdx="6" presStyleCnt="8"/>
      <dgm:spPr/>
    </dgm:pt>
    <dgm:pt modelId="{69C7329B-FB41-4D23-A774-BEBD265D4540}" type="pres">
      <dgm:prSet presAssocID="{7876F5B8-685C-4801-BE49-6B1C81347FC3}" presName="horz3" presStyleCnt="0"/>
      <dgm:spPr/>
    </dgm:pt>
    <dgm:pt modelId="{B42DE5CB-292A-40FA-8B1B-CEB2324B1B3F}" type="pres">
      <dgm:prSet presAssocID="{7876F5B8-685C-4801-BE49-6B1C81347FC3}" presName="horzSpace3" presStyleCnt="0"/>
      <dgm:spPr/>
    </dgm:pt>
    <dgm:pt modelId="{B8782396-9434-47EE-B3EC-EBB96FA779B5}" type="pres">
      <dgm:prSet presAssocID="{7876F5B8-685C-4801-BE49-6B1C81347FC3}" presName="tx3" presStyleLbl="revTx" presStyleIdx="15" presStyleCnt="16"/>
      <dgm:spPr/>
      <dgm:t>
        <a:bodyPr/>
        <a:lstStyle/>
        <a:p>
          <a:endParaRPr lang="en-US"/>
        </a:p>
      </dgm:t>
    </dgm:pt>
    <dgm:pt modelId="{EE431BCE-B7CD-4AC8-8978-0C0C35760CA0}" type="pres">
      <dgm:prSet presAssocID="{7876F5B8-685C-4801-BE49-6B1C81347FC3}" presName="vert3" presStyleCnt="0"/>
      <dgm:spPr/>
    </dgm:pt>
    <dgm:pt modelId="{0F321460-A0CA-4D8A-B8BD-04A6E91DDCFB}" type="pres">
      <dgm:prSet presAssocID="{64B4DAFA-4733-4CE5-8841-954F0701804B}" presName="thinLine2b" presStyleLbl="callout" presStyleIdx="7" presStyleCnt="8"/>
      <dgm:spPr/>
      <dgm:t>
        <a:bodyPr/>
        <a:lstStyle/>
        <a:p>
          <a:endParaRPr lang="en-US"/>
        </a:p>
      </dgm:t>
    </dgm:pt>
    <dgm:pt modelId="{579D7459-32EC-428A-B022-776C80D21EA3}" type="pres">
      <dgm:prSet presAssocID="{64B4DAFA-4733-4CE5-8841-954F0701804B}" presName="vertSpace2b" presStyleCnt="0"/>
      <dgm:spPr/>
      <dgm:t>
        <a:bodyPr/>
        <a:lstStyle/>
        <a:p>
          <a:endParaRPr lang="en-US"/>
        </a:p>
      </dgm:t>
    </dgm:pt>
  </dgm:ptLst>
  <dgm:cxnLst>
    <dgm:cxn modelId="{F9F5BF68-7F33-4819-9CFF-662B05CC9108}" srcId="{902C83E4-1628-4BFF-B51D-3C60542584EA}" destId="{987DB58F-BA46-42AC-8620-BE5F19FEBEB0}" srcOrd="0" destOrd="0" parTransId="{49157544-D633-4A71-8726-BFA16457C518}" sibTransId="{8C496AB3-E185-466C-AE46-B09B927613F2}"/>
    <dgm:cxn modelId="{458E551B-5095-4CFA-ADD3-EF7BED76B2AF}" type="presOf" srcId="{99E3EC93-D8C8-493B-B51B-1FE23E1A69CF}" destId="{A5B9CA2A-D0C8-4A20-A1FF-C2DA2D303666}" srcOrd="0" destOrd="0" presId="urn:microsoft.com/office/officeart/2008/layout/LinedList"/>
    <dgm:cxn modelId="{0654B3B5-9D6B-4D0C-8EF7-8F18778F2C4F}" srcId="{64B4DAFA-4733-4CE5-8841-954F0701804B}" destId="{776FCF78-64F8-497F-9F29-ADDA6B780CFA}" srcOrd="0" destOrd="0" parTransId="{60F5A6D7-668D-4AF3-BBAD-D2189F8F2746}" sibTransId="{01406816-A62E-4907-8C12-E30E8C035419}"/>
    <dgm:cxn modelId="{69CA38E6-DDD0-4452-96A7-2DE5B99348A7}" srcId="{99E3EC93-D8C8-493B-B51B-1FE23E1A69CF}" destId="{902C83E4-1628-4BFF-B51D-3C60542584EA}" srcOrd="1" destOrd="0" parTransId="{8692B691-20B6-4FBE-AEB5-D5E1AD333719}" sibTransId="{3D75B313-B581-429D-B499-43517EFC31B3}"/>
    <dgm:cxn modelId="{41CE009E-3C8A-4BD3-83C1-CECA8A32C861}" type="presOf" srcId="{776FCF78-64F8-497F-9F29-ADDA6B780CFA}" destId="{FF5DF8DB-820B-4503-BCD4-11181A4F8836}" srcOrd="0" destOrd="0" presId="urn:microsoft.com/office/officeart/2008/layout/LinedList"/>
    <dgm:cxn modelId="{199D53F4-3091-4987-8555-10F081D837F5}" type="presOf" srcId="{8ECC9A73-B261-4426-941A-F1E523F8190A}" destId="{0732ECF0-9675-4741-9AAD-E0F4D1468007}" srcOrd="0" destOrd="0" presId="urn:microsoft.com/office/officeart/2008/layout/LinedList"/>
    <dgm:cxn modelId="{0CD8DAA0-C720-49EB-BBB9-4004B12696E0}" srcId="{EA19E713-D09B-44E6-AFC0-44B6E2A95EBB}" destId="{B4827E51-6CDD-4820-9769-1B9411EA424A}" srcOrd="1" destOrd="0" parTransId="{0706237C-97CB-4EFE-A149-0490C5101B10}" sibTransId="{9AEA0117-7A27-48AA-80B6-DEAE0EBA9B19}"/>
    <dgm:cxn modelId="{DB1762B6-8623-4D3C-88D3-3C9D574874F4}" srcId="{8ECC9A73-B261-4426-941A-F1E523F8190A}" destId="{64B4DAFA-4733-4CE5-8841-954F0701804B}" srcOrd="0" destOrd="0" parTransId="{A78A716C-E95F-4373-8924-6DC74D347C91}" sibTransId="{96DC26E6-5295-468B-B61B-B15B18C724ED}"/>
    <dgm:cxn modelId="{7992CDE0-E095-4BA2-A76E-CF7E731BCFF0}" type="presOf" srcId="{7876F5B8-685C-4801-BE49-6B1C81347FC3}" destId="{B8782396-9434-47EE-B3EC-EBB96FA779B5}" srcOrd="0" destOrd="0" presId="urn:microsoft.com/office/officeart/2008/layout/LinedList"/>
    <dgm:cxn modelId="{40213885-3598-4C3B-9C19-4261D37A8AEF}" srcId="{987DB58F-BA46-42AC-8620-BE5F19FEBEB0}" destId="{A88121E3-AF7B-41C6-B8A0-9533A64A7BF0}" srcOrd="0" destOrd="0" parTransId="{69A9372A-CED5-4B81-9362-E9FB11BD979E}" sibTransId="{9B857120-F514-4936-BB16-2A083961A130}"/>
    <dgm:cxn modelId="{A3BB18D8-F774-4A0F-B257-5AEAD76539E5}" type="presOf" srcId="{65D10E68-4289-4ADE-A395-754D567E346C}" destId="{3C9B8DEE-2C5A-46C2-85FB-44D2F95A7C4C}" srcOrd="0" destOrd="0" presId="urn:microsoft.com/office/officeart/2008/layout/LinedList"/>
    <dgm:cxn modelId="{63E1F235-9AFD-4AFC-B24B-2453C0A90CE5}" type="presOf" srcId="{9E190BF5-FE65-4F43-B08F-7AA3437C5C3C}" destId="{CD8A6033-3EB3-4976-9F9D-32A4B5DE1CE2}" srcOrd="0" destOrd="0" presId="urn:microsoft.com/office/officeart/2008/layout/LinedList"/>
    <dgm:cxn modelId="{91ED4715-844B-4366-868D-02A7C43E963C}" srcId="{E567DF18-8782-4241-8031-E7E9E9920CB5}" destId="{AE137B84-238E-40CE-8292-7151BEEFD3E8}" srcOrd="1" destOrd="0" parTransId="{EF652535-F339-4306-AFE0-785E19B0D9EA}" sibTransId="{2F3449AA-20FD-44C6-A6ED-E3B559734BA2}"/>
    <dgm:cxn modelId="{2484D4A7-DC9E-4E5D-B811-4F1AF7ADF0A7}" srcId="{EA19E713-D09B-44E6-AFC0-44B6E2A95EBB}" destId="{C8B38447-DA0D-43BE-B66E-6D210918C980}" srcOrd="0" destOrd="0" parTransId="{689782E0-9D12-4733-A0C0-D6F8CCC471FB}" sibTransId="{06FF2A2E-B1D0-4856-A6B0-3264DE1A58A9}"/>
    <dgm:cxn modelId="{10307E80-BB0A-45C7-AF98-75F7E7C669FA}" type="presOf" srcId="{64B4DAFA-4733-4CE5-8841-954F0701804B}" destId="{D0479403-F0C6-4B51-BD04-EC8D728E64D3}" srcOrd="0" destOrd="0" presId="urn:microsoft.com/office/officeart/2008/layout/LinedList"/>
    <dgm:cxn modelId="{44BF2001-A070-43B5-A5AD-6B6B8BBE00D3}" type="presOf" srcId="{E567DF18-8782-4241-8031-E7E9E9920CB5}" destId="{4607E01F-6094-4EE1-BCC1-B38E5B774EC9}" srcOrd="0" destOrd="0" presId="urn:microsoft.com/office/officeart/2008/layout/LinedList"/>
    <dgm:cxn modelId="{82D25148-030C-48BF-901C-190FA4E8A0A6}" type="presOf" srcId="{258B4A8A-61A7-4BC6-B950-59FFF69D9777}" destId="{CDA880C3-41F2-456B-AFC0-2E46343DFB00}" srcOrd="0" destOrd="0" presId="urn:microsoft.com/office/officeart/2008/layout/LinedList"/>
    <dgm:cxn modelId="{C193FE41-3916-49A1-820A-C2FF5B68E7D0}" type="presOf" srcId="{C8B38447-DA0D-43BE-B66E-6D210918C980}" destId="{F0529B71-262A-455C-8776-AD71FBF7299C}" srcOrd="0" destOrd="0" presId="urn:microsoft.com/office/officeart/2008/layout/LinedList"/>
    <dgm:cxn modelId="{F5E4D135-E42A-4D0E-98D4-688A242B4B9A}" srcId="{99E3EC93-D8C8-493B-B51B-1FE23E1A69CF}" destId="{D35247CF-B3E9-4F35-ABC9-1E055F0E88FD}" srcOrd="2" destOrd="0" parTransId="{B280FD00-F9AF-4AE5-AF10-011397C7B43F}" sibTransId="{595FE41E-9B9A-47BC-A8BD-B0C2C58B880D}"/>
    <dgm:cxn modelId="{72E31BAB-979B-4AF5-8660-B47E077C5BD2}" srcId="{E567DF18-8782-4241-8031-E7E9E9920CB5}" destId="{9E190BF5-FE65-4F43-B08F-7AA3437C5C3C}" srcOrd="0" destOrd="0" parTransId="{7F3ADEF8-5921-449A-8A41-1D14F09F0DBF}" sibTransId="{255A521D-ED41-465D-A565-26672541332E}"/>
    <dgm:cxn modelId="{89049F32-9AC0-45BA-A6E1-A9DAC5EF1764}" type="presOf" srcId="{AE137B84-238E-40CE-8292-7151BEEFD3E8}" destId="{A0124839-B2D8-4289-8628-AAD501E6C644}" srcOrd="0" destOrd="0" presId="urn:microsoft.com/office/officeart/2008/layout/LinedList"/>
    <dgm:cxn modelId="{A6B3114F-7148-483D-8D18-198300C2862D}" srcId="{65D10E68-4289-4ADE-A395-754D567E346C}" destId="{E567DF18-8782-4241-8031-E7E9E9920CB5}" srcOrd="0" destOrd="0" parTransId="{9CEAB346-33FE-4F03-B310-057EB2C080A4}" sibTransId="{23D00634-9B33-406B-87B3-FE75193695A2}"/>
    <dgm:cxn modelId="{D8E14CCD-FFD7-49CA-B260-CB5273FA9589}" type="presOf" srcId="{B4827E51-6CDD-4820-9769-1B9411EA424A}" destId="{00898062-A466-4050-8018-161CC7124EB6}" srcOrd="0" destOrd="0" presId="urn:microsoft.com/office/officeart/2008/layout/LinedList"/>
    <dgm:cxn modelId="{D28558FC-B683-4CDC-94CC-7A3C716BB7E7}" srcId="{99E3EC93-D8C8-493B-B51B-1FE23E1A69CF}" destId="{65D10E68-4289-4ADE-A395-754D567E346C}" srcOrd="0" destOrd="0" parTransId="{85FB6176-A793-42E6-B5BB-3BB2FA31B752}" sibTransId="{CCDBC5F9-36E9-4B05-A576-BF120B0C368E}"/>
    <dgm:cxn modelId="{998C8017-C564-4CA9-BE8F-2AF164BDBBA1}" srcId="{64B4DAFA-4733-4CE5-8841-954F0701804B}" destId="{7876F5B8-685C-4801-BE49-6B1C81347FC3}" srcOrd="1" destOrd="0" parTransId="{AC4C1A8C-8554-4A4A-B6FD-1FFE84497E8A}" sibTransId="{27E046D3-51DA-4A78-BDBB-A69BC1B605E2}"/>
    <dgm:cxn modelId="{B49513C2-3B61-44AD-ABF6-38C3CAA6FB56}" srcId="{987DB58F-BA46-42AC-8620-BE5F19FEBEB0}" destId="{258B4A8A-61A7-4BC6-B950-59FFF69D9777}" srcOrd="1" destOrd="0" parTransId="{943DCC4C-ECC3-4113-B45A-7675A42C46C9}" sibTransId="{7277A35E-7A11-49AC-ADE7-44F72AC2C198}"/>
    <dgm:cxn modelId="{CB3D92B0-BD56-4F64-94A9-D6A68B24A8B4}" type="presOf" srcId="{D35247CF-B3E9-4F35-ABC9-1E055F0E88FD}" destId="{48101C8C-42A0-4AA5-9AE7-0DB881CD9B95}" srcOrd="0" destOrd="0" presId="urn:microsoft.com/office/officeart/2008/layout/LinedList"/>
    <dgm:cxn modelId="{4E430923-0B48-4866-8966-C093315895BD}" type="presOf" srcId="{987DB58F-BA46-42AC-8620-BE5F19FEBEB0}" destId="{C757C173-C31F-4A03-9FB3-0468C009410C}" srcOrd="0" destOrd="0" presId="urn:microsoft.com/office/officeart/2008/layout/LinedList"/>
    <dgm:cxn modelId="{30986B69-FB91-4217-A732-E807FA2857C2}" type="presOf" srcId="{EA19E713-D09B-44E6-AFC0-44B6E2A95EBB}" destId="{82B130B9-9903-40E5-8982-6BEDA8E3D860}" srcOrd="0" destOrd="0" presId="urn:microsoft.com/office/officeart/2008/layout/LinedList"/>
    <dgm:cxn modelId="{F83E184C-799B-46BE-8716-BED86B018338}" srcId="{D35247CF-B3E9-4F35-ABC9-1E055F0E88FD}" destId="{EA19E713-D09B-44E6-AFC0-44B6E2A95EBB}" srcOrd="0" destOrd="0" parTransId="{176B9F10-7A70-4DF8-8403-FDBA5E1586A5}" sibTransId="{33A6A0F8-0284-4C67-8BBE-414FEE931239}"/>
    <dgm:cxn modelId="{6EFD5EBB-4E1B-43E3-BA70-8BA53C101E5D}" type="presOf" srcId="{902C83E4-1628-4BFF-B51D-3C60542584EA}" destId="{050D4D60-CBA1-4E04-9038-18D50BF4A8FD}" srcOrd="0" destOrd="0" presId="urn:microsoft.com/office/officeart/2008/layout/LinedList"/>
    <dgm:cxn modelId="{FF4CC6F8-9575-4FD1-99CE-3DA419AD94CF}" srcId="{99E3EC93-D8C8-493B-B51B-1FE23E1A69CF}" destId="{8ECC9A73-B261-4426-941A-F1E523F8190A}" srcOrd="3" destOrd="0" parTransId="{D0C3B26E-B79E-43CD-B541-5C0A415611E9}" sibTransId="{943AF761-4FD5-49CC-AD33-A7B9E8D02572}"/>
    <dgm:cxn modelId="{2E651219-9061-4367-B6FD-D5CB8376133E}" type="presOf" srcId="{A88121E3-AF7B-41C6-B8A0-9533A64A7BF0}" destId="{A25B8A3E-8B1B-48C9-8B9F-0547FA1D3A5D}" srcOrd="0" destOrd="0" presId="urn:microsoft.com/office/officeart/2008/layout/LinedList"/>
    <dgm:cxn modelId="{DF6F63A4-85AA-4773-BC7A-C8F9C6F711B8}" type="presParOf" srcId="{A5B9CA2A-D0C8-4A20-A1FF-C2DA2D303666}" destId="{0E929830-7796-45AF-BD9A-E4AC8ED8058C}" srcOrd="0" destOrd="0" presId="urn:microsoft.com/office/officeart/2008/layout/LinedList"/>
    <dgm:cxn modelId="{B26009BE-BFDE-47E0-9AEB-2F0249021662}" type="presParOf" srcId="{A5B9CA2A-D0C8-4A20-A1FF-C2DA2D303666}" destId="{3ED43546-943E-47E2-921D-A902227FAFA7}" srcOrd="1" destOrd="0" presId="urn:microsoft.com/office/officeart/2008/layout/LinedList"/>
    <dgm:cxn modelId="{DDAEFABA-1C4E-4052-ABFA-DBE331981569}" type="presParOf" srcId="{3ED43546-943E-47E2-921D-A902227FAFA7}" destId="{3C9B8DEE-2C5A-46C2-85FB-44D2F95A7C4C}" srcOrd="0" destOrd="0" presId="urn:microsoft.com/office/officeart/2008/layout/LinedList"/>
    <dgm:cxn modelId="{D217CB01-5805-4EFB-8481-14F98B079AE1}" type="presParOf" srcId="{3ED43546-943E-47E2-921D-A902227FAFA7}" destId="{5952AC32-2FEB-4765-9C15-45907DC46D24}" srcOrd="1" destOrd="0" presId="urn:microsoft.com/office/officeart/2008/layout/LinedList"/>
    <dgm:cxn modelId="{309BC5CD-6604-4064-842E-872E91CD59FD}" type="presParOf" srcId="{5952AC32-2FEB-4765-9C15-45907DC46D24}" destId="{0199FF7F-6A07-4A59-BB89-6ED1BA30DFAA}" srcOrd="0" destOrd="0" presId="urn:microsoft.com/office/officeart/2008/layout/LinedList"/>
    <dgm:cxn modelId="{829278E0-684B-420C-91C4-9472DA9F7D30}" type="presParOf" srcId="{5952AC32-2FEB-4765-9C15-45907DC46D24}" destId="{109CBD79-2B67-4016-8B9C-EF8445673246}" srcOrd="1" destOrd="0" presId="urn:microsoft.com/office/officeart/2008/layout/LinedList"/>
    <dgm:cxn modelId="{B06ED46F-4DC5-4D00-9C6C-6EBB54410468}" type="presParOf" srcId="{109CBD79-2B67-4016-8B9C-EF8445673246}" destId="{704C44F3-7D27-467F-9C77-578D64EC0069}" srcOrd="0" destOrd="0" presId="urn:microsoft.com/office/officeart/2008/layout/LinedList"/>
    <dgm:cxn modelId="{2148EA37-BE18-4444-9FB4-66356BA09D40}" type="presParOf" srcId="{109CBD79-2B67-4016-8B9C-EF8445673246}" destId="{4607E01F-6094-4EE1-BCC1-B38E5B774EC9}" srcOrd="1" destOrd="0" presId="urn:microsoft.com/office/officeart/2008/layout/LinedList"/>
    <dgm:cxn modelId="{BA52AE63-1A26-49F0-B063-4DCAB0B7647C}" type="presParOf" srcId="{109CBD79-2B67-4016-8B9C-EF8445673246}" destId="{402B1C34-BE2D-41CD-8A65-A0CE8E7FFED9}" srcOrd="2" destOrd="0" presId="urn:microsoft.com/office/officeart/2008/layout/LinedList"/>
    <dgm:cxn modelId="{2A118DC4-60FC-4E7E-A27B-37EC5B53AF66}" type="presParOf" srcId="{402B1C34-BE2D-41CD-8A65-A0CE8E7FFED9}" destId="{A5096B67-3375-4039-BF26-535A300C2472}" srcOrd="0" destOrd="0" presId="urn:microsoft.com/office/officeart/2008/layout/LinedList"/>
    <dgm:cxn modelId="{3B60DD7F-A4C4-4BEA-A344-22C44380A1F1}" type="presParOf" srcId="{A5096B67-3375-4039-BF26-535A300C2472}" destId="{52848582-D989-420B-B08A-A09AE2A85656}" srcOrd="0" destOrd="0" presId="urn:microsoft.com/office/officeart/2008/layout/LinedList"/>
    <dgm:cxn modelId="{8FE39578-94D0-4E12-BC15-58FD5932139F}" type="presParOf" srcId="{A5096B67-3375-4039-BF26-535A300C2472}" destId="{CD8A6033-3EB3-4976-9F9D-32A4B5DE1CE2}" srcOrd="1" destOrd="0" presId="urn:microsoft.com/office/officeart/2008/layout/LinedList"/>
    <dgm:cxn modelId="{62A7E43D-3B7B-41A1-9151-1AC3B46AF47D}" type="presParOf" srcId="{A5096B67-3375-4039-BF26-535A300C2472}" destId="{6B5707F0-1828-43E7-8C5D-4B64BE314155}" srcOrd="2" destOrd="0" presId="urn:microsoft.com/office/officeart/2008/layout/LinedList"/>
    <dgm:cxn modelId="{774589E8-E55F-4495-8BD0-48A6D596F245}" type="presParOf" srcId="{402B1C34-BE2D-41CD-8A65-A0CE8E7FFED9}" destId="{5D7BA1D3-6107-48D2-8845-AD190C8E97D4}" srcOrd="1" destOrd="0" presId="urn:microsoft.com/office/officeart/2008/layout/LinedList"/>
    <dgm:cxn modelId="{51AFE23C-61E7-4341-ABDE-E91356021409}" type="presParOf" srcId="{402B1C34-BE2D-41CD-8A65-A0CE8E7FFED9}" destId="{44361B61-66FA-46E8-B925-5AC88A5D24E4}" srcOrd="2" destOrd="0" presId="urn:microsoft.com/office/officeart/2008/layout/LinedList"/>
    <dgm:cxn modelId="{9DA37F98-D2C4-48F0-AA9E-F3F23F4E27E5}" type="presParOf" srcId="{44361B61-66FA-46E8-B925-5AC88A5D24E4}" destId="{67EC78E0-8911-461A-8828-FDBF54A9E127}" srcOrd="0" destOrd="0" presId="urn:microsoft.com/office/officeart/2008/layout/LinedList"/>
    <dgm:cxn modelId="{42F1C4C3-65D9-46A6-A8B6-CFE9C7E17FE8}" type="presParOf" srcId="{44361B61-66FA-46E8-B925-5AC88A5D24E4}" destId="{A0124839-B2D8-4289-8628-AAD501E6C644}" srcOrd="1" destOrd="0" presId="urn:microsoft.com/office/officeart/2008/layout/LinedList"/>
    <dgm:cxn modelId="{F1FBA6AE-7237-40D6-8456-A9AC79EFBF6D}" type="presParOf" srcId="{44361B61-66FA-46E8-B925-5AC88A5D24E4}" destId="{31813FB5-EF2D-44DE-A425-6B0935A1B28A}" srcOrd="2" destOrd="0" presId="urn:microsoft.com/office/officeart/2008/layout/LinedList"/>
    <dgm:cxn modelId="{25FFBBCA-3FEE-4282-9284-0F0F29C22235}" type="presParOf" srcId="{5952AC32-2FEB-4765-9C15-45907DC46D24}" destId="{A85E47CD-B328-4A6E-A770-8FDB53BE5609}" srcOrd="2" destOrd="0" presId="urn:microsoft.com/office/officeart/2008/layout/LinedList"/>
    <dgm:cxn modelId="{E71BC456-95F6-492C-9B07-2BB6A350A02E}" type="presParOf" srcId="{5952AC32-2FEB-4765-9C15-45907DC46D24}" destId="{05080A29-9B5E-4E9B-8016-55CA8EF94BC3}" srcOrd="3" destOrd="0" presId="urn:microsoft.com/office/officeart/2008/layout/LinedList"/>
    <dgm:cxn modelId="{EB157321-EC88-46DB-8FA6-1D86F6A16143}" type="presParOf" srcId="{A5B9CA2A-D0C8-4A20-A1FF-C2DA2D303666}" destId="{91E171A8-51F8-48D1-9F86-FEDD4CF7E937}" srcOrd="2" destOrd="0" presId="urn:microsoft.com/office/officeart/2008/layout/LinedList"/>
    <dgm:cxn modelId="{5346DBA2-5102-4760-97D3-9C16337D429F}" type="presParOf" srcId="{A5B9CA2A-D0C8-4A20-A1FF-C2DA2D303666}" destId="{6019C96C-F7C8-4ADC-A9EA-BDC855F57718}" srcOrd="3" destOrd="0" presId="urn:microsoft.com/office/officeart/2008/layout/LinedList"/>
    <dgm:cxn modelId="{99AF2279-8662-425F-A9D4-73B72DD1F3C1}" type="presParOf" srcId="{6019C96C-F7C8-4ADC-A9EA-BDC855F57718}" destId="{050D4D60-CBA1-4E04-9038-18D50BF4A8FD}" srcOrd="0" destOrd="0" presId="urn:microsoft.com/office/officeart/2008/layout/LinedList"/>
    <dgm:cxn modelId="{93ADFAB1-51DD-48FC-9192-196B58548975}" type="presParOf" srcId="{6019C96C-F7C8-4ADC-A9EA-BDC855F57718}" destId="{5CA36FBA-544C-43CB-A860-3712539881CB}" srcOrd="1" destOrd="0" presId="urn:microsoft.com/office/officeart/2008/layout/LinedList"/>
    <dgm:cxn modelId="{96605026-11B5-469E-B52F-54374A610DCA}" type="presParOf" srcId="{5CA36FBA-544C-43CB-A860-3712539881CB}" destId="{D66E9EA4-C01E-4DAE-A9E3-835677B4AD79}" srcOrd="0" destOrd="0" presId="urn:microsoft.com/office/officeart/2008/layout/LinedList"/>
    <dgm:cxn modelId="{CF5AE68F-799A-4719-80CC-F0942A5E9968}" type="presParOf" srcId="{5CA36FBA-544C-43CB-A860-3712539881CB}" destId="{C79F5F96-518B-4025-99F2-880B32EBF73C}" srcOrd="1" destOrd="0" presId="urn:microsoft.com/office/officeart/2008/layout/LinedList"/>
    <dgm:cxn modelId="{B5C5544B-C527-4E6F-BC24-790B2906541D}" type="presParOf" srcId="{C79F5F96-518B-4025-99F2-880B32EBF73C}" destId="{3063D0B8-4500-494F-A9FD-96F6939048C5}" srcOrd="0" destOrd="0" presId="urn:microsoft.com/office/officeart/2008/layout/LinedList"/>
    <dgm:cxn modelId="{4812A07E-BFCB-4FAB-8BBF-12BFF53DEDB7}" type="presParOf" srcId="{C79F5F96-518B-4025-99F2-880B32EBF73C}" destId="{C757C173-C31F-4A03-9FB3-0468C009410C}" srcOrd="1" destOrd="0" presId="urn:microsoft.com/office/officeart/2008/layout/LinedList"/>
    <dgm:cxn modelId="{F90C485E-4BAD-41EA-92F1-E217C81D8781}" type="presParOf" srcId="{C79F5F96-518B-4025-99F2-880B32EBF73C}" destId="{4691ED2F-EE79-43B1-82DA-6BD9B2273A2D}" srcOrd="2" destOrd="0" presId="urn:microsoft.com/office/officeart/2008/layout/LinedList"/>
    <dgm:cxn modelId="{F0954A76-1981-4AFB-8399-44EF090542DD}" type="presParOf" srcId="{4691ED2F-EE79-43B1-82DA-6BD9B2273A2D}" destId="{47CF7349-0536-4CB1-A78F-8C6677CA5D2F}" srcOrd="0" destOrd="0" presId="urn:microsoft.com/office/officeart/2008/layout/LinedList"/>
    <dgm:cxn modelId="{3ACA4B0A-6CC8-4824-9B26-E5C60EF12C90}" type="presParOf" srcId="{47CF7349-0536-4CB1-A78F-8C6677CA5D2F}" destId="{5076A011-FE9F-4728-B97A-8430EB060089}" srcOrd="0" destOrd="0" presId="urn:microsoft.com/office/officeart/2008/layout/LinedList"/>
    <dgm:cxn modelId="{E6661FDE-A143-46C9-A5D3-0D8FFC36AFD5}" type="presParOf" srcId="{47CF7349-0536-4CB1-A78F-8C6677CA5D2F}" destId="{A25B8A3E-8B1B-48C9-8B9F-0547FA1D3A5D}" srcOrd="1" destOrd="0" presId="urn:microsoft.com/office/officeart/2008/layout/LinedList"/>
    <dgm:cxn modelId="{3BB4DD04-4CF8-4E8C-ABAA-B41B0588FB49}" type="presParOf" srcId="{47CF7349-0536-4CB1-A78F-8C6677CA5D2F}" destId="{B3FBCB92-895C-4893-9ECA-24C2B4A00142}" srcOrd="2" destOrd="0" presId="urn:microsoft.com/office/officeart/2008/layout/LinedList"/>
    <dgm:cxn modelId="{7156C133-8E43-4534-ADDD-0193FEBF4863}" type="presParOf" srcId="{4691ED2F-EE79-43B1-82DA-6BD9B2273A2D}" destId="{D079576A-57B0-4D65-B000-828E65D047EB}" srcOrd="1" destOrd="0" presId="urn:microsoft.com/office/officeart/2008/layout/LinedList"/>
    <dgm:cxn modelId="{16108E5A-9E2F-461D-839F-AE9F37CA7381}" type="presParOf" srcId="{4691ED2F-EE79-43B1-82DA-6BD9B2273A2D}" destId="{AC99747C-59A3-4458-A5FC-2D64FBD0FC44}" srcOrd="2" destOrd="0" presId="urn:microsoft.com/office/officeart/2008/layout/LinedList"/>
    <dgm:cxn modelId="{F14CB0C0-AF21-4CE4-B951-6E8B0528DBD1}" type="presParOf" srcId="{AC99747C-59A3-4458-A5FC-2D64FBD0FC44}" destId="{DFBD50E4-530E-4495-9B70-EDEDCAE1D607}" srcOrd="0" destOrd="0" presId="urn:microsoft.com/office/officeart/2008/layout/LinedList"/>
    <dgm:cxn modelId="{887A1B67-8632-435F-A8F7-F57587C283E2}" type="presParOf" srcId="{AC99747C-59A3-4458-A5FC-2D64FBD0FC44}" destId="{CDA880C3-41F2-456B-AFC0-2E46343DFB00}" srcOrd="1" destOrd="0" presId="urn:microsoft.com/office/officeart/2008/layout/LinedList"/>
    <dgm:cxn modelId="{540B8CCB-50B4-4420-9285-286476A58673}" type="presParOf" srcId="{AC99747C-59A3-4458-A5FC-2D64FBD0FC44}" destId="{FA8BB99F-B215-409F-B7FD-7995780DC22B}" srcOrd="2" destOrd="0" presId="urn:microsoft.com/office/officeart/2008/layout/LinedList"/>
    <dgm:cxn modelId="{94D4251A-DC3E-4EE2-BCEC-894F72DE83BC}" type="presParOf" srcId="{5CA36FBA-544C-43CB-A860-3712539881CB}" destId="{77424F1E-82F3-4DD9-97E3-2D1AE04387E3}" srcOrd="2" destOrd="0" presId="urn:microsoft.com/office/officeart/2008/layout/LinedList"/>
    <dgm:cxn modelId="{30DEE4B9-3E86-4C99-8AD4-F855D60D3517}" type="presParOf" srcId="{5CA36FBA-544C-43CB-A860-3712539881CB}" destId="{A40330C0-0848-4085-84AC-B1372B80ED95}" srcOrd="3" destOrd="0" presId="urn:microsoft.com/office/officeart/2008/layout/LinedList"/>
    <dgm:cxn modelId="{A6183A05-1B55-44FE-81CE-AB68B1AACA78}" type="presParOf" srcId="{A5B9CA2A-D0C8-4A20-A1FF-C2DA2D303666}" destId="{F5F61A8C-59BF-4195-B3DB-BBA32FA1EF82}" srcOrd="4" destOrd="0" presId="urn:microsoft.com/office/officeart/2008/layout/LinedList"/>
    <dgm:cxn modelId="{AB1003C1-AF5D-48B8-9E31-E971FE51D164}" type="presParOf" srcId="{A5B9CA2A-D0C8-4A20-A1FF-C2DA2D303666}" destId="{02AB8625-28A4-457B-87B4-820A560BEDC6}" srcOrd="5" destOrd="0" presId="urn:microsoft.com/office/officeart/2008/layout/LinedList"/>
    <dgm:cxn modelId="{279F8A67-6B7D-4985-AECB-1F7F0C0F11A4}" type="presParOf" srcId="{02AB8625-28A4-457B-87B4-820A560BEDC6}" destId="{48101C8C-42A0-4AA5-9AE7-0DB881CD9B95}" srcOrd="0" destOrd="0" presId="urn:microsoft.com/office/officeart/2008/layout/LinedList"/>
    <dgm:cxn modelId="{50E0A82E-5DC1-4281-A445-8DF27EE406D1}" type="presParOf" srcId="{02AB8625-28A4-457B-87B4-820A560BEDC6}" destId="{CE8ED378-27B0-4334-9597-923E7F70477F}" srcOrd="1" destOrd="0" presId="urn:microsoft.com/office/officeart/2008/layout/LinedList"/>
    <dgm:cxn modelId="{93F964A1-24F7-4A0E-8A3C-6037930B78C1}" type="presParOf" srcId="{CE8ED378-27B0-4334-9597-923E7F70477F}" destId="{AFA4A37F-D71F-4861-8346-7C1FF97CD9F4}" srcOrd="0" destOrd="0" presId="urn:microsoft.com/office/officeart/2008/layout/LinedList"/>
    <dgm:cxn modelId="{C76DD704-8E39-45D8-AEF4-33EC824D3556}" type="presParOf" srcId="{CE8ED378-27B0-4334-9597-923E7F70477F}" destId="{74BA1226-141E-4551-8C10-0AAFF3725715}" srcOrd="1" destOrd="0" presId="urn:microsoft.com/office/officeart/2008/layout/LinedList"/>
    <dgm:cxn modelId="{85E768E3-9378-4F31-8B83-AFBC8349BB41}" type="presParOf" srcId="{74BA1226-141E-4551-8C10-0AAFF3725715}" destId="{0B4A11EE-1C6E-494C-A06A-A77CBA57434A}" srcOrd="0" destOrd="0" presId="urn:microsoft.com/office/officeart/2008/layout/LinedList"/>
    <dgm:cxn modelId="{BDD4B091-D907-4FE4-B3EF-15E9F876A2F9}" type="presParOf" srcId="{74BA1226-141E-4551-8C10-0AAFF3725715}" destId="{82B130B9-9903-40E5-8982-6BEDA8E3D860}" srcOrd="1" destOrd="0" presId="urn:microsoft.com/office/officeart/2008/layout/LinedList"/>
    <dgm:cxn modelId="{33FDC577-2F12-450B-9697-5BD6CD0E2B3E}" type="presParOf" srcId="{74BA1226-141E-4551-8C10-0AAFF3725715}" destId="{806C1359-F466-4B5F-8F5D-9591B8F80D2A}" srcOrd="2" destOrd="0" presId="urn:microsoft.com/office/officeart/2008/layout/LinedList"/>
    <dgm:cxn modelId="{A867BC49-929F-4D48-890C-E4E63DA85DF8}" type="presParOf" srcId="{806C1359-F466-4B5F-8F5D-9591B8F80D2A}" destId="{C950B79E-8594-4698-A758-131D3C3D8A79}" srcOrd="0" destOrd="0" presId="urn:microsoft.com/office/officeart/2008/layout/LinedList"/>
    <dgm:cxn modelId="{7AEEA156-2700-427F-9864-1327219C68BA}" type="presParOf" srcId="{C950B79E-8594-4698-A758-131D3C3D8A79}" destId="{895C26FB-97F6-4382-9894-EF05F0B2CE4E}" srcOrd="0" destOrd="0" presId="urn:microsoft.com/office/officeart/2008/layout/LinedList"/>
    <dgm:cxn modelId="{6278AB20-0C81-4A77-BF0A-A6B97BEA3B3E}" type="presParOf" srcId="{C950B79E-8594-4698-A758-131D3C3D8A79}" destId="{F0529B71-262A-455C-8776-AD71FBF7299C}" srcOrd="1" destOrd="0" presId="urn:microsoft.com/office/officeart/2008/layout/LinedList"/>
    <dgm:cxn modelId="{9B8B72DD-88E7-4F70-B33C-9A547BFD2110}" type="presParOf" srcId="{C950B79E-8594-4698-A758-131D3C3D8A79}" destId="{F2D323CF-9C44-4E06-8E3E-F79B44E36D61}" srcOrd="2" destOrd="0" presId="urn:microsoft.com/office/officeart/2008/layout/LinedList"/>
    <dgm:cxn modelId="{FBE37865-C87A-4F1F-B994-5DDB1BDC6501}" type="presParOf" srcId="{806C1359-F466-4B5F-8F5D-9591B8F80D2A}" destId="{36C71BDC-F699-4E82-A23C-0291E481E551}" srcOrd="1" destOrd="0" presId="urn:microsoft.com/office/officeart/2008/layout/LinedList"/>
    <dgm:cxn modelId="{DA795FB7-F776-4A79-AA5A-AF06F56E6055}" type="presParOf" srcId="{806C1359-F466-4B5F-8F5D-9591B8F80D2A}" destId="{14F15894-D5DB-4B8E-AF42-67B6CE737AF1}" srcOrd="2" destOrd="0" presId="urn:microsoft.com/office/officeart/2008/layout/LinedList"/>
    <dgm:cxn modelId="{134F9B33-6ED1-41BE-8D19-EFBA2755BF83}" type="presParOf" srcId="{14F15894-D5DB-4B8E-AF42-67B6CE737AF1}" destId="{B8EEA88F-3E78-433D-ACFC-BF1894A94467}" srcOrd="0" destOrd="0" presId="urn:microsoft.com/office/officeart/2008/layout/LinedList"/>
    <dgm:cxn modelId="{CDBAB231-6B30-4FE7-BB93-687EA96996AF}" type="presParOf" srcId="{14F15894-D5DB-4B8E-AF42-67B6CE737AF1}" destId="{00898062-A466-4050-8018-161CC7124EB6}" srcOrd="1" destOrd="0" presId="urn:microsoft.com/office/officeart/2008/layout/LinedList"/>
    <dgm:cxn modelId="{8E9B6D8B-D384-4EEC-A46A-53BE483990BF}" type="presParOf" srcId="{14F15894-D5DB-4B8E-AF42-67B6CE737AF1}" destId="{E3929E5C-0AC5-40B8-9D7E-F47ECB16F8A1}" srcOrd="2" destOrd="0" presId="urn:microsoft.com/office/officeart/2008/layout/LinedList"/>
    <dgm:cxn modelId="{B5990BFE-8397-49C0-B3B7-BDF077374F4C}" type="presParOf" srcId="{CE8ED378-27B0-4334-9597-923E7F70477F}" destId="{B57D9132-7470-4CF5-98C5-4FBFF8B616A0}" srcOrd="2" destOrd="0" presId="urn:microsoft.com/office/officeart/2008/layout/LinedList"/>
    <dgm:cxn modelId="{6C78CDAE-7F1B-4DED-A924-762C81336759}" type="presParOf" srcId="{CE8ED378-27B0-4334-9597-923E7F70477F}" destId="{42481B51-DD91-4F1F-8418-046851B82E8B}" srcOrd="3" destOrd="0" presId="urn:microsoft.com/office/officeart/2008/layout/LinedList"/>
    <dgm:cxn modelId="{D01BB062-2ABA-4C95-9DE3-D3F42E541729}" type="presParOf" srcId="{A5B9CA2A-D0C8-4A20-A1FF-C2DA2D303666}" destId="{D690367F-D236-4EC8-8918-330548FE59A6}" srcOrd="6" destOrd="0" presId="urn:microsoft.com/office/officeart/2008/layout/LinedList"/>
    <dgm:cxn modelId="{E3614947-6ABE-4F37-8CB8-4549A29D231A}" type="presParOf" srcId="{A5B9CA2A-D0C8-4A20-A1FF-C2DA2D303666}" destId="{8C17C29E-D939-4074-A56D-4A618CEB7264}" srcOrd="7" destOrd="0" presId="urn:microsoft.com/office/officeart/2008/layout/LinedList"/>
    <dgm:cxn modelId="{3ADEEBBF-6397-4D55-8267-0412595C7790}" type="presParOf" srcId="{8C17C29E-D939-4074-A56D-4A618CEB7264}" destId="{0732ECF0-9675-4741-9AAD-E0F4D1468007}" srcOrd="0" destOrd="0" presId="urn:microsoft.com/office/officeart/2008/layout/LinedList"/>
    <dgm:cxn modelId="{D5F2042A-20A1-4E80-B1A8-AC8F7A6BAED2}" type="presParOf" srcId="{8C17C29E-D939-4074-A56D-4A618CEB7264}" destId="{8BF41834-DDB6-4B38-9337-0BFF7676CC6D}" srcOrd="1" destOrd="0" presId="urn:microsoft.com/office/officeart/2008/layout/LinedList"/>
    <dgm:cxn modelId="{ABC21F41-CFAF-4BE3-812F-1505A4458A5E}" type="presParOf" srcId="{8BF41834-DDB6-4B38-9337-0BFF7676CC6D}" destId="{DAB7A23D-30B8-4FE2-B96F-EA2DABAF58AB}" srcOrd="0" destOrd="0" presId="urn:microsoft.com/office/officeart/2008/layout/LinedList"/>
    <dgm:cxn modelId="{5A10D397-FA4C-4F40-83DF-C6FA396D5CD8}" type="presParOf" srcId="{8BF41834-DDB6-4B38-9337-0BFF7676CC6D}" destId="{1B807C20-B055-4F4E-B15B-C79F652C5737}" srcOrd="1" destOrd="0" presId="urn:microsoft.com/office/officeart/2008/layout/LinedList"/>
    <dgm:cxn modelId="{4EC9436D-B209-443C-BD91-ECF4C54767B3}" type="presParOf" srcId="{1B807C20-B055-4F4E-B15B-C79F652C5737}" destId="{072D4D1D-0D2C-4892-9C97-C42E18FF3555}" srcOrd="0" destOrd="0" presId="urn:microsoft.com/office/officeart/2008/layout/LinedList"/>
    <dgm:cxn modelId="{D6DB5F63-77C1-4E65-B723-962EBF8761BE}" type="presParOf" srcId="{1B807C20-B055-4F4E-B15B-C79F652C5737}" destId="{D0479403-F0C6-4B51-BD04-EC8D728E64D3}" srcOrd="1" destOrd="0" presId="urn:microsoft.com/office/officeart/2008/layout/LinedList"/>
    <dgm:cxn modelId="{37C8ABDD-0918-4619-840B-A7B64D00FC1A}" type="presParOf" srcId="{1B807C20-B055-4F4E-B15B-C79F652C5737}" destId="{7085DD8E-8C5E-4A02-A589-A1D019AC17AF}" srcOrd="2" destOrd="0" presId="urn:microsoft.com/office/officeart/2008/layout/LinedList"/>
    <dgm:cxn modelId="{A06F9A50-F345-4747-BC10-2E57104BDF21}" type="presParOf" srcId="{7085DD8E-8C5E-4A02-A589-A1D019AC17AF}" destId="{DCF4ED67-3086-484D-A8EB-90CFDEFA0A68}" srcOrd="0" destOrd="0" presId="urn:microsoft.com/office/officeart/2008/layout/LinedList"/>
    <dgm:cxn modelId="{A13303CE-04B3-4CF3-8BDE-E971B3A2EF75}" type="presParOf" srcId="{DCF4ED67-3086-484D-A8EB-90CFDEFA0A68}" destId="{3DC076D9-C4E3-499D-B709-352FE6BB1946}" srcOrd="0" destOrd="0" presId="urn:microsoft.com/office/officeart/2008/layout/LinedList"/>
    <dgm:cxn modelId="{8D33AC33-9732-4C49-B03B-137225B54601}" type="presParOf" srcId="{DCF4ED67-3086-484D-A8EB-90CFDEFA0A68}" destId="{FF5DF8DB-820B-4503-BCD4-11181A4F8836}" srcOrd="1" destOrd="0" presId="urn:microsoft.com/office/officeart/2008/layout/LinedList"/>
    <dgm:cxn modelId="{569BE818-326F-46AA-8734-15FFCBBAC750}" type="presParOf" srcId="{DCF4ED67-3086-484D-A8EB-90CFDEFA0A68}" destId="{7BD67797-87E3-40AC-8A13-9439B0C76D9F}" srcOrd="2" destOrd="0" presId="urn:microsoft.com/office/officeart/2008/layout/LinedList"/>
    <dgm:cxn modelId="{E68CBBFE-9EAC-4A50-B7F1-9CAE3CA4D4EB}" type="presParOf" srcId="{7085DD8E-8C5E-4A02-A589-A1D019AC17AF}" destId="{885A0C83-0ED8-48D9-A7A6-A2FDB34862F5}" srcOrd="1" destOrd="0" presId="urn:microsoft.com/office/officeart/2008/layout/LinedList"/>
    <dgm:cxn modelId="{CA119881-A14E-4B5D-9422-D70C75AD207E}" type="presParOf" srcId="{7085DD8E-8C5E-4A02-A589-A1D019AC17AF}" destId="{69C7329B-FB41-4D23-A774-BEBD265D4540}" srcOrd="2" destOrd="0" presId="urn:microsoft.com/office/officeart/2008/layout/LinedList"/>
    <dgm:cxn modelId="{8C6A1D96-B71A-4272-854F-7E3FEE94BDEB}" type="presParOf" srcId="{69C7329B-FB41-4D23-A774-BEBD265D4540}" destId="{B42DE5CB-292A-40FA-8B1B-CEB2324B1B3F}" srcOrd="0" destOrd="0" presId="urn:microsoft.com/office/officeart/2008/layout/LinedList"/>
    <dgm:cxn modelId="{32B33135-063E-480E-A3A5-734C0F3EFF74}" type="presParOf" srcId="{69C7329B-FB41-4D23-A774-BEBD265D4540}" destId="{B8782396-9434-47EE-B3EC-EBB96FA779B5}" srcOrd="1" destOrd="0" presId="urn:microsoft.com/office/officeart/2008/layout/LinedList"/>
    <dgm:cxn modelId="{57E450FE-C13B-4DA3-808F-ACAAAB34448E}" type="presParOf" srcId="{69C7329B-FB41-4D23-A774-BEBD265D4540}" destId="{EE431BCE-B7CD-4AC8-8978-0C0C35760CA0}" srcOrd="2" destOrd="0" presId="urn:microsoft.com/office/officeart/2008/layout/LinedList"/>
    <dgm:cxn modelId="{F0A3E598-CD9E-4687-A5CA-0E954FF5B8F1}" type="presParOf" srcId="{8BF41834-DDB6-4B38-9337-0BFF7676CC6D}" destId="{0F321460-A0CA-4D8A-B8BD-04A6E91DDCFB}" srcOrd="2" destOrd="0" presId="urn:microsoft.com/office/officeart/2008/layout/LinedList"/>
    <dgm:cxn modelId="{CD25C7C2-BD03-4317-89EF-6AE0F40AE732}" type="presParOf" srcId="{8BF41834-DDB6-4B38-9337-0BFF7676CC6D}" destId="{579D7459-32EC-428A-B022-776C80D21EA3}"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D369FD7-9DEA-467D-97C8-77B93D0C048B}" type="doc">
      <dgm:prSet loTypeId="urn:microsoft.com/office/officeart/2005/8/layout/vList3" loCatId="list" qsTypeId="urn:microsoft.com/office/officeart/2005/8/quickstyle/simple2" qsCatId="simple" csTypeId="urn:microsoft.com/office/officeart/2005/8/colors/accent2_3" csCatId="accent2" phldr="1"/>
      <dgm:spPr/>
      <dgm:t>
        <a:bodyPr/>
        <a:lstStyle/>
        <a:p>
          <a:endParaRPr lang="en-US"/>
        </a:p>
      </dgm:t>
    </dgm:pt>
    <dgm:pt modelId="{1FCE9591-D483-4AAC-8A6E-B0440EF07FE0}">
      <dgm:prSet phldrT="[Text]" custT="1"/>
      <dgm:spPr/>
      <dgm:t>
        <a:bodyPr/>
        <a:lstStyle/>
        <a:p>
          <a:r>
            <a:rPr lang="en-US" sz="1400" b="1" dirty="0">
              <a:latin typeface="+mj-lt"/>
              <a:cs typeface="Arial" panose="020B0604020202020204" pitchFamily="34" charset="0"/>
            </a:rPr>
            <a:t>Systems Planning</a:t>
          </a:r>
        </a:p>
      </dgm:t>
    </dgm:pt>
    <dgm:pt modelId="{39F6223E-3B77-42E1-A922-5D6024586109}" type="parTrans" cxnId="{F787A2E7-4568-4686-B98B-9A867F4B3D87}">
      <dgm:prSet/>
      <dgm:spPr/>
      <dgm:t>
        <a:bodyPr/>
        <a:lstStyle/>
        <a:p>
          <a:endParaRPr lang="en-US" sz="1400">
            <a:latin typeface="Arial" panose="020B0604020202020204" pitchFamily="34" charset="0"/>
            <a:cs typeface="Arial" panose="020B0604020202020204" pitchFamily="34" charset="0"/>
          </a:endParaRPr>
        </a:p>
      </dgm:t>
    </dgm:pt>
    <dgm:pt modelId="{3E9377D4-BDC4-47D5-B294-5BFF74D82D2D}" type="sibTrans" cxnId="{F787A2E7-4568-4686-B98B-9A867F4B3D87}">
      <dgm:prSet/>
      <dgm:spPr/>
      <dgm:t>
        <a:bodyPr/>
        <a:lstStyle/>
        <a:p>
          <a:endParaRPr lang="en-US" sz="1400">
            <a:latin typeface="Arial" panose="020B0604020202020204" pitchFamily="34" charset="0"/>
            <a:cs typeface="Arial" panose="020B0604020202020204" pitchFamily="34" charset="0"/>
          </a:endParaRPr>
        </a:p>
      </dgm:t>
    </dgm:pt>
    <dgm:pt modelId="{E14D446B-1AF6-42EB-8132-F51F49056749}">
      <dgm:prSet phldrT="[Text]" custT="1"/>
      <dgm:spPr/>
      <dgm:t>
        <a:bodyPr/>
        <a:lstStyle/>
        <a:p>
          <a:r>
            <a:rPr lang="en-US" sz="1400" b="1" dirty="0">
              <a:latin typeface="+mj-lt"/>
              <a:cs typeface="Arial" panose="020B0604020202020204" pitchFamily="34" charset="0"/>
            </a:rPr>
            <a:t>Tender</a:t>
          </a:r>
        </a:p>
      </dgm:t>
    </dgm:pt>
    <dgm:pt modelId="{36D21688-A0F0-42E6-AEF7-A59A9EBC7C4A}" type="parTrans" cxnId="{5D1BC5FC-265A-4578-B311-06AFFC7C11D7}">
      <dgm:prSet/>
      <dgm:spPr/>
      <dgm:t>
        <a:bodyPr/>
        <a:lstStyle/>
        <a:p>
          <a:endParaRPr lang="en-US" sz="1400">
            <a:latin typeface="Arial" panose="020B0604020202020204" pitchFamily="34" charset="0"/>
            <a:cs typeface="Arial" panose="020B0604020202020204" pitchFamily="34" charset="0"/>
          </a:endParaRPr>
        </a:p>
      </dgm:t>
    </dgm:pt>
    <dgm:pt modelId="{84A5471D-3BAF-4B85-BCF7-0442F855DAC8}" type="sibTrans" cxnId="{5D1BC5FC-265A-4578-B311-06AFFC7C11D7}">
      <dgm:prSet/>
      <dgm:spPr/>
      <dgm:t>
        <a:bodyPr/>
        <a:lstStyle/>
        <a:p>
          <a:endParaRPr lang="en-US" sz="1400">
            <a:latin typeface="Arial" panose="020B0604020202020204" pitchFamily="34" charset="0"/>
            <a:cs typeface="Arial" panose="020B0604020202020204" pitchFamily="34" charset="0"/>
          </a:endParaRPr>
        </a:p>
      </dgm:t>
    </dgm:pt>
    <dgm:pt modelId="{2B0A165A-61EB-430A-8056-695731A06AF1}">
      <dgm:prSet phldrT="[Text]" custT="1"/>
      <dgm:spPr/>
      <dgm:t>
        <a:bodyPr/>
        <a:lstStyle/>
        <a:p>
          <a:r>
            <a:rPr lang="en-US" sz="1400" b="1" dirty="0">
              <a:latin typeface="+mj-lt"/>
              <a:cs typeface="Arial" panose="020B0604020202020204" pitchFamily="34" charset="0"/>
            </a:rPr>
            <a:t>Detailed Design</a:t>
          </a:r>
        </a:p>
      </dgm:t>
    </dgm:pt>
    <dgm:pt modelId="{43E7636A-9D5E-4927-AB7E-4D914FB2D1D0}" type="parTrans" cxnId="{D2B89E24-5C49-41F0-9A53-285BA1054332}">
      <dgm:prSet/>
      <dgm:spPr/>
      <dgm:t>
        <a:bodyPr/>
        <a:lstStyle/>
        <a:p>
          <a:endParaRPr lang="en-US" sz="1400">
            <a:latin typeface="Arial" panose="020B0604020202020204" pitchFamily="34" charset="0"/>
            <a:cs typeface="Arial" panose="020B0604020202020204" pitchFamily="34" charset="0"/>
          </a:endParaRPr>
        </a:p>
      </dgm:t>
    </dgm:pt>
    <dgm:pt modelId="{6B49C8C4-FFB8-4E57-992D-4A3AC92921D1}" type="sibTrans" cxnId="{D2B89E24-5C49-41F0-9A53-285BA1054332}">
      <dgm:prSet/>
      <dgm:spPr/>
      <dgm:t>
        <a:bodyPr/>
        <a:lstStyle/>
        <a:p>
          <a:endParaRPr lang="en-US" sz="1400">
            <a:latin typeface="Arial" panose="020B0604020202020204" pitchFamily="34" charset="0"/>
            <a:cs typeface="Arial" panose="020B0604020202020204" pitchFamily="34" charset="0"/>
          </a:endParaRPr>
        </a:p>
      </dgm:t>
    </dgm:pt>
    <dgm:pt modelId="{B4F36ECE-03DC-4190-A3F5-0C432F461CF7}">
      <dgm:prSet phldrT="[Text]" custT="1"/>
      <dgm:spPr/>
      <dgm:t>
        <a:bodyPr/>
        <a:lstStyle/>
        <a:p>
          <a:r>
            <a:rPr lang="en-US" sz="1400">
              <a:latin typeface="Arial" panose="020B0604020202020204" pitchFamily="34" charset="0"/>
              <a:cs typeface="Arial" panose="020B0604020202020204" pitchFamily="34" charset="0"/>
            </a:rPr>
            <a:t>Owners produce Climate Hazard Models</a:t>
          </a:r>
        </a:p>
      </dgm:t>
    </dgm:pt>
    <dgm:pt modelId="{A1B9D68B-6FEF-4BF1-BFA1-FAA8177A0100}" type="parTrans" cxnId="{A2EE7707-BA9E-4772-9E9B-35BF2E38E800}">
      <dgm:prSet/>
      <dgm:spPr/>
      <dgm:t>
        <a:bodyPr/>
        <a:lstStyle/>
        <a:p>
          <a:endParaRPr lang="en-US" sz="1400">
            <a:latin typeface="Arial" panose="020B0604020202020204" pitchFamily="34" charset="0"/>
            <a:cs typeface="Arial" panose="020B0604020202020204" pitchFamily="34" charset="0"/>
          </a:endParaRPr>
        </a:p>
      </dgm:t>
    </dgm:pt>
    <dgm:pt modelId="{7AFB4C28-B548-4961-B39E-ADEA25D9B21B}" type="sibTrans" cxnId="{A2EE7707-BA9E-4772-9E9B-35BF2E38E800}">
      <dgm:prSet/>
      <dgm:spPr/>
      <dgm:t>
        <a:bodyPr/>
        <a:lstStyle/>
        <a:p>
          <a:endParaRPr lang="en-US" sz="1400">
            <a:latin typeface="Arial" panose="020B0604020202020204" pitchFamily="34" charset="0"/>
            <a:cs typeface="Arial" panose="020B0604020202020204" pitchFamily="34" charset="0"/>
          </a:endParaRPr>
        </a:p>
      </dgm:t>
    </dgm:pt>
    <dgm:pt modelId="{74200E70-D463-4EB9-8E86-6946EB8A1E74}">
      <dgm:prSet phldrT="[Text]" custT="1"/>
      <dgm:spPr/>
      <dgm:t>
        <a:bodyPr/>
        <a:lstStyle/>
        <a:p>
          <a:r>
            <a:rPr lang="en-US" sz="1400" b="1" dirty="0">
              <a:latin typeface="+mj-lt"/>
              <a:cs typeface="Arial" panose="020B0604020202020204" pitchFamily="34" charset="0"/>
            </a:rPr>
            <a:t>Construction</a:t>
          </a:r>
        </a:p>
      </dgm:t>
    </dgm:pt>
    <dgm:pt modelId="{E9B7B2E8-8C4E-4A4F-8E0D-6BC107029274}" type="parTrans" cxnId="{B44DE72A-9DD9-49FB-80F2-248D3F0C6D21}">
      <dgm:prSet/>
      <dgm:spPr/>
      <dgm:t>
        <a:bodyPr/>
        <a:lstStyle/>
        <a:p>
          <a:endParaRPr lang="en-US" sz="1400">
            <a:latin typeface="Arial" panose="020B0604020202020204" pitchFamily="34" charset="0"/>
            <a:cs typeface="Arial" panose="020B0604020202020204" pitchFamily="34" charset="0"/>
          </a:endParaRPr>
        </a:p>
      </dgm:t>
    </dgm:pt>
    <dgm:pt modelId="{5B378245-5161-470E-A3D0-9C6D8797E028}" type="sibTrans" cxnId="{B44DE72A-9DD9-49FB-80F2-248D3F0C6D21}">
      <dgm:prSet/>
      <dgm:spPr/>
      <dgm:t>
        <a:bodyPr/>
        <a:lstStyle/>
        <a:p>
          <a:endParaRPr lang="en-US" sz="1400">
            <a:latin typeface="Arial" panose="020B0604020202020204" pitchFamily="34" charset="0"/>
            <a:cs typeface="Arial" panose="020B0604020202020204" pitchFamily="34" charset="0"/>
          </a:endParaRPr>
        </a:p>
      </dgm:t>
    </dgm:pt>
    <dgm:pt modelId="{29851F32-4C94-4A4A-9C51-A0CC7764DD0E}">
      <dgm:prSet phldrT="[Text]" custT="1"/>
      <dgm:spPr/>
      <dgm:t>
        <a:bodyPr/>
        <a:lstStyle/>
        <a:p>
          <a:r>
            <a:rPr lang="en-US" sz="1400" b="1" dirty="0" smtClean="0">
              <a:latin typeface="+mj-lt"/>
              <a:cs typeface="Arial" panose="020B0604020202020204" pitchFamily="34" charset="0"/>
            </a:rPr>
            <a:t>Operation</a:t>
          </a:r>
          <a:endParaRPr lang="en-US" sz="1400" b="1" dirty="0">
            <a:latin typeface="+mj-lt"/>
            <a:cs typeface="Arial" panose="020B0604020202020204" pitchFamily="34" charset="0"/>
          </a:endParaRPr>
        </a:p>
      </dgm:t>
    </dgm:pt>
    <dgm:pt modelId="{E68DA5DD-08D9-4E98-BEA6-929AFAE2DCDD}" type="parTrans" cxnId="{3EA73CA3-FFC5-4958-82A4-1CA49DFD3CF8}">
      <dgm:prSet/>
      <dgm:spPr/>
      <dgm:t>
        <a:bodyPr/>
        <a:lstStyle/>
        <a:p>
          <a:endParaRPr lang="en-US" sz="1400">
            <a:latin typeface="Arial" panose="020B0604020202020204" pitchFamily="34" charset="0"/>
            <a:cs typeface="Arial" panose="020B0604020202020204" pitchFamily="34" charset="0"/>
          </a:endParaRPr>
        </a:p>
      </dgm:t>
    </dgm:pt>
    <dgm:pt modelId="{5EDC53D4-3CEA-49D7-B1CA-F2723057049F}" type="sibTrans" cxnId="{3EA73CA3-FFC5-4958-82A4-1CA49DFD3CF8}">
      <dgm:prSet/>
      <dgm:spPr/>
      <dgm:t>
        <a:bodyPr/>
        <a:lstStyle/>
        <a:p>
          <a:endParaRPr lang="en-US" sz="1400">
            <a:latin typeface="Arial" panose="020B0604020202020204" pitchFamily="34" charset="0"/>
            <a:cs typeface="Arial" panose="020B0604020202020204" pitchFamily="34" charset="0"/>
          </a:endParaRPr>
        </a:p>
      </dgm:t>
    </dgm:pt>
    <dgm:pt modelId="{2714C29F-CFDD-4564-A1F0-551518920639}">
      <dgm:prSet phldrT="[Text]" custT="1"/>
      <dgm:spPr/>
      <dgm:t>
        <a:bodyPr/>
        <a:lstStyle/>
        <a:p>
          <a:endParaRPr lang="en-US" sz="1400">
            <a:latin typeface="Arial" panose="020B0604020202020204" pitchFamily="34" charset="0"/>
            <a:cs typeface="Arial" panose="020B0604020202020204" pitchFamily="34" charset="0"/>
          </a:endParaRPr>
        </a:p>
      </dgm:t>
    </dgm:pt>
    <dgm:pt modelId="{042CD10A-B585-407F-8769-227FE2B12799}" type="parTrans" cxnId="{C5E66970-DDAD-4A40-9791-F1FE83FE5FD7}">
      <dgm:prSet/>
      <dgm:spPr/>
      <dgm:t>
        <a:bodyPr/>
        <a:lstStyle/>
        <a:p>
          <a:endParaRPr lang="en-US" sz="1400">
            <a:latin typeface="Arial" panose="020B0604020202020204" pitchFamily="34" charset="0"/>
            <a:cs typeface="Arial" panose="020B0604020202020204" pitchFamily="34" charset="0"/>
          </a:endParaRPr>
        </a:p>
      </dgm:t>
    </dgm:pt>
    <dgm:pt modelId="{C5A02D5E-B6B7-4E08-9DA0-5E82D389422D}" type="sibTrans" cxnId="{C5E66970-DDAD-4A40-9791-F1FE83FE5FD7}">
      <dgm:prSet/>
      <dgm:spPr/>
      <dgm:t>
        <a:bodyPr/>
        <a:lstStyle/>
        <a:p>
          <a:endParaRPr lang="en-US" sz="1400">
            <a:latin typeface="Arial" panose="020B0604020202020204" pitchFamily="34" charset="0"/>
            <a:cs typeface="Arial" panose="020B0604020202020204" pitchFamily="34" charset="0"/>
          </a:endParaRPr>
        </a:p>
      </dgm:t>
    </dgm:pt>
    <dgm:pt modelId="{C2D25FD9-17C0-49EC-9772-7D6C00F77EE6}">
      <dgm:prSet phldrT="[Text]" custT="1"/>
      <dgm:spPr/>
      <dgm:t>
        <a:bodyPr/>
        <a:lstStyle/>
        <a:p>
          <a:r>
            <a:rPr lang="en-US" sz="1400">
              <a:latin typeface="Arial" panose="020B0604020202020204" pitchFamily="34" charset="0"/>
              <a:cs typeface="Arial" panose="020B0604020202020204" pitchFamily="34" charset="0"/>
            </a:rPr>
            <a:t>Designers under employ of the owner develope precise drawings which contractors must follow</a:t>
          </a:r>
        </a:p>
      </dgm:t>
    </dgm:pt>
    <dgm:pt modelId="{A9A2DC2B-6406-4007-8E34-17A21CD26AAF}" type="parTrans" cxnId="{C993CA6A-052E-40AC-B493-46A99E60EC28}">
      <dgm:prSet/>
      <dgm:spPr/>
      <dgm:t>
        <a:bodyPr/>
        <a:lstStyle/>
        <a:p>
          <a:endParaRPr lang="en-US" sz="1400">
            <a:latin typeface="Arial" panose="020B0604020202020204" pitchFamily="34" charset="0"/>
            <a:cs typeface="Arial" panose="020B0604020202020204" pitchFamily="34" charset="0"/>
          </a:endParaRPr>
        </a:p>
      </dgm:t>
    </dgm:pt>
    <dgm:pt modelId="{AF353F9F-5C36-49C8-BEBC-3EA57845741D}" type="sibTrans" cxnId="{C993CA6A-052E-40AC-B493-46A99E60EC28}">
      <dgm:prSet/>
      <dgm:spPr/>
      <dgm:t>
        <a:bodyPr/>
        <a:lstStyle/>
        <a:p>
          <a:endParaRPr lang="en-US" sz="1400">
            <a:latin typeface="Arial" panose="020B0604020202020204" pitchFamily="34" charset="0"/>
            <a:cs typeface="Arial" panose="020B0604020202020204" pitchFamily="34" charset="0"/>
          </a:endParaRPr>
        </a:p>
      </dgm:t>
    </dgm:pt>
    <dgm:pt modelId="{4298DFDE-C845-49BD-A8D1-BAD88146DBB1}">
      <dgm:prSet phldrT="[Text]" custT="1"/>
      <dgm:spPr/>
      <dgm:t>
        <a:bodyPr/>
        <a:lstStyle/>
        <a:p>
          <a:r>
            <a:rPr lang="en-US" sz="1400">
              <a:latin typeface="Arial" panose="020B0604020202020204" pitchFamily="34" charset="0"/>
              <a:cs typeface="Arial" panose="020B0604020202020204" pitchFamily="34" charset="0"/>
            </a:rPr>
            <a:t>Banks mandate project requiremnst in order to minimimze rosk to investmnet</a:t>
          </a:r>
        </a:p>
      </dgm:t>
    </dgm:pt>
    <dgm:pt modelId="{C2A99333-0404-4311-9DEF-DFB5AB8BBDF0}" type="parTrans" cxnId="{82DEECA0-5B62-4077-A983-A53A65EEE653}">
      <dgm:prSet/>
      <dgm:spPr/>
      <dgm:t>
        <a:bodyPr/>
        <a:lstStyle/>
        <a:p>
          <a:endParaRPr lang="en-US" sz="1400">
            <a:latin typeface="Arial" panose="020B0604020202020204" pitchFamily="34" charset="0"/>
            <a:cs typeface="Arial" panose="020B0604020202020204" pitchFamily="34" charset="0"/>
          </a:endParaRPr>
        </a:p>
      </dgm:t>
    </dgm:pt>
    <dgm:pt modelId="{8F6D523F-6547-4268-89D4-0AA0FD881DFE}" type="sibTrans" cxnId="{82DEECA0-5B62-4077-A983-A53A65EEE653}">
      <dgm:prSet/>
      <dgm:spPr/>
      <dgm:t>
        <a:bodyPr/>
        <a:lstStyle/>
        <a:p>
          <a:endParaRPr lang="en-US" sz="1400">
            <a:latin typeface="Arial" panose="020B0604020202020204" pitchFamily="34" charset="0"/>
            <a:cs typeface="Arial" panose="020B0604020202020204" pitchFamily="34" charset="0"/>
          </a:endParaRPr>
        </a:p>
      </dgm:t>
    </dgm:pt>
    <dgm:pt modelId="{92AF63D0-3AD7-4C78-BB62-80938B15EC87}">
      <dgm:prSet phldrT="[Text]" custT="1"/>
      <dgm:spPr/>
      <dgm:t>
        <a:bodyPr/>
        <a:lstStyle/>
        <a:p>
          <a:r>
            <a:rPr lang="en-US" sz="1400">
              <a:latin typeface="Arial" panose="020B0604020202020204" pitchFamily="34" charset="0"/>
              <a:cs typeface="Arial" panose="020B0604020202020204" pitchFamily="34" charset="0"/>
            </a:rPr>
            <a:t>Owners control possibility for alternative concepts</a:t>
          </a:r>
        </a:p>
      </dgm:t>
    </dgm:pt>
    <dgm:pt modelId="{B3FBD6E9-B0A9-48FD-B77D-ECFA0BADEE1C}" type="parTrans" cxnId="{C64B6EF8-71F2-4655-A3E8-DD61906F77F8}">
      <dgm:prSet/>
      <dgm:spPr/>
      <dgm:t>
        <a:bodyPr/>
        <a:lstStyle/>
        <a:p>
          <a:endParaRPr lang="en-US" sz="1400">
            <a:latin typeface="Arial" panose="020B0604020202020204" pitchFamily="34" charset="0"/>
            <a:cs typeface="Arial" panose="020B0604020202020204" pitchFamily="34" charset="0"/>
          </a:endParaRPr>
        </a:p>
      </dgm:t>
    </dgm:pt>
    <dgm:pt modelId="{0BB33FFE-8E19-4536-A0B1-507B90FFAD40}" type="sibTrans" cxnId="{C64B6EF8-71F2-4655-A3E8-DD61906F77F8}">
      <dgm:prSet/>
      <dgm:spPr/>
      <dgm:t>
        <a:bodyPr/>
        <a:lstStyle/>
        <a:p>
          <a:endParaRPr lang="en-US" sz="1400">
            <a:latin typeface="Arial" panose="020B0604020202020204" pitchFamily="34" charset="0"/>
            <a:cs typeface="Arial" panose="020B0604020202020204" pitchFamily="34" charset="0"/>
          </a:endParaRPr>
        </a:p>
      </dgm:t>
    </dgm:pt>
    <dgm:pt modelId="{7B644CC5-E18D-4681-A90E-2E3AD561F1A6}">
      <dgm:prSet phldrT="[Text]" custT="1"/>
      <dgm:spPr/>
      <dgm:t>
        <a:bodyPr/>
        <a:lstStyle/>
        <a:p>
          <a:r>
            <a:rPr lang="en-US" sz="1400">
              <a:latin typeface="Arial" panose="020B0604020202020204" pitchFamily="34" charset="0"/>
              <a:cs typeface="Arial" panose="020B0604020202020204" pitchFamily="34" charset="0"/>
            </a:rPr>
            <a:t>Owners establish risk appeities</a:t>
          </a:r>
        </a:p>
      </dgm:t>
    </dgm:pt>
    <dgm:pt modelId="{529E7306-DC30-474D-BE37-A3EC88BD7DE3}" type="parTrans" cxnId="{18191470-7EF3-4428-B2D5-117794E7F765}">
      <dgm:prSet/>
      <dgm:spPr/>
      <dgm:t>
        <a:bodyPr/>
        <a:lstStyle/>
        <a:p>
          <a:endParaRPr lang="en-US" sz="1400">
            <a:latin typeface="Arial" panose="020B0604020202020204" pitchFamily="34" charset="0"/>
            <a:cs typeface="Arial" panose="020B0604020202020204" pitchFamily="34" charset="0"/>
          </a:endParaRPr>
        </a:p>
      </dgm:t>
    </dgm:pt>
    <dgm:pt modelId="{43016C66-4072-4C31-9257-14026237C8F2}" type="sibTrans" cxnId="{18191470-7EF3-4428-B2D5-117794E7F765}">
      <dgm:prSet/>
      <dgm:spPr/>
      <dgm:t>
        <a:bodyPr/>
        <a:lstStyle/>
        <a:p>
          <a:endParaRPr lang="en-US" sz="1400">
            <a:latin typeface="Arial" panose="020B0604020202020204" pitchFamily="34" charset="0"/>
            <a:cs typeface="Arial" panose="020B0604020202020204" pitchFamily="34" charset="0"/>
          </a:endParaRPr>
        </a:p>
      </dgm:t>
    </dgm:pt>
    <dgm:pt modelId="{477EAAF2-A493-41E9-9D4E-849C0DA92CB2}">
      <dgm:prSet phldrT="[Text]" custT="1"/>
      <dgm:spPr/>
      <dgm:t>
        <a:bodyPr/>
        <a:lstStyle/>
        <a:p>
          <a:r>
            <a:rPr lang="en-US" sz="1400">
              <a:latin typeface="Arial" panose="020B0604020202020204" pitchFamily="34" charset="0"/>
              <a:cs typeface="Arial" panose="020B0604020202020204" pitchFamily="34" charset="0"/>
            </a:rPr>
            <a:t>Contractors make roadway improvments per the owner's design and specification</a:t>
          </a:r>
        </a:p>
      </dgm:t>
    </dgm:pt>
    <dgm:pt modelId="{A7320B28-0ACA-4E8E-A81C-86AAAA64D2B0}" type="parTrans" cxnId="{A3AC2DF3-36A4-488F-A7C7-A3F19D50B306}">
      <dgm:prSet/>
      <dgm:spPr/>
      <dgm:t>
        <a:bodyPr/>
        <a:lstStyle/>
        <a:p>
          <a:endParaRPr lang="en-US" sz="1400">
            <a:latin typeface="Arial" panose="020B0604020202020204" pitchFamily="34" charset="0"/>
            <a:cs typeface="Arial" panose="020B0604020202020204" pitchFamily="34" charset="0"/>
          </a:endParaRPr>
        </a:p>
      </dgm:t>
    </dgm:pt>
    <dgm:pt modelId="{3893B518-0AE0-46AB-B552-74FF86107959}" type="sibTrans" cxnId="{A3AC2DF3-36A4-488F-A7C7-A3F19D50B306}">
      <dgm:prSet/>
      <dgm:spPr/>
      <dgm:t>
        <a:bodyPr/>
        <a:lstStyle/>
        <a:p>
          <a:endParaRPr lang="en-US" sz="1400">
            <a:latin typeface="Arial" panose="020B0604020202020204" pitchFamily="34" charset="0"/>
            <a:cs typeface="Arial" panose="020B0604020202020204" pitchFamily="34" charset="0"/>
          </a:endParaRPr>
        </a:p>
      </dgm:t>
    </dgm:pt>
    <dgm:pt modelId="{2F1DB044-002D-4805-8778-DF8BB8657477}">
      <dgm:prSet phldrT="[Text]" custT="1"/>
      <dgm:spPr/>
      <dgm:t>
        <a:bodyPr/>
        <a:lstStyle/>
        <a:p>
          <a:r>
            <a:rPr lang="en-US" sz="1400">
              <a:latin typeface="Arial" panose="020B0604020202020204" pitchFamily="34" charset="0"/>
              <a:cs typeface="Arial" panose="020B0604020202020204" pitchFamily="34" charset="0"/>
            </a:rPr>
            <a:t>Contractors clean and maintain facililities per the specifications of the contract for 5-10 years prior</a:t>
          </a:r>
        </a:p>
      </dgm:t>
    </dgm:pt>
    <dgm:pt modelId="{365014D8-F815-4204-A8F1-986F0894DD02}" type="parTrans" cxnId="{18FA898F-94F3-4A29-9615-7F60185BA33F}">
      <dgm:prSet/>
      <dgm:spPr/>
      <dgm:t>
        <a:bodyPr/>
        <a:lstStyle/>
        <a:p>
          <a:endParaRPr lang="en-US" sz="1400">
            <a:latin typeface="Arial" panose="020B0604020202020204" pitchFamily="34" charset="0"/>
            <a:cs typeface="Arial" panose="020B0604020202020204" pitchFamily="34" charset="0"/>
          </a:endParaRPr>
        </a:p>
      </dgm:t>
    </dgm:pt>
    <dgm:pt modelId="{672634BB-4174-4519-9745-BAF177CA30E2}" type="sibTrans" cxnId="{18FA898F-94F3-4A29-9615-7F60185BA33F}">
      <dgm:prSet/>
      <dgm:spPr/>
      <dgm:t>
        <a:bodyPr/>
        <a:lstStyle/>
        <a:p>
          <a:endParaRPr lang="en-US" sz="1400">
            <a:latin typeface="Arial" panose="020B0604020202020204" pitchFamily="34" charset="0"/>
            <a:cs typeface="Arial" panose="020B0604020202020204" pitchFamily="34" charset="0"/>
          </a:endParaRPr>
        </a:p>
      </dgm:t>
    </dgm:pt>
    <dgm:pt modelId="{1EE572ED-CF88-4CE9-89CE-AC0FF215DB73}" type="pres">
      <dgm:prSet presAssocID="{AD369FD7-9DEA-467D-97C8-77B93D0C048B}" presName="linearFlow" presStyleCnt="0">
        <dgm:presLayoutVars>
          <dgm:dir/>
          <dgm:resizeHandles val="exact"/>
        </dgm:presLayoutVars>
      </dgm:prSet>
      <dgm:spPr/>
      <dgm:t>
        <a:bodyPr/>
        <a:lstStyle/>
        <a:p>
          <a:endParaRPr lang="en-US"/>
        </a:p>
      </dgm:t>
    </dgm:pt>
    <dgm:pt modelId="{8BCB8597-49A9-474C-845D-454B79D2DB2C}" type="pres">
      <dgm:prSet presAssocID="{1FCE9591-D483-4AAC-8A6E-B0440EF07FE0}" presName="composite" presStyleCnt="0"/>
      <dgm:spPr/>
      <dgm:t>
        <a:bodyPr/>
        <a:lstStyle/>
        <a:p>
          <a:endParaRPr lang="en-US"/>
        </a:p>
      </dgm:t>
    </dgm:pt>
    <dgm:pt modelId="{1774C56C-D00C-4885-8A35-17D5D18D1C65}" type="pres">
      <dgm:prSet presAssocID="{1FCE9591-D483-4AAC-8A6E-B0440EF07FE0}" presName="imgShp" presStyleLbl="fgImgPlace1" presStyleIdx="0" presStyleCnt="5"/>
      <dgm:spPr>
        <a:prstGeom prst="roundRect">
          <a:avLst/>
        </a:prstGeom>
        <a:blipFill dpi="0" rotWithShape="1">
          <a:blip xmlns:r="http://schemas.openxmlformats.org/officeDocument/2006/relationships" r:embed="rId1"/>
          <a:srcRect/>
          <a:stretch>
            <a:fillRect t="2451" b="2451"/>
          </a:stretch>
        </a:blipFill>
      </dgm:spPr>
      <dgm:t>
        <a:bodyPr/>
        <a:lstStyle/>
        <a:p>
          <a:endParaRPr lang="en-US"/>
        </a:p>
      </dgm:t>
    </dgm:pt>
    <dgm:pt modelId="{9C29B8F5-186D-42D8-B6CD-365100221E2C}" type="pres">
      <dgm:prSet presAssocID="{1FCE9591-D483-4AAC-8A6E-B0440EF07FE0}" presName="txShp" presStyleLbl="node1" presStyleIdx="0" presStyleCnt="5">
        <dgm:presLayoutVars>
          <dgm:bulletEnabled val="1"/>
        </dgm:presLayoutVars>
      </dgm:prSet>
      <dgm:spPr/>
      <dgm:t>
        <a:bodyPr/>
        <a:lstStyle/>
        <a:p>
          <a:endParaRPr lang="en-US"/>
        </a:p>
      </dgm:t>
    </dgm:pt>
    <dgm:pt modelId="{3E584B1E-281C-4928-B62C-27D05720B093}" type="pres">
      <dgm:prSet presAssocID="{3E9377D4-BDC4-47D5-B294-5BFF74D82D2D}" presName="spacing" presStyleCnt="0"/>
      <dgm:spPr/>
      <dgm:t>
        <a:bodyPr/>
        <a:lstStyle/>
        <a:p>
          <a:endParaRPr lang="en-US"/>
        </a:p>
      </dgm:t>
    </dgm:pt>
    <dgm:pt modelId="{64846B4F-FAE9-4BC4-9911-E79C429DBB80}" type="pres">
      <dgm:prSet presAssocID="{E14D446B-1AF6-42EB-8132-F51F49056749}" presName="composite" presStyleCnt="0"/>
      <dgm:spPr/>
      <dgm:t>
        <a:bodyPr/>
        <a:lstStyle/>
        <a:p>
          <a:endParaRPr lang="en-US"/>
        </a:p>
      </dgm:t>
    </dgm:pt>
    <dgm:pt modelId="{6F03D0C4-A91F-49A2-99AF-92B051069529}" type="pres">
      <dgm:prSet presAssocID="{E14D446B-1AF6-42EB-8132-F51F49056749}" presName="imgShp" presStyleLbl="fgImgPlace1" presStyleIdx="1" presStyleCnt="5"/>
      <dgm:spPr>
        <a:prstGeom prst="roundRect">
          <a:avLst/>
        </a:prstGeom>
        <a:blipFill rotWithShape="1">
          <a:blip xmlns:r="http://schemas.openxmlformats.org/officeDocument/2006/relationships" r:embed="rId2"/>
          <a:stretch>
            <a:fillRect/>
          </a:stretch>
        </a:blipFill>
      </dgm:spPr>
      <dgm:t>
        <a:bodyPr/>
        <a:lstStyle/>
        <a:p>
          <a:endParaRPr lang="en-US"/>
        </a:p>
      </dgm:t>
    </dgm:pt>
    <dgm:pt modelId="{86510F7C-90E9-4FD6-A0DA-0AEF03B94E4B}" type="pres">
      <dgm:prSet presAssocID="{E14D446B-1AF6-42EB-8132-F51F49056749}" presName="txShp" presStyleLbl="node1" presStyleIdx="1" presStyleCnt="5">
        <dgm:presLayoutVars>
          <dgm:bulletEnabled val="1"/>
        </dgm:presLayoutVars>
      </dgm:prSet>
      <dgm:spPr/>
      <dgm:t>
        <a:bodyPr/>
        <a:lstStyle/>
        <a:p>
          <a:endParaRPr lang="en-US"/>
        </a:p>
      </dgm:t>
    </dgm:pt>
    <dgm:pt modelId="{E4ED524C-0485-4D34-B86A-6E3381FBD24F}" type="pres">
      <dgm:prSet presAssocID="{84A5471D-3BAF-4B85-BCF7-0442F855DAC8}" presName="spacing" presStyleCnt="0"/>
      <dgm:spPr/>
      <dgm:t>
        <a:bodyPr/>
        <a:lstStyle/>
        <a:p>
          <a:endParaRPr lang="en-US"/>
        </a:p>
      </dgm:t>
    </dgm:pt>
    <dgm:pt modelId="{A091DBD2-5B68-4278-B59E-E34E51536F50}" type="pres">
      <dgm:prSet presAssocID="{2B0A165A-61EB-430A-8056-695731A06AF1}" presName="composite" presStyleCnt="0"/>
      <dgm:spPr/>
      <dgm:t>
        <a:bodyPr/>
        <a:lstStyle/>
        <a:p>
          <a:endParaRPr lang="en-US"/>
        </a:p>
      </dgm:t>
    </dgm:pt>
    <dgm:pt modelId="{4702856D-4B32-49DE-8F4B-2A61772B9F04}" type="pres">
      <dgm:prSet presAssocID="{2B0A165A-61EB-430A-8056-695731A06AF1}" presName="imgShp" presStyleLbl="fgImgPlace1" presStyleIdx="2" presStyleCnt="5"/>
      <dgm:spPr>
        <a:prstGeom prst="roundRect">
          <a:avLst/>
        </a:prstGeom>
        <a:blipFill rotWithShape="1">
          <a:blip xmlns:r="http://schemas.openxmlformats.org/officeDocument/2006/relationships" r:embed="rId1"/>
          <a:stretch>
            <a:fillRect/>
          </a:stretch>
        </a:blipFill>
      </dgm:spPr>
      <dgm:t>
        <a:bodyPr/>
        <a:lstStyle/>
        <a:p>
          <a:endParaRPr lang="en-US"/>
        </a:p>
      </dgm:t>
    </dgm:pt>
    <dgm:pt modelId="{61272B68-2C09-43B3-B206-D2D223CEF154}" type="pres">
      <dgm:prSet presAssocID="{2B0A165A-61EB-430A-8056-695731A06AF1}" presName="txShp" presStyleLbl="node1" presStyleIdx="2" presStyleCnt="5">
        <dgm:presLayoutVars>
          <dgm:bulletEnabled val="1"/>
        </dgm:presLayoutVars>
      </dgm:prSet>
      <dgm:spPr/>
      <dgm:t>
        <a:bodyPr/>
        <a:lstStyle/>
        <a:p>
          <a:endParaRPr lang="en-US"/>
        </a:p>
      </dgm:t>
    </dgm:pt>
    <dgm:pt modelId="{3C2DF649-82A8-441A-88DC-C0E681E01D69}" type="pres">
      <dgm:prSet presAssocID="{6B49C8C4-FFB8-4E57-992D-4A3AC92921D1}" presName="spacing" presStyleCnt="0"/>
      <dgm:spPr/>
      <dgm:t>
        <a:bodyPr/>
        <a:lstStyle/>
        <a:p>
          <a:endParaRPr lang="en-US"/>
        </a:p>
      </dgm:t>
    </dgm:pt>
    <dgm:pt modelId="{8A887EE5-CBB5-4786-8D91-C63DB329A17E}" type="pres">
      <dgm:prSet presAssocID="{74200E70-D463-4EB9-8E86-6946EB8A1E74}" presName="composite" presStyleCnt="0"/>
      <dgm:spPr/>
      <dgm:t>
        <a:bodyPr/>
        <a:lstStyle/>
        <a:p>
          <a:endParaRPr lang="en-US"/>
        </a:p>
      </dgm:t>
    </dgm:pt>
    <dgm:pt modelId="{EE11DC48-84B2-4EA4-8CAA-593188B73D2C}" type="pres">
      <dgm:prSet presAssocID="{74200E70-D463-4EB9-8E86-6946EB8A1E74}" presName="imgShp" presStyleLbl="fgImgPlace1" presStyleIdx="3" presStyleCnt="5"/>
      <dgm:spPr>
        <a:prstGeom prst="roundRect">
          <a:avLst/>
        </a:prstGeom>
        <a:blipFill rotWithShape="1">
          <a:blip xmlns:r="http://schemas.openxmlformats.org/officeDocument/2006/relationships" r:embed="rId3"/>
          <a:stretch>
            <a:fillRect/>
          </a:stretch>
        </a:blipFill>
      </dgm:spPr>
      <dgm:t>
        <a:bodyPr/>
        <a:lstStyle/>
        <a:p>
          <a:endParaRPr lang="en-US"/>
        </a:p>
      </dgm:t>
    </dgm:pt>
    <dgm:pt modelId="{697C9B87-66DB-46A1-A4EC-68BFA1CC061C}" type="pres">
      <dgm:prSet presAssocID="{74200E70-D463-4EB9-8E86-6946EB8A1E74}" presName="txShp" presStyleLbl="node1" presStyleIdx="3" presStyleCnt="5">
        <dgm:presLayoutVars>
          <dgm:bulletEnabled val="1"/>
        </dgm:presLayoutVars>
      </dgm:prSet>
      <dgm:spPr/>
      <dgm:t>
        <a:bodyPr/>
        <a:lstStyle/>
        <a:p>
          <a:endParaRPr lang="en-US"/>
        </a:p>
      </dgm:t>
    </dgm:pt>
    <dgm:pt modelId="{579E066F-BD5C-4130-B7B0-A9C19205A732}" type="pres">
      <dgm:prSet presAssocID="{5B378245-5161-470E-A3D0-9C6D8797E028}" presName="spacing" presStyleCnt="0"/>
      <dgm:spPr/>
      <dgm:t>
        <a:bodyPr/>
        <a:lstStyle/>
        <a:p>
          <a:endParaRPr lang="en-US"/>
        </a:p>
      </dgm:t>
    </dgm:pt>
    <dgm:pt modelId="{C31BEAB7-A7E7-4FE6-ABE2-EE2363D5CB58}" type="pres">
      <dgm:prSet presAssocID="{29851F32-4C94-4A4A-9C51-A0CC7764DD0E}" presName="composite" presStyleCnt="0"/>
      <dgm:spPr/>
      <dgm:t>
        <a:bodyPr/>
        <a:lstStyle/>
        <a:p>
          <a:endParaRPr lang="en-US"/>
        </a:p>
      </dgm:t>
    </dgm:pt>
    <dgm:pt modelId="{3FD621B2-C110-41E4-9DC0-961BDDC25057}" type="pres">
      <dgm:prSet presAssocID="{29851F32-4C94-4A4A-9C51-A0CC7764DD0E}" presName="imgShp" presStyleLbl="fgImgPlace1" presStyleIdx="4" presStyleCnt="5"/>
      <dgm:spPr>
        <a:prstGeom prst="roundRect">
          <a:avLst/>
        </a:prstGeom>
        <a:blipFill rotWithShape="1">
          <a:blip xmlns:r="http://schemas.openxmlformats.org/officeDocument/2006/relationships" r:embed="rId3"/>
          <a:stretch>
            <a:fillRect/>
          </a:stretch>
        </a:blipFill>
      </dgm:spPr>
      <dgm:t>
        <a:bodyPr/>
        <a:lstStyle/>
        <a:p>
          <a:endParaRPr lang="en-US"/>
        </a:p>
      </dgm:t>
    </dgm:pt>
    <dgm:pt modelId="{88188289-8654-470C-AE4A-4461B1C0312B}" type="pres">
      <dgm:prSet presAssocID="{29851F32-4C94-4A4A-9C51-A0CC7764DD0E}" presName="txShp" presStyleLbl="node1" presStyleIdx="4" presStyleCnt="5">
        <dgm:presLayoutVars>
          <dgm:bulletEnabled val="1"/>
        </dgm:presLayoutVars>
      </dgm:prSet>
      <dgm:spPr/>
      <dgm:t>
        <a:bodyPr/>
        <a:lstStyle/>
        <a:p>
          <a:endParaRPr lang="en-US"/>
        </a:p>
      </dgm:t>
    </dgm:pt>
  </dgm:ptLst>
  <dgm:cxnLst>
    <dgm:cxn modelId="{3EA73CA3-FFC5-4958-82A4-1CA49DFD3CF8}" srcId="{AD369FD7-9DEA-467D-97C8-77B93D0C048B}" destId="{29851F32-4C94-4A4A-9C51-A0CC7764DD0E}" srcOrd="4" destOrd="0" parTransId="{E68DA5DD-08D9-4E98-BEA6-929AFAE2DCDD}" sibTransId="{5EDC53D4-3CEA-49D7-B1CA-F2723057049F}"/>
    <dgm:cxn modelId="{501AC571-D6AF-4E2C-BF44-29D0AB4014A8}" type="presOf" srcId="{2B0A165A-61EB-430A-8056-695731A06AF1}" destId="{61272B68-2C09-43B3-B206-D2D223CEF154}" srcOrd="0" destOrd="0" presId="urn:microsoft.com/office/officeart/2005/8/layout/vList3"/>
    <dgm:cxn modelId="{150E1B82-B8EF-4A54-B403-6B478F5DEB4A}" type="presOf" srcId="{74200E70-D463-4EB9-8E86-6946EB8A1E74}" destId="{697C9B87-66DB-46A1-A4EC-68BFA1CC061C}" srcOrd="0" destOrd="0" presId="urn:microsoft.com/office/officeart/2005/8/layout/vList3"/>
    <dgm:cxn modelId="{A0EE852B-E4D7-4324-A007-9B6A20B1EF4D}" type="presOf" srcId="{29851F32-4C94-4A4A-9C51-A0CC7764DD0E}" destId="{88188289-8654-470C-AE4A-4461B1C0312B}" srcOrd="0" destOrd="0" presId="urn:microsoft.com/office/officeart/2005/8/layout/vList3"/>
    <dgm:cxn modelId="{0209DAD1-FC64-470A-9157-DF59CB2ED42B}" type="presOf" srcId="{2F1DB044-002D-4805-8778-DF8BB8657477}" destId="{88188289-8654-470C-AE4A-4461B1C0312B}" srcOrd="0" destOrd="1" presId="urn:microsoft.com/office/officeart/2005/8/layout/vList3"/>
    <dgm:cxn modelId="{11AFE9A8-7B70-43F8-9283-DBF8BC43B79E}" type="presOf" srcId="{477EAAF2-A493-41E9-9D4E-849C0DA92CB2}" destId="{697C9B87-66DB-46A1-A4EC-68BFA1CC061C}" srcOrd="0" destOrd="1" presId="urn:microsoft.com/office/officeart/2005/8/layout/vList3"/>
    <dgm:cxn modelId="{82DEECA0-5B62-4077-A983-A53A65EEE653}" srcId="{E14D446B-1AF6-42EB-8132-F51F49056749}" destId="{4298DFDE-C845-49BD-A8D1-BAD88146DBB1}" srcOrd="0" destOrd="0" parTransId="{C2A99333-0404-4311-9DEF-DFB5AB8BBDF0}" sibTransId="{8F6D523F-6547-4268-89D4-0AA0FD881DFE}"/>
    <dgm:cxn modelId="{A3AC2DF3-36A4-488F-A7C7-A3F19D50B306}" srcId="{74200E70-D463-4EB9-8E86-6946EB8A1E74}" destId="{477EAAF2-A493-41E9-9D4E-849C0DA92CB2}" srcOrd="0" destOrd="0" parTransId="{A7320B28-0ACA-4E8E-A81C-86AAAA64D2B0}" sibTransId="{3893B518-0AE0-46AB-B552-74FF86107959}"/>
    <dgm:cxn modelId="{1D438675-356E-4B96-A0C2-55E9F3B8BA6E}" type="presOf" srcId="{E14D446B-1AF6-42EB-8132-F51F49056749}" destId="{86510F7C-90E9-4FD6-A0DA-0AEF03B94E4B}" srcOrd="0" destOrd="0" presId="urn:microsoft.com/office/officeart/2005/8/layout/vList3"/>
    <dgm:cxn modelId="{C993CA6A-052E-40AC-B493-46A99E60EC28}" srcId="{2B0A165A-61EB-430A-8056-695731A06AF1}" destId="{C2D25FD9-17C0-49EC-9772-7D6C00F77EE6}" srcOrd="0" destOrd="0" parTransId="{A9A2DC2B-6406-4007-8E34-17A21CD26AAF}" sibTransId="{AF353F9F-5C36-49C8-BEBC-3EA57845741D}"/>
    <dgm:cxn modelId="{09159D92-2F9F-43CC-B96A-B2BC075D7C5D}" type="presOf" srcId="{92AF63D0-3AD7-4C78-BB62-80938B15EC87}" destId="{86510F7C-90E9-4FD6-A0DA-0AEF03B94E4B}" srcOrd="0" destOrd="2" presId="urn:microsoft.com/office/officeart/2005/8/layout/vList3"/>
    <dgm:cxn modelId="{C43A5160-9A15-4F70-9A69-DE1D5A05A0C6}" type="presOf" srcId="{7B644CC5-E18D-4681-A90E-2E3AD561F1A6}" destId="{9C29B8F5-186D-42D8-B6CD-365100221E2C}" srcOrd="0" destOrd="2" presId="urn:microsoft.com/office/officeart/2005/8/layout/vList3"/>
    <dgm:cxn modelId="{FDB721AC-B828-4A37-8E7B-98047F413E51}" type="presOf" srcId="{AD369FD7-9DEA-467D-97C8-77B93D0C048B}" destId="{1EE572ED-CF88-4CE9-89CE-AC0FF215DB73}" srcOrd="0" destOrd="0" presId="urn:microsoft.com/office/officeart/2005/8/layout/vList3"/>
    <dgm:cxn modelId="{F787A2E7-4568-4686-B98B-9A867F4B3D87}" srcId="{AD369FD7-9DEA-467D-97C8-77B93D0C048B}" destId="{1FCE9591-D483-4AAC-8A6E-B0440EF07FE0}" srcOrd="0" destOrd="0" parTransId="{39F6223E-3B77-42E1-A922-5D6024586109}" sibTransId="{3E9377D4-BDC4-47D5-B294-5BFF74D82D2D}"/>
    <dgm:cxn modelId="{C5E66970-DDAD-4A40-9791-F1FE83FE5FD7}" srcId="{1FCE9591-D483-4AAC-8A6E-B0440EF07FE0}" destId="{2714C29F-CFDD-4564-A1F0-551518920639}" srcOrd="2" destOrd="0" parTransId="{042CD10A-B585-407F-8769-227FE2B12799}" sibTransId="{C5A02D5E-B6B7-4E08-9DA0-5E82D389422D}"/>
    <dgm:cxn modelId="{789E858F-8C24-4C56-9AE3-5089C9204ACB}" type="presOf" srcId="{B4F36ECE-03DC-4190-A3F5-0C432F461CF7}" destId="{9C29B8F5-186D-42D8-B6CD-365100221E2C}" srcOrd="0" destOrd="1" presId="urn:microsoft.com/office/officeart/2005/8/layout/vList3"/>
    <dgm:cxn modelId="{D2B89E24-5C49-41F0-9A53-285BA1054332}" srcId="{AD369FD7-9DEA-467D-97C8-77B93D0C048B}" destId="{2B0A165A-61EB-430A-8056-695731A06AF1}" srcOrd="2" destOrd="0" parTransId="{43E7636A-9D5E-4927-AB7E-4D914FB2D1D0}" sibTransId="{6B49C8C4-FFB8-4E57-992D-4A3AC92921D1}"/>
    <dgm:cxn modelId="{41EDDD50-3281-4D0A-918A-E4D5A5AEC77F}" type="presOf" srcId="{4298DFDE-C845-49BD-A8D1-BAD88146DBB1}" destId="{86510F7C-90E9-4FD6-A0DA-0AEF03B94E4B}" srcOrd="0" destOrd="1" presId="urn:microsoft.com/office/officeart/2005/8/layout/vList3"/>
    <dgm:cxn modelId="{18191470-7EF3-4428-B2D5-117794E7F765}" srcId="{1FCE9591-D483-4AAC-8A6E-B0440EF07FE0}" destId="{7B644CC5-E18D-4681-A90E-2E3AD561F1A6}" srcOrd="1" destOrd="0" parTransId="{529E7306-DC30-474D-BE37-A3EC88BD7DE3}" sibTransId="{43016C66-4072-4C31-9257-14026237C8F2}"/>
    <dgm:cxn modelId="{1EBDA68F-436D-4015-95BA-DECFEF4EFE2E}" type="presOf" srcId="{2714C29F-CFDD-4564-A1F0-551518920639}" destId="{9C29B8F5-186D-42D8-B6CD-365100221E2C}" srcOrd="0" destOrd="3" presId="urn:microsoft.com/office/officeart/2005/8/layout/vList3"/>
    <dgm:cxn modelId="{A2EE7707-BA9E-4772-9E9B-35BF2E38E800}" srcId="{1FCE9591-D483-4AAC-8A6E-B0440EF07FE0}" destId="{B4F36ECE-03DC-4190-A3F5-0C432F461CF7}" srcOrd="0" destOrd="0" parTransId="{A1B9D68B-6FEF-4BF1-BFA1-FAA8177A0100}" sibTransId="{7AFB4C28-B548-4961-B39E-ADEA25D9B21B}"/>
    <dgm:cxn modelId="{18FA898F-94F3-4A29-9615-7F60185BA33F}" srcId="{29851F32-4C94-4A4A-9C51-A0CC7764DD0E}" destId="{2F1DB044-002D-4805-8778-DF8BB8657477}" srcOrd="0" destOrd="0" parTransId="{365014D8-F815-4204-A8F1-986F0894DD02}" sibTransId="{672634BB-4174-4519-9745-BAF177CA30E2}"/>
    <dgm:cxn modelId="{C89DF042-4959-41DB-9800-A45B94308E35}" type="presOf" srcId="{C2D25FD9-17C0-49EC-9772-7D6C00F77EE6}" destId="{61272B68-2C09-43B3-B206-D2D223CEF154}" srcOrd="0" destOrd="1" presId="urn:microsoft.com/office/officeart/2005/8/layout/vList3"/>
    <dgm:cxn modelId="{C64B6EF8-71F2-4655-A3E8-DD61906F77F8}" srcId="{E14D446B-1AF6-42EB-8132-F51F49056749}" destId="{92AF63D0-3AD7-4C78-BB62-80938B15EC87}" srcOrd="1" destOrd="0" parTransId="{B3FBD6E9-B0A9-48FD-B77D-ECFA0BADEE1C}" sibTransId="{0BB33FFE-8E19-4536-A0B1-507B90FFAD40}"/>
    <dgm:cxn modelId="{4E9678AD-72C5-4798-88DC-56D14EFB7DD8}" type="presOf" srcId="{1FCE9591-D483-4AAC-8A6E-B0440EF07FE0}" destId="{9C29B8F5-186D-42D8-B6CD-365100221E2C}" srcOrd="0" destOrd="0" presId="urn:microsoft.com/office/officeart/2005/8/layout/vList3"/>
    <dgm:cxn modelId="{B44DE72A-9DD9-49FB-80F2-248D3F0C6D21}" srcId="{AD369FD7-9DEA-467D-97C8-77B93D0C048B}" destId="{74200E70-D463-4EB9-8E86-6946EB8A1E74}" srcOrd="3" destOrd="0" parTransId="{E9B7B2E8-8C4E-4A4F-8E0D-6BC107029274}" sibTransId="{5B378245-5161-470E-A3D0-9C6D8797E028}"/>
    <dgm:cxn modelId="{5D1BC5FC-265A-4578-B311-06AFFC7C11D7}" srcId="{AD369FD7-9DEA-467D-97C8-77B93D0C048B}" destId="{E14D446B-1AF6-42EB-8132-F51F49056749}" srcOrd="1" destOrd="0" parTransId="{36D21688-A0F0-42E6-AEF7-A59A9EBC7C4A}" sibTransId="{84A5471D-3BAF-4B85-BCF7-0442F855DAC8}"/>
    <dgm:cxn modelId="{CF0B4E05-DA26-4A2E-A29A-977921CD1A5F}" type="presParOf" srcId="{1EE572ED-CF88-4CE9-89CE-AC0FF215DB73}" destId="{8BCB8597-49A9-474C-845D-454B79D2DB2C}" srcOrd="0" destOrd="0" presId="urn:microsoft.com/office/officeart/2005/8/layout/vList3"/>
    <dgm:cxn modelId="{DB13FBD0-83A9-4D9A-B94D-5838918DCC4F}" type="presParOf" srcId="{8BCB8597-49A9-474C-845D-454B79D2DB2C}" destId="{1774C56C-D00C-4885-8A35-17D5D18D1C65}" srcOrd="0" destOrd="0" presId="urn:microsoft.com/office/officeart/2005/8/layout/vList3"/>
    <dgm:cxn modelId="{47B3AD5A-DD4D-4EA2-85F7-D9CC6663435A}" type="presParOf" srcId="{8BCB8597-49A9-474C-845D-454B79D2DB2C}" destId="{9C29B8F5-186D-42D8-B6CD-365100221E2C}" srcOrd="1" destOrd="0" presId="urn:microsoft.com/office/officeart/2005/8/layout/vList3"/>
    <dgm:cxn modelId="{0A8902C2-7EAE-4302-8171-BDE03CAF14AD}" type="presParOf" srcId="{1EE572ED-CF88-4CE9-89CE-AC0FF215DB73}" destId="{3E584B1E-281C-4928-B62C-27D05720B093}" srcOrd="1" destOrd="0" presId="urn:microsoft.com/office/officeart/2005/8/layout/vList3"/>
    <dgm:cxn modelId="{3B4169E6-34A6-46E7-ADE6-ACA6A3B4D49F}" type="presParOf" srcId="{1EE572ED-CF88-4CE9-89CE-AC0FF215DB73}" destId="{64846B4F-FAE9-4BC4-9911-E79C429DBB80}" srcOrd="2" destOrd="0" presId="urn:microsoft.com/office/officeart/2005/8/layout/vList3"/>
    <dgm:cxn modelId="{23261517-4B94-4265-855B-03CA20993131}" type="presParOf" srcId="{64846B4F-FAE9-4BC4-9911-E79C429DBB80}" destId="{6F03D0C4-A91F-49A2-99AF-92B051069529}" srcOrd="0" destOrd="0" presId="urn:microsoft.com/office/officeart/2005/8/layout/vList3"/>
    <dgm:cxn modelId="{9C204060-4AC9-4476-BB28-A011E0929352}" type="presParOf" srcId="{64846B4F-FAE9-4BC4-9911-E79C429DBB80}" destId="{86510F7C-90E9-4FD6-A0DA-0AEF03B94E4B}" srcOrd="1" destOrd="0" presId="urn:microsoft.com/office/officeart/2005/8/layout/vList3"/>
    <dgm:cxn modelId="{02C70D80-77D4-435E-8C9A-608BCF883391}" type="presParOf" srcId="{1EE572ED-CF88-4CE9-89CE-AC0FF215DB73}" destId="{E4ED524C-0485-4D34-B86A-6E3381FBD24F}" srcOrd="3" destOrd="0" presId="urn:microsoft.com/office/officeart/2005/8/layout/vList3"/>
    <dgm:cxn modelId="{E525FF5A-E950-498F-A505-3B33D30EB13E}" type="presParOf" srcId="{1EE572ED-CF88-4CE9-89CE-AC0FF215DB73}" destId="{A091DBD2-5B68-4278-B59E-E34E51536F50}" srcOrd="4" destOrd="0" presId="urn:microsoft.com/office/officeart/2005/8/layout/vList3"/>
    <dgm:cxn modelId="{64A5EFF7-1260-41DB-8C48-0A9C3276B6E9}" type="presParOf" srcId="{A091DBD2-5B68-4278-B59E-E34E51536F50}" destId="{4702856D-4B32-49DE-8F4B-2A61772B9F04}" srcOrd="0" destOrd="0" presId="urn:microsoft.com/office/officeart/2005/8/layout/vList3"/>
    <dgm:cxn modelId="{3602ACC3-80A0-44BE-9863-4073A888084C}" type="presParOf" srcId="{A091DBD2-5B68-4278-B59E-E34E51536F50}" destId="{61272B68-2C09-43B3-B206-D2D223CEF154}" srcOrd="1" destOrd="0" presId="urn:microsoft.com/office/officeart/2005/8/layout/vList3"/>
    <dgm:cxn modelId="{A2E11B44-8A88-4464-BBD7-E7F643904E6E}" type="presParOf" srcId="{1EE572ED-CF88-4CE9-89CE-AC0FF215DB73}" destId="{3C2DF649-82A8-441A-88DC-C0E681E01D69}" srcOrd="5" destOrd="0" presId="urn:microsoft.com/office/officeart/2005/8/layout/vList3"/>
    <dgm:cxn modelId="{56710CA2-647F-42C6-80E2-305A81A32BE9}" type="presParOf" srcId="{1EE572ED-CF88-4CE9-89CE-AC0FF215DB73}" destId="{8A887EE5-CBB5-4786-8D91-C63DB329A17E}" srcOrd="6" destOrd="0" presId="urn:microsoft.com/office/officeart/2005/8/layout/vList3"/>
    <dgm:cxn modelId="{5C6D105C-BB0A-44FE-8686-E836EB04B9CC}" type="presParOf" srcId="{8A887EE5-CBB5-4786-8D91-C63DB329A17E}" destId="{EE11DC48-84B2-4EA4-8CAA-593188B73D2C}" srcOrd="0" destOrd="0" presId="urn:microsoft.com/office/officeart/2005/8/layout/vList3"/>
    <dgm:cxn modelId="{EEA994C1-53A9-4C64-8B9B-3062866F199F}" type="presParOf" srcId="{8A887EE5-CBB5-4786-8D91-C63DB329A17E}" destId="{697C9B87-66DB-46A1-A4EC-68BFA1CC061C}" srcOrd="1" destOrd="0" presId="urn:microsoft.com/office/officeart/2005/8/layout/vList3"/>
    <dgm:cxn modelId="{87D96B90-8E94-42BC-99A8-5251C95D2DCD}" type="presParOf" srcId="{1EE572ED-CF88-4CE9-89CE-AC0FF215DB73}" destId="{579E066F-BD5C-4130-B7B0-A9C19205A732}" srcOrd="7" destOrd="0" presId="urn:microsoft.com/office/officeart/2005/8/layout/vList3"/>
    <dgm:cxn modelId="{AC0FF583-AA8D-4EA5-87C1-861CBC23E747}" type="presParOf" srcId="{1EE572ED-CF88-4CE9-89CE-AC0FF215DB73}" destId="{C31BEAB7-A7E7-4FE6-ABE2-EE2363D5CB58}" srcOrd="8" destOrd="0" presId="urn:microsoft.com/office/officeart/2005/8/layout/vList3"/>
    <dgm:cxn modelId="{DC4EF384-F0C8-4263-B149-B9D1F55E3E50}" type="presParOf" srcId="{C31BEAB7-A7E7-4FE6-ABE2-EE2363D5CB58}" destId="{3FD621B2-C110-41E4-9DC0-961BDDC25057}" srcOrd="0" destOrd="0" presId="urn:microsoft.com/office/officeart/2005/8/layout/vList3"/>
    <dgm:cxn modelId="{1A93FEA4-8AB1-4682-BF4E-74DB5EDF221F}" type="presParOf" srcId="{C31BEAB7-A7E7-4FE6-ABE2-EE2363D5CB58}" destId="{88188289-8654-470C-AE4A-4461B1C0312B}"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384935C-C5DD-4955-981D-D9A1C7EC1578}" type="doc">
      <dgm:prSet loTypeId="urn:microsoft.com/office/officeart/2008/layout/BendingPictureBlocks" loCatId="picture" qsTypeId="urn:microsoft.com/office/officeart/2005/8/quickstyle/simple2" qsCatId="simple" csTypeId="urn:microsoft.com/office/officeart/2005/8/colors/accent6_2" csCatId="accent6" phldr="1"/>
      <dgm:spPr/>
      <dgm:t>
        <a:bodyPr/>
        <a:lstStyle/>
        <a:p>
          <a:endParaRPr lang="en-US"/>
        </a:p>
      </dgm:t>
    </dgm:pt>
    <dgm:pt modelId="{B35391F9-D3C7-4C06-8A31-2F0EC3030B59}" type="asst">
      <dgm:prSet phldrT="[Text]" custT="1"/>
      <dgm:spPr/>
      <dgm:t>
        <a:bodyPr/>
        <a:lstStyle/>
        <a:p>
          <a:pPr algn="l">
            <a:lnSpc>
              <a:spcPct val="90000"/>
            </a:lnSpc>
          </a:pPr>
          <a:r>
            <a:rPr lang="en-US" sz="1600" b="1" dirty="0" smtClean="0"/>
            <a:t>1 – Risk Ownership</a:t>
          </a:r>
        </a:p>
        <a:p>
          <a:pPr algn="l">
            <a:lnSpc>
              <a:spcPct val="90000"/>
            </a:lnSpc>
          </a:pPr>
          <a:r>
            <a:rPr lang="en-US" sz="1600" b="1" dirty="0" smtClean="0"/>
            <a:t>2 – Thresholds</a:t>
          </a:r>
        </a:p>
        <a:p>
          <a:pPr algn="l">
            <a:lnSpc>
              <a:spcPct val="90000"/>
            </a:lnSpc>
          </a:pPr>
          <a:r>
            <a:rPr lang="en-US" sz="1600" b="1" dirty="0" smtClean="0"/>
            <a:t>3 – Project Phasing</a:t>
          </a:r>
        </a:p>
        <a:p>
          <a:pPr algn="l">
            <a:lnSpc>
              <a:spcPct val="90000"/>
            </a:lnSpc>
          </a:pPr>
          <a:endParaRPr lang="en-US" sz="1400" b="1" dirty="0" smtClean="0"/>
        </a:p>
        <a:p>
          <a:pPr algn="l">
            <a:lnSpc>
              <a:spcPct val="150000"/>
            </a:lnSpc>
          </a:pPr>
          <a:r>
            <a:rPr lang="en-US" sz="1400" b="1" dirty="0" smtClean="0"/>
            <a:t>Example:</a:t>
          </a:r>
          <a:r>
            <a:rPr lang="en-US" sz="1400" dirty="0" smtClean="0"/>
            <a:t> </a:t>
          </a:r>
        </a:p>
        <a:p>
          <a:pPr algn="l">
            <a:lnSpc>
              <a:spcPct val="150000"/>
            </a:lnSpc>
          </a:pPr>
          <a:r>
            <a:rPr lang="en-US" sz="1400" i="0" dirty="0" smtClean="0"/>
            <a:t>To reduce O&amp;M cost overruns the contract should include language around Stress Event and Shock event </a:t>
          </a:r>
          <a:r>
            <a:rPr lang="en-US" sz="1400" b="1" i="0" dirty="0" smtClean="0">
              <a:solidFill>
                <a:schemeClr val="tx1"/>
              </a:solidFill>
            </a:rPr>
            <a:t>thresholds</a:t>
          </a:r>
          <a:r>
            <a:rPr lang="en-US" sz="1400" i="0" dirty="0" smtClean="0"/>
            <a:t> as well as </a:t>
          </a:r>
          <a:r>
            <a:rPr lang="en-US" sz="1400" b="1" i="0" dirty="0" smtClean="0">
              <a:solidFill>
                <a:schemeClr val="tx1"/>
              </a:solidFill>
            </a:rPr>
            <a:t>transfer of design risk </a:t>
          </a:r>
          <a:r>
            <a:rPr lang="en-US" sz="1400" i="0" dirty="0" smtClean="0"/>
            <a:t>to the Contractor.</a:t>
          </a:r>
          <a:endParaRPr lang="en-US" sz="1400" i="0" dirty="0">
            <a:latin typeface="+mn-lt"/>
            <a:cs typeface="Arial" panose="020B0604020202020204" pitchFamily="34" charset="0"/>
          </a:endParaRPr>
        </a:p>
      </dgm:t>
    </dgm:pt>
    <dgm:pt modelId="{B4DCB00F-54A1-47C0-A0E4-BB6C465CE742}" type="parTrans" cxnId="{45CF36AE-2FD3-447B-87FB-AE4D7AD2FB03}">
      <dgm:prSet/>
      <dgm:spPr/>
      <dgm:t>
        <a:bodyPr/>
        <a:lstStyle/>
        <a:p>
          <a:endParaRPr lang="en-US"/>
        </a:p>
      </dgm:t>
    </dgm:pt>
    <dgm:pt modelId="{ED89F502-389D-434E-88CD-6D0AB7C26BF4}" type="sibTrans" cxnId="{45CF36AE-2FD3-447B-87FB-AE4D7AD2FB03}">
      <dgm:prSet/>
      <dgm:spPr/>
      <dgm:t>
        <a:bodyPr/>
        <a:lstStyle/>
        <a:p>
          <a:endParaRPr lang="en-US"/>
        </a:p>
      </dgm:t>
    </dgm:pt>
    <dgm:pt modelId="{C245CC9E-C0EA-4877-A371-69B92322806B}" type="pres">
      <dgm:prSet presAssocID="{4384935C-C5DD-4955-981D-D9A1C7EC1578}" presName="Name0" presStyleCnt="0">
        <dgm:presLayoutVars>
          <dgm:dir/>
          <dgm:resizeHandles/>
        </dgm:presLayoutVars>
      </dgm:prSet>
      <dgm:spPr/>
      <dgm:t>
        <a:bodyPr/>
        <a:lstStyle/>
        <a:p>
          <a:endParaRPr lang="en-US"/>
        </a:p>
      </dgm:t>
    </dgm:pt>
    <dgm:pt modelId="{E75EEAC3-99F0-4FDF-835A-5E3707C98E3E}" type="pres">
      <dgm:prSet presAssocID="{B35391F9-D3C7-4C06-8A31-2F0EC3030B59}" presName="composite" presStyleCnt="0"/>
      <dgm:spPr/>
      <dgm:t>
        <a:bodyPr/>
        <a:lstStyle/>
        <a:p>
          <a:endParaRPr lang="en-US"/>
        </a:p>
      </dgm:t>
    </dgm:pt>
    <dgm:pt modelId="{B7125431-6238-4FCE-AEBA-CD584719F6C9}" type="pres">
      <dgm:prSet presAssocID="{B35391F9-D3C7-4C06-8A31-2F0EC3030B59}" presName="rect1" presStyleLbl="bgImgPlace1" presStyleIdx="0" presStyleCnt="1" custScaleY="112832" custLinFactNeighborX="41259" custLinFactNeighborY="-67164"/>
      <dgm:spPr>
        <a:prstGeom prst="ellipse">
          <a:avLst/>
        </a:prstGeom>
        <a:blipFill>
          <a:blip xmlns:r="http://schemas.openxmlformats.org/officeDocument/2006/relationships" r:embed="rId1">
            <a:duotone>
              <a:schemeClr val="accent6">
                <a:shade val="45000"/>
                <a:satMod val="135000"/>
              </a:schemeClr>
              <a:prstClr val="white"/>
            </a:duotone>
            <a:extLst>
              <a:ext uri="{28A0092B-C50C-407E-A947-70E740481C1C}">
                <a14:useLocalDpi xmlns:a14="http://schemas.microsoft.com/office/drawing/2010/main" val="0"/>
              </a:ext>
            </a:extLst>
          </a:blip>
          <a:srcRect/>
          <a:stretch>
            <a:fillRect t="-3000" b="-3000"/>
          </a:stretch>
        </a:blipFill>
      </dgm:spPr>
      <dgm:t>
        <a:bodyPr/>
        <a:lstStyle/>
        <a:p>
          <a:endParaRPr lang="en-US"/>
        </a:p>
      </dgm:t>
    </dgm:pt>
    <dgm:pt modelId="{0D0E88EA-4B09-422A-8FB1-A477460CE6A2}" type="pres">
      <dgm:prSet presAssocID="{B35391F9-D3C7-4C06-8A31-2F0EC3030B59}" presName="rect2" presStyleLbl="node1" presStyleIdx="0" presStyleCnt="1" custScaleX="184941" custScaleY="486733">
        <dgm:presLayoutVars>
          <dgm:bulletEnabled val="1"/>
        </dgm:presLayoutVars>
      </dgm:prSet>
      <dgm:spPr/>
      <dgm:t>
        <a:bodyPr/>
        <a:lstStyle/>
        <a:p>
          <a:endParaRPr lang="en-US"/>
        </a:p>
      </dgm:t>
    </dgm:pt>
  </dgm:ptLst>
  <dgm:cxnLst>
    <dgm:cxn modelId="{2E163BDF-6628-4B8C-93CF-BA4686776365}" type="presOf" srcId="{B35391F9-D3C7-4C06-8A31-2F0EC3030B59}" destId="{0D0E88EA-4B09-422A-8FB1-A477460CE6A2}" srcOrd="0" destOrd="0" presId="urn:microsoft.com/office/officeart/2008/layout/BendingPictureBlocks"/>
    <dgm:cxn modelId="{45CF36AE-2FD3-447B-87FB-AE4D7AD2FB03}" srcId="{4384935C-C5DD-4955-981D-D9A1C7EC1578}" destId="{B35391F9-D3C7-4C06-8A31-2F0EC3030B59}" srcOrd="0" destOrd="0" parTransId="{B4DCB00F-54A1-47C0-A0E4-BB6C465CE742}" sibTransId="{ED89F502-389D-434E-88CD-6D0AB7C26BF4}"/>
    <dgm:cxn modelId="{D2A7A3F5-54D7-48F0-A0C9-14D0BA44BC95}" type="presOf" srcId="{4384935C-C5DD-4955-981D-D9A1C7EC1578}" destId="{C245CC9E-C0EA-4877-A371-69B92322806B}" srcOrd="0" destOrd="0" presId="urn:microsoft.com/office/officeart/2008/layout/BendingPictureBlocks"/>
    <dgm:cxn modelId="{066EEA70-A124-4F0C-B7B0-412B170227B3}" type="presParOf" srcId="{C245CC9E-C0EA-4877-A371-69B92322806B}" destId="{E75EEAC3-99F0-4FDF-835A-5E3707C98E3E}" srcOrd="0" destOrd="0" presId="urn:microsoft.com/office/officeart/2008/layout/BendingPictureBlocks"/>
    <dgm:cxn modelId="{9E3D5ECF-03C7-4EA0-B3C8-EDD23DF4E698}" type="presParOf" srcId="{E75EEAC3-99F0-4FDF-835A-5E3707C98E3E}" destId="{B7125431-6238-4FCE-AEBA-CD584719F6C9}" srcOrd="0" destOrd="0" presId="urn:microsoft.com/office/officeart/2008/layout/BendingPictureBlocks"/>
    <dgm:cxn modelId="{BF5395A0-9D21-4EF6-8CB7-F6A68CE01821}" type="presParOf" srcId="{E75EEAC3-99F0-4FDF-835A-5E3707C98E3E}" destId="{0D0E88EA-4B09-422A-8FB1-A477460CE6A2}" srcOrd="1" destOrd="0" presId="urn:microsoft.com/office/officeart/2008/layout/BendingPicture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604341E-2E7D-485A-B15E-406B8874DB32}" type="doc">
      <dgm:prSet loTypeId="urn:microsoft.com/office/officeart/2005/8/layout/pList2" loCatId="list" qsTypeId="urn:microsoft.com/office/officeart/2005/8/quickstyle/simple2" qsCatId="simple" csTypeId="urn:microsoft.com/office/officeart/2005/8/colors/colorful1" csCatId="colorful" phldr="1"/>
      <dgm:spPr/>
      <dgm:t>
        <a:bodyPr/>
        <a:lstStyle/>
        <a:p>
          <a:endParaRPr lang="en-US"/>
        </a:p>
      </dgm:t>
    </dgm:pt>
    <dgm:pt modelId="{760DCFA8-9C40-41C1-B141-EB6606AA704F}">
      <dgm:prSet phldrT="[Text]" custT="1">
        <dgm:style>
          <a:lnRef idx="3">
            <a:schemeClr val="lt1"/>
          </a:lnRef>
          <a:fillRef idx="1">
            <a:schemeClr val="accent3"/>
          </a:fillRef>
          <a:effectRef idx="1">
            <a:schemeClr val="accent3"/>
          </a:effectRef>
          <a:fontRef idx="minor">
            <a:schemeClr val="lt1"/>
          </a:fontRef>
        </dgm:style>
      </dgm:prSet>
      <dgm:spPr/>
      <dgm:t>
        <a:bodyPr/>
        <a:lstStyle/>
        <a:p>
          <a:r>
            <a:rPr lang="en-US" sz="1600" b="1" dirty="0"/>
            <a:t>Criticality</a:t>
          </a:r>
        </a:p>
      </dgm:t>
    </dgm:pt>
    <dgm:pt modelId="{24B325EE-276F-4F21-BA8D-CA34A4971AA8}" type="parTrans" cxnId="{E8531220-2FCC-4108-AB0B-E0D5630CA4B2}">
      <dgm:prSet/>
      <dgm:spPr/>
      <dgm:t>
        <a:bodyPr/>
        <a:lstStyle/>
        <a:p>
          <a:endParaRPr lang="en-US">
            <a:solidFill>
              <a:schemeClr val="tx1"/>
            </a:solidFill>
          </a:endParaRPr>
        </a:p>
      </dgm:t>
    </dgm:pt>
    <dgm:pt modelId="{9C0C985E-B230-49B4-8567-80C56A652A97}" type="sibTrans" cxnId="{E8531220-2FCC-4108-AB0B-E0D5630CA4B2}">
      <dgm:prSet/>
      <dgm:spPr>
        <a:solidFill>
          <a:schemeClr val="tx1">
            <a:lumMod val="50000"/>
            <a:lumOff val="50000"/>
          </a:schemeClr>
        </a:solidFill>
      </dgm:spPr>
      <dgm:t>
        <a:bodyPr/>
        <a:lstStyle/>
        <a:p>
          <a:endParaRPr lang="en-US">
            <a:solidFill>
              <a:schemeClr val="tx1"/>
            </a:solidFill>
          </a:endParaRPr>
        </a:p>
      </dgm:t>
    </dgm:pt>
    <dgm:pt modelId="{8798FF24-DD41-4F3E-95C9-47FB13AFDE42}">
      <dgm:prSet phldrT="[Text]" custT="1">
        <dgm:style>
          <a:lnRef idx="3">
            <a:schemeClr val="lt1"/>
          </a:lnRef>
          <a:fillRef idx="1">
            <a:schemeClr val="accent3"/>
          </a:fillRef>
          <a:effectRef idx="1">
            <a:schemeClr val="accent3"/>
          </a:effectRef>
          <a:fontRef idx="minor">
            <a:schemeClr val="lt1"/>
          </a:fontRef>
        </dgm:style>
      </dgm:prSet>
      <dgm:spPr/>
      <dgm:t>
        <a:bodyPr/>
        <a:lstStyle/>
        <a:p>
          <a:r>
            <a:rPr lang="en-US" sz="1600" dirty="0">
              <a:latin typeface="+mn-lt"/>
              <a:cs typeface="Arial" panose="020B0604020202020204" pitchFamily="34" charset="0"/>
            </a:rPr>
            <a:t>4-Minor</a:t>
          </a:r>
        </a:p>
      </dgm:t>
    </dgm:pt>
    <dgm:pt modelId="{4145C2F7-E08C-4D92-8848-08BE15B88057}" type="parTrans" cxnId="{E5AE2F59-F234-49EA-84CC-1E37C4E5ED7C}">
      <dgm:prSet/>
      <dgm:spPr/>
      <dgm:t>
        <a:bodyPr/>
        <a:lstStyle/>
        <a:p>
          <a:endParaRPr lang="en-US">
            <a:solidFill>
              <a:schemeClr val="tx1"/>
            </a:solidFill>
          </a:endParaRPr>
        </a:p>
      </dgm:t>
    </dgm:pt>
    <dgm:pt modelId="{82199FFD-DEC5-47E0-BE09-5FA8E5A499C9}" type="sibTrans" cxnId="{E5AE2F59-F234-49EA-84CC-1E37C4E5ED7C}">
      <dgm:prSet/>
      <dgm:spPr/>
      <dgm:t>
        <a:bodyPr/>
        <a:lstStyle/>
        <a:p>
          <a:endParaRPr lang="en-US">
            <a:solidFill>
              <a:schemeClr val="tx1"/>
            </a:solidFill>
          </a:endParaRPr>
        </a:p>
      </dgm:t>
    </dgm:pt>
    <dgm:pt modelId="{B32BA0E6-1BB7-4CD7-A5D2-92AE4DF7017D}">
      <dgm:prSet phldrT="[Text]" custT="1">
        <dgm:style>
          <a:lnRef idx="3">
            <a:schemeClr val="lt1"/>
          </a:lnRef>
          <a:fillRef idx="1">
            <a:schemeClr val="accent1"/>
          </a:fillRef>
          <a:effectRef idx="1">
            <a:schemeClr val="accent1"/>
          </a:effectRef>
          <a:fontRef idx="minor">
            <a:schemeClr val="lt1"/>
          </a:fontRef>
        </dgm:style>
      </dgm:prSet>
      <dgm:spPr/>
      <dgm:t>
        <a:bodyPr/>
        <a:lstStyle/>
        <a:p>
          <a:r>
            <a:rPr lang="en-US" sz="1600" b="1" dirty="0"/>
            <a:t>Vulnerability</a:t>
          </a:r>
        </a:p>
      </dgm:t>
    </dgm:pt>
    <dgm:pt modelId="{6E5A464B-FB43-4A49-9E91-14D6E5E4AEFE}" type="parTrans" cxnId="{10B8C1A0-7E28-4D8F-84D3-6DB2CBA1F9C3}">
      <dgm:prSet/>
      <dgm:spPr/>
      <dgm:t>
        <a:bodyPr/>
        <a:lstStyle/>
        <a:p>
          <a:endParaRPr lang="en-US">
            <a:solidFill>
              <a:schemeClr val="tx1"/>
            </a:solidFill>
          </a:endParaRPr>
        </a:p>
      </dgm:t>
    </dgm:pt>
    <dgm:pt modelId="{A96729A7-8C57-41DB-BCAC-FC8BB50F3314}" type="sibTrans" cxnId="{10B8C1A0-7E28-4D8F-84D3-6DB2CBA1F9C3}">
      <dgm:prSet/>
      <dgm:spPr>
        <a:solidFill>
          <a:schemeClr val="bg2"/>
        </a:solidFill>
      </dgm:spPr>
      <dgm:t>
        <a:bodyPr/>
        <a:lstStyle/>
        <a:p>
          <a:endParaRPr lang="en-US">
            <a:solidFill>
              <a:schemeClr val="tx1"/>
            </a:solidFill>
          </a:endParaRPr>
        </a:p>
      </dgm:t>
    </dgm:pt>
    <dgm:pt modelId="{C31B3D0E-09C3-47B3-9E90-10B32D46A2D6}">
      <dgm:prSet phldrT="[Text]" custT="1">
        <dgm:style>
          <a:lnRef idx="3">
            <a:schemeClr val="lt1"/>
          </a:lnRef>
          <a:fillRef idx="1">
            <a:schemeClr val="accent1"/>
          </a:fillRef>
          <a:effectRef idx="1">
            <a:schemeClr val="accent1"/>
          </a:effectRef>
          <a:fontRef idx="minor">
            <a:schemeClr val="lt1"/>
          </a:fontRef>
        </dgm:style>
      </dgm:prSet>
      <dgm:spPr/>
      <dgm:t>
        <a:bodyPr/>
        <a:lstStyle/>
        <a:p>
          <a:r>
            <a:rPr lang="en-US" sz="1600" dirty="0" smtClean="0">
              <a:latin typeface="+mn-lt"/>
              <a:cs typeface="Arial" panose="020B0604020202020204" pitchFamily="34" charset="0"/>
            </a:rPr>
            <a:t>3-Robust</a:t>
          </a:r>
          <a:endParaRPr lang="en-US" sz="1600" dirty="0">
            <a:latin typeface="+mn-lt"/>
            <a:cs typeface="Arial" panose="020B0604020202020204" pitchFamily="34" charset="0"/>
          </a:endParaRPr>
        </a:p>
      </dgm:t>
    </dgm:pt>
    <dgm:pt modelId="{2776A89E-8D93-4E91-BBFB-680244C4F9F0}" type="parTrans" cxnId="{B5111CCB-E972-4697-A085-DF7AA2121D8E}">
      <dgm:prSet/>
      <dgm:spPr/>
      <dgm:t>
        <a:bodyPr/>
        <a:lstStyle/>
        <a:p>
          <a:endParaRPr lang="en-US">
            <a:solidFill>
              <a:schemeClr val="tx1"/>
            </a:solidFill>
          </a:endParaRPr>
        </a:p>
      </dgm:t>
    </dgm:pt>
    <dgm:pt modelId="{22422934-E52B-408A-B4BF-550F84F283B2}" type="sibTrans" cxnId="{B5111CCB-E972-4697-A085-DF7AA2121D8E}">
      <dgm:prSet/>
      <dgm:spPr/>
      <dgm:t>
        <a:bodyPr/>
        <a:lstStyle/>
        <a:p>
          <a:endParaRPr lang="en-US">
            <a:solidFill>
              <a:schemeClr val="tx1"/>
            </a:solidFill>
          </a:endParaRPr>
        </a:p>
      </dgm:t>
    </dgm:pt>
    <dgm:pt modelId="{6697F7BD-19EE-4A7B-836F-431901CB22F0}">
      <dgm:prSet phldrT="[Text]" custT="1">
        <dgm:style>
          <a:lnRef idx="3">
            <a:schemeClr val="lt1"/>
          </a:lnRef>
          <a:fillRef idx="1">
            <a:schemeClr val="accent4"/>
          </a:fillRef>
          <a:effectRef idx="1">
            <a:schemeClr val="accent4"/>
          </a:effectRef>
          <a:fontRef idx="minor">
            <a:schemeClr val="lt1"/>
          </a:fontRef>
        </dgm:style>
      </dgm:prSet>
      <dgm:spPr/>
      <dgm:t>
        <a:bodyPr/>
        <a:lstStyle/>
        <a:p>
          <a:r>
            <a:rPr lang="en-US" sz="1600" b="1" dirty="0"/>
            <a:t>Threat</a:t>
          </a:r>
        </a:p>
      </dgm:t>
    </dgm:pt>
    <dgm:pt modelId="{8FF0FB70-1960-4C7E-BC2D-E88DCEEF6AC8}" type="parTrans" cxnId="{50301861-F2B3-47BA-8DCF-6BB3E9F7E57A}">
      <dgm:prSet/>
      <dgm:spPr/>
      <dgm:t>
        <a:bodyPr/>
        <a:lstStyle/>
        <a:p>
          <a:endParaRPr lang="en-US">
            <a:solidFill>
              <a:schemeClr val="tx1"/>
            </a:solidFill>
          </a:endParaRPr>
        </a:p>
      </dgm:t>
    </dgm:pt>
    <dgm:pt modelId="{0B2B6D96-4C07-4C28-9D7C-7779A91BD602}" type="sibTrans" cxnId="{50301861-F2B3-47BA-8DCF-6BB3E9F7E57A}">
      <dgm:prSet/>
      <dgm:spPr>
        <a:solidFill>
          <a:schemeClr val="bg2"/>
        </a:solidFill>
      </dgm:spPr>
      <dgm:t>
        <a:bodyPr/>
        <a:lstStyle/>
        <a:p>
          <a:endParaRPr lang="en-US">
            <a:solidFill>
              <a:schemeClr val="tx1"/>
            </a:solidFill>
          </a:endParaRPr>
        </a:p>
      </dgm:t>
    </dgm:pt>
    <dgm:pt modelId="{A16564CC-F2E0-4448-9A59-B14DA13A6DD0}">
      <dgm:prSet phldrT="[Text]" custT="1">
        <dgm:style>
          <a:lnRef idx="3">
            <a:schemeClr val="lt1"/>
          </a:lnRef>
          <a:fillRef idx="1">
            <a:schemeClr val="accent4"/>
          </a:fillRef>
          <a:effectRef idx="1">
            <a:schemeClr val="accent4"/>
          </a:effectRef>
          <a:fontRef idx="minor">
            <a:schemeClr val="lt1"/>
          </a:fontRef>
        </dgm:style>
      </dgm:prSet>
      <dgm:spPr/>
      <dgm:t>
        <a:bodyPr/>
        <a:lstStyle/>
        <a:p>
          <a:r>
            <a:rPr lang="en-US" sz="1600" dirty="0" smtClean="0"/>
            <a:t>Exposure of the roadway's critical assets to climate impacts</a:t>
          </a:r>
          <a:endParaRPr lang="en-US" sz="1600" dirty="0"/>
        </a:p>
      </dgm:t>
    </dgm:pt>
    <dgm:pt modelId="{7F864C27-13B0-46D4-8E42-70EEF9E1E5B5}" type="parTrans" cxnId="{842D5522-0C9E-485F-A2DB-5DB01E1F33CC}">
      <dgm:prSet/>
      <dgm:spPr/>
      <dgm:t>
        <a:bodyPr/>
        <a:lstStyle/>
        <a:p>
          <a:endParaRPr lang="en-US">
            <a:solidFill>
              <a:schemeClr val="tx1"/>
            </a:solidFill>
          </a:endParaRPr>
        </a:p>
      </dgm:t>
    </dgm:pt>
    <dgm:pt modelId="{B2077809-13D6-4296-BBB4-542EE01D6847}" type="sibTrans" cxnId="{842D5522-0C9E-485F-A2DB-5DB01E1F33CC}">
      <dgm:prSet/>
      <dgm:spPr/>
      <dgm:t>
        <a:bodyPr/>
        <a:lstStyle/>
        <a:p>
          <a:endParaRPr lang="en-US">
            <a:solidFill>
              <a:schemeClr val="tx1"/>
            </a:solidFill>
          </a:endParaRPr>
        </a:p>
      </dgm:t>
    </dgm:pt>
    <dgm:pt modelId="{EFF60BA5-33BB-4A75-816C-97FC101505B9}">
      <dgm:prSet phldrT="[Text]" custT="1">
        <dgm:style>
          <a:lnRef idx="3">
            <a:schemeClr val="lt1"/>
          </a:lnRef>
          <a:fillRef idx="1">
            <a:schemeClr val="accent4"/>
          </a:fillRef>
          <a:effectRef idx="1">
            <a:schemeClr val="accent4"/>
          </a:effectRef>
          <a:fontRef idx="minor">
            <a:schemeClr val="lt1"/>
          </a:fontRef>
        </dgm:style>
      </dgm:prSet>
      <dgm:spPr/>
      <dgm:t>
        <a:bodyPr/>
        <a:lstStyle/>
        <a:p>
          <a:r>
            <a:rPr lang="en-US" sz="1600" dirty="0"/>
            <a:t>2-Possible</a:t>
          </a:r>
        </a:p>
      </dgm:t>
    </dgm:pt>
    <dgm:pt modelId="{B52722A3-808F-4F35-AB8E-E3CD42D377D5}" type="parTrans" cxnId="{77A65BB2-0D65-4595-8AE3-61C58C9A342A}">
      <dgm:prSet/>
      <dgm:spPr/>
      <dgm:t>
        <a:bodyPr/>
        <a:lstStyle/>
        <a:p>
          <a:endParaRPr lang="en-US">
            <a:solidFill>
              <a:schemeClr val="tx1"/>
            </a:solidFill>
          </a:endParaRPr>
        </a:p>
      </dgm:t>
    </dgm:pt>
    <dgm:pt modelId="{F7023CB6-240D-43C3-94B3-2F3DAFF804DA}" type="sibTrans" cxnId="{77A65BB2-0D65-4595-8AE3-61C58C9A342A}">
      <dgm:prSet/>
      <dgm:spPr/>
      <dgm:t>
        <a:bodyPr/>
        <a:lstStyle/>
        <a:p>
          <a:endParaRPr lang="en-US">
            <a:solidFill>
              <a:schemeClr val="tx1"/>
            </a:solidFill>
          </a:endParaRPr>
        </a:p>
      </dgm:t>
    </dgm:pt>
    <dgm:pt modelId="{9D7A24F4-EC39-44C9-934D-C02EDFCCB580}">
      <dgm:prSet phldrT="[Text]" custT="1">
        <dgm:style>
          <a:lnRef idx="3">
            <a:schemeClr val="lt1"/>
          </a:lnRef>
          <a:fillRef idx="1">
            <a:schemeClr val="accent3"/>
          </a:fillRef>
          <a:effectRef idx="1">
            <a:schemeClr val="accent3"/>
          </a:effectRef>
          <a:fontRef idx="minor">
            <a:schemeClr val="lt1"/>
          </a:fontRef>
        </dgm:style>
      </dgm:prSet>
      <dgm:spPr/>
      <dgm:t>
        <a:bodyPr/>
        <a:lstStyle/>
        <a:p>
          <a:r>
            <a:rPr lang="en-US" sz="1600" dirty="0">
              <a:latin typeface="+mn-lt"/>
              <a:cs typeface="Arial" panose="020B0604020202020204" pitchFamily="34" charset="0"/>
            </a:rPr>
            <a:t>2-Major</a:t>
          </a:r>
        </a:p>
      </dgm:t>
    </dgm:pt>
    <dgm:pt modelId="{F8535E46-0047-4951-9870-753588BFEA3B}" type="parTrans" cxnId="{DFCFBA4A-6853-498F-94F5-98A5878B1C71}">
      <dgm:prSet/>
      <dgm:spPr/>
      <dgm:t>
        <a:bodyPr/>
        <a:lstStyle/>
        <a:p>
          <a:endParaRPr lang="en-US">
            <a:solidFill>
              <a:schemeClr val="tx1"/>
            </a:solidFill>
          </a:endParaRPr>
        </a:p>
      </dgm:t>
    </dgm:pt>
    <dgm:pt modelId="{47B5B660-90F6-41A8-B05E-951303B7EE02}" type="sibTrans" cxnId="{DFCFBA4A-6853-498F-94F5-98A5878B1C71}">
      <dgm:prSet/>
      <dgm:spPr/>
      <dgm:t>
        <a:bodyPr/>
        <a:lstStyle/>
        <a:p>
          <a:endParaRPr lang="en-US">
            <a:solidFill>
              <a:schemeClr val="tx1"/>
            </a:solidFill>
          </a:endParaRPr>
        </a:p>
      </dgm:t>
    </dgm:pt>
    <dgm:pt modelId="{F05BF831-9A0E-4331-B6C8-F0510D8ECAFC}">
      <dgm:prSet phldrT="[Text]" custT="1">
        <dgm:style>
          <a:lnRef idx="3">
            <a:schemeClr val="lt1"/>
          </a:lnRef>
          <a:fillRef idx="1">
            <a:schemeClr val="accent3"/>
          </a:fillRef>
          <a:effectRef idx="1">
            <a:schemeClr val="accent3"/>
          </a:effectRef>
          <a:fontRef idx="minor">
            <a:schemeClr val="lt1"/>
          </a:fontRef>
        </dgm:style>
      </dgm:prSet>
      <dgm:spPr/>
      <dgm:t>
        <a:bodyPr/>
        <a:lstStyle/>
        <a:p>
          <a:r>
            <a:rPr lang="en-US" sz="1600" dirty="0">
              <a:latin typeface="+mn-lt"/>
              <a:cs typeface="Arial" panose="020B0604020202020204" pitchFamily="34" charset="0"/>
            </a:rPr>
            <a:t>3-Important</a:t>
          </a:r>
        </a:p>
      </dgm:t>
    </dgm:pt>
    <dgm:pt modelId="{2BC862D0-A42C-4C94-B831-6B48F60E64D7}" type="parTrans" cxnId="{7F5CEE0A-0904-4D4D-891B-414C928A920C}">
      <dgm:prSet/>
      <dgm:spPr/>
      <dgm:t>
        <a:bodyPr/>
        <a:lstStyle/>
        <a:p>
          <a:endParaRPr lang="en-US">
            <a:solidFill>
              <a:schemeClr val="tx1"/>
            </a:solidFill>
          </a:endParaRPr>
        </a:p>
      </dgm:t>
    </dgm:pt>
    <dgm:pt modelId="{D8C45345-5C80-430D-B116-AD940EFA5B8E}" type="sibTrans" cxnId="{7F5CEE0A-0904-4D4D-891B-414C928A920C}">
      <dgm:prSet/>
      <dgm:spPr/>
      <dgm:t>
        <a:bodyPr/>
        <a:lstStyle/>
        <a:p>
          <a:endParaRPr lang="en-US">
            <a:solidFill>
              <a:schemeClr val="tx1"/>
            </a:solidFill>
          </a:endParaRPr>
        </a:p>
      </dgm:t>
    </dgm:pt>
    <dgm:pt modelId="{8A3502C4-DBBD-4B43-90B6-81E72FD14C44}">
      <dgm:prSet phldrT="[Text]" custT="1">
        <dgm:style>
          <a:lnRef idx="3">
            <a:schemeClr val="lt1"/>
          </a:lnRef>
          <a:fillRef idx="1">
            <a:schemeClr val="accent4"/>
          </a:fillRef>
          <a:effectRef idx="1">
            <a:schemeClr val="accent4"/>
          </a:effectRef>
          <a:fontRef idx="minor">
            <a:schemeClr val="lt1"/>
          </a:fontRef>
        </dgm:style>
      </dgm:prSet>
      <dgm:spPr/>
      <dgm:t>
        <a:bodyPr/>
        <a:lstStyle/>
        <a:p>
          <a:r>
            <a:rPr lang="en-US" sz="1600" dirty="0"/>
            <a:t>3-Potential </a:t>
          </a:r>
        </a:p>
      </dgm:t>
    </dgm:pt>
    <dgm:pt modelId="{2214BEDC-37B6-482A-A888-91E2AEC6FA08}" type="parTrans" cxnId="{AE713D5F-8C0A-44D3-9750-6F6D271E50D5}">
      <dgm:prSet/>
      <dgm:spPr/>
      <dgm:t>
        <a:bodyPr/>
        <a:lstStyle/>
        <a:p>
          <a:endParaRPr lang="en-US">
            <a:solidFill>
              <a:schemeClr val="tx1"/>
            </a:solidFill>
          </a:endParaRPr>
        </a:p>
      </dgm:t>
    </dgm:pt>
    <dgm:pt modelId="{80F7AADE-EA8C-4B0D-8DED-84E477D9F6B0}" type="sibTrans" cxnId="{AE713D5F-8C0A-44D3-9750-6F6D271E50D5}">
      <dgm:prSet/>
      <dgm:spPr/>
      <dgm:t>
        <a:bodyPr/>
        <a:lstStyle/>
        <a:p>
          <a:endParaRPr lang="en-US">
            <a:solidFill>
              <a:schemeClr val="tx1"/>
            </a:solidFill>
          </a:endParaRPr>
        </a:p>
      </dgm:t>
    </dgm:pt>
    <dgm:pt modelId="{F1EC1715-66D3-4A61-974E-F427DE33AA4B}">
      <dgm:prSet phldrT="[Text]" custT="1">
        <dgm:style>
          <a:lnRef idx="3">
            <a:schemeClr val="lt1"/>
          </a:lnRef>
          <a:fillRef idx="1">
            <a:schemeClr val="accent5"/>
          </a:fillRef>
          <a:effectRef idx="1">
            <a:schemeClr val="accent5"/>
          </a:effectRef>
          <a:fontRef idx="minor">
            <a:schemeClr val="lt1"/>
          </a:fontRef>
        </dgm:style>
      </dgm:prSet>
      <dgm:spPr/>
      <dgm:t>
        <a:bodyPr/>
        <a:lstStyle/>
        <a:p>
          <a:r>
            <a:rPr lang="en-US" sz="1600" dirty="0" smtClean="0">
              <a:latin typeface="+mn-lt"/>
              <a:cs typeface="Arial" panose="020B0604020202020204" pitchFamily="34" charset="0"/>
            </a:rPr>
            <a:t>Measures to reduce costs of climate impact on roadway PBC</a:t>
          </a:r>
          <a:endParaRPr lang="en-US" sz="1600" dirty="0">
            <a:latin typeface="+mn-lt"/>
            <a:cs typeface="Arial" panose="020B0604020202020204" pitchFamily="34" charset="0"/>
          </a:endParaRPr>
        </a:p>
      </dgm:t>
    </dgm:pt>
    <dgm:pt modelId="{9055050C-B529-497C-B590-AD3B27131B0D}" type="parTrans" cxnId="{136FDC13-4414-4CCC-8203-C148F2325813}">
      <dgm:prSet/>
      <dgm:spPr/>
      <dgm:t>
        <a:bodyPr/>
        <a:lstStyle/>
        <a:p>
          <a:endParaRPr lang="en-US"/>
        </a:p>
      </dgm:t>
    </dgm:pt>
    <dgm:pt modelId="{4F47CCAE-13EE-4306-8BCD-EA5EC53891E7}" type="sibTrans" cxnId="{136FDC13-4414-4CCC-8203-C148F2325813}">
      <dgm:prSet/>
      <dgm:spPr/>
      <dgm:t>
        <a:bodyPr/>
        <a:lstStyle/>
        <a:p>
          <a:endParaRPr lang="en-US"/>
        </a:p>
      </dgm:t>
    </dgm:pt>
    <dgm:pt modelId="{6BA058A3-2669-4951-9AFC-F00FAB22ED4C}">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600" b="1" dirty="0"/>
            <a:t>Consequences</a:t>
          </a:r>
        </a:p>
      </dgm:t>
    </dgm:pt>
    <dgm:pt modelId="{A31C4FDD-A7F3-4077-B101-7A22A551432E}" type="parTrans" cxnId="{9C83C9DC-76D3-4D2E-AC30-949CFEE6E50A}">
      <dgm:prSet/>
      <dgm:spPr/>
      <dgm:t>
        <a:bodyPr/>
        <a:lstStyle/>
        <a:p>
          <a:endParaRPr lang="en-US"/>
        </a:p>
      </dgm:t>
    </dgm:pt>
    <dgm:pt modelId="{3824866A-263C-44B6-BB30-ECF254725E83}" type="sibTrans" cxnId="{9C83C9DC-76D3-4D2E-AC30-949CFEE6E50A}">
      <dgm:prSet/>
      <dgm:spPr>
        <a:solidFill>
          <a:schemeClr val="bg2"/>
        </a:solidFill>
      </dgm:spPr>
      <dgm:t>
        <a:bodyPr/>
        <a:lstStyle/>
        <a:p>
          <a:endParaRPr lang="en-US"/>
        </a:p>
      </dgm:t>
    </dgm:pt>
    <dgm:pt modelId="{8BE5014D-8FC4-4FA4-9D84-1808E8246FCB}">
      <dgm:prSet phldrT="[Text]" custT="1"/>
      <dgm:spPr/>
      <dgm:t>
        <a:bodyPr/>
        <a:lstStyle/>
        <a:p>
          <a:r>
            <a:rPr lang="en-US" sz="1600" b="1" dirty="0"/>
            <a:t>Adaptation</a:t>
          </a:r>
        </a:p>
      </dgm:t>
    </dgm:pt>
    <dgm:pt modelId="{91CE95FA-5636-4281-BF3F-5A0AB49D3E9F}" type="parTrans" cxnId="{6DAF9E95-DA5B-4C01-A9E5-41CC3109B10D}">
      <dgm:prSet/>
      <dgm:spPr/>
      <dgm:t>
        <a:bodyPr/>
        <a:lstStyle/>
        <a:p>
          <a:endParaRPr lang="en-US"/>
        </a:p>
      </dgm:t>
    </dgm:pt>
    <dgm:pt modelId="{6EEEE9BD-7C5A-4F5F-9C7D-B43D91ACD947}" type="sibTrans" cxnId="{6DAF9E95-DA5B-4C01-A9E5-41CC3109B10D}">
      <dgm:prSet/>
      <dgm:spPr/>
      <dgm:t>
        <a:bodyPr/>
        <a:lstStyle/>
        <a:p>
          <a:endParaRPr lang="en-US"/>
        </a:p>
      </dgm:t>
    </dgm:pt>
    <dgm:pt modelId="{4A382F90-ADD9-4BE7-9DC6-15E5A333E4CD}">
      <dgm:prSet phldrT="[Text]" custT="1">
        <dgm:style>
          <a:lnRef idx="3">
            <a:schemeClr val="lt1"/>
          </a:lnRef>
          <a:fillRef idx="1">
            <a:schemeClr val="accent1"/>
          </a:fillRef>
          <a:effectRef idx="1">
            <a:schemeClr val="accent1"/>
          </a:effectRef>
          <a:fontRef idx="minor">
            <a:schemeClr val="lt1"/>
          </a:fontRef>
        </dgm:style>
      </dgm:prSet>
      <dgm:spPr/>
      <dgm:t>
        <a:bodyPr/>
        <a:lstStyle/>
        <a:p>
          <a:r>
            <a:rPr lang="en-US" sz="1600" dirty="0" smtClean="0">
              <a:latin typeface="+mn-lt"/>
              <a:cs typeface="Arial" panose="020B0604020202020204" pitchFamily="34" charset="0"/>
            </a:rPr>
            <a:t>Susceptibility of the roadway asset to climate related threats</a:t>
          </a:r>
          <a:endParaRPr lang="en-US" sz="1600" dirty="0">
            <a:latin typeface="+mn-lt"/>
            <a:cs typeface="Arial" panose="020B0604020202020204" pitchFamily="34" charset="0"/>
          </a:endParaRPr>
        </a:p>
      </dgm:t>
    </dgm:pt>
    <dgm:pt modelId="{C155E88E-A50C-43CA-BFF0-0E1CB48D87A2}" type="parTrans" cxnId="{FFAD56C4-2AE0-45BC-B099-F398249A4F40}">
      <dgm:prSet/>
      <dgm:spPr/>
      <dgm:t>
        <a:bodyPr/>
        <a:lstStyle/>
        <a:p>
          <a:endParaRPr lang="en-US"/>
        </a:p>
      </dgm:t>
    </dgm:pt>
    <dgm:pt modelId="{3BA70339-F449-49C6-A044-75667321BC3E}" type="sibTrans" cxnId="{FFAD56C4-2AE0-45BC-B099-F398249A4F40}">
      <dgm:prSet/>
      <dgm:spPr/>
      <dgm:t>
        <a:bodyPr/>
        <a:lstStyle/>
        <a:p>
          <a:endParaRPr lang="en-US"/>
        </a:p>
      </dgm:t>
    </dgm:pt>
    <dgm:pt modelId="{5A6A1281-6C0C-4B16-B9B5-D4F98A25C3AE}">
      <dgm:prSet phldrT="[Text]" custT="1">
        <dgm:style>
          <a:lnRef idx="3">
            <a:schemeClr val="lt1"/>
          </a:lnRef>
          <a:fillRef idx="1">
            <a:schemeClr val="accent1"/>
          </a:fillRef>
          <a:effectRef idx="1">
            <a:schemeClr val="accent1"/>
          </a:effectRef>
          <a:fontRef idx="minor">
            <a:schemeClr val="lt1"/>
          </a:fontRef>
        </dgm:style>
      </dgm:prSet>
      <dgm:spPr/>
      <dgm:t>
        <a:bodyPr/>
        <a:lstStyle/>
        <a:p>
          <a:r>
            <a:rPr lang="en-US" sz="1600" dirty="0">
              <a:latin typeface="+mn-lt"/>
              <a:cs typeface="Arial" panose="020B0604020202020204" pitchFamily="34" charset="0"/>
            </a:rPr>
            <a:t>2-Exposed</a:t>
          </a:r>
        </a:p>
      </dgm:t>
    </dgm:pt>
    <dgm:pt modelId="{14545E1C-F6BA-4B04-B938-CF02D95BAD06}" type="parTrans" cxnId="{1D4619CF-7F2C-4D64-8884-A5B1CCA60E60}">
      <dgm:prSet/>
      <dgm:spPr/>
      <dgm:t>
        <a:bodyPr/>
        <a:lstStyle/>
        <a:p>
          <a:endParaRPr lang="en-US"/>
        </a:p>
      </dgm:t>
    </dgm:pt>
    <dgm:pt modelId="{E0A48115-6907-4C04-9E46-E38E365E5A29}" type="sibTrans" cxnId="{1D4619CF-7F2C-4D64-8884-A5B1CCA60E60}">
      <dgm:prSet/>
      <dgm:spPr/>
      <dgm:t>
        <a:bodyPr/>
        <a:lstStyle/>
        <a:p>
          <a:endParaRPr lang="en-US"/>
        </a:p>
      </dgm:t>
    </dgm:pt>
    <dgm:pt modelId="{D37B55FF-CBF1-4A6F-8920-5C3DD1BA22D6}">
      <dgm:prSet phldrT="[Text]" custT="1">
        <dgm:style>
          <a:lnRef idx="3">
            <a:schemeClr val="lt1"/>
          </a:lnRef>
          <a:fillRef idx="1">
            <a:schemeClr val="accent5"/>
          </a:fillRef>
          <a:effectRef idx="1">
            <a:schemeClr val="accent5"/>
          </a:effectRef>
          <a:fontRef idx="minor">
            <a:schemeClr val="lt1"/>
          </a:fontRef>
        </dgm:style>
      </dgm:prSet>
      <dgm:spPr/>
      <dgm:t>
        <a:bodyPr/>
        <a:lstStyle/>
        <a:p>
          <a:r>
            <a:rPr lang="en-US" sz="1600" dirty="0">
              <a:latin typeface="+mn-lt"/>
              <a:cs typeface="Arial" panose="020B0604020202020204" pitchFamily="34" charset="0"/>
            </a:rPr>
            <a:t>2-Event</a:t>
          </a:r>
        </a:p>
      </dgm:t>
    </dgm:pt>
    <dgm:pt modelId="{D5F6786C-84DF-40E5-8E8D-D8E8E7E00CB4}" type="parTrans" cxnId="{EC84803B-0DB4-4FF6-9DCB-3265CADF8137}">
      <dgm:prSet/>
      <dgm:spPr/>
      <dgm:t>
        <a:bodyPr/>
        <a:lstStyle/>
        <a:p>
          <a:endParaRPr lang="en-US"/>
        </a:p>
      </dgm:t>
    </dgm:pt>
    <dgm:pt modelId="{DEBFA03F-C444-4514-81DF-653E98534946}" type="sibTrans" cxnId="{EC84803B-0DB4-4FF6-9DCB-3265CADF8137}">
      <dgm:prSet/>
      <dgm:spPr/>
      <dgm:t>
        <a:bodyPr/>
        <a:lstStyle/>
        <a:p>
          <a:endParaRPr lang="en-US"/>
        </a:p>
      </dgm:t>
    </dgm:pt>
    <dgm:pt modelId="{E7CAE47E-60F1-4F55-A46E-EABE9B1D179B}">
      <dgm:prSet phldrT="[Text]" custT="1">
        <dgm:style>
          <a:lnRef idx="3">
            <a:schemeClr val="lt1"/>
          </a:lnRef>
          <a:fillRef idx="1">
            <a:schemeClr val="accent5"/>
          </a:fillRef>
          <a:effectRef idx="1">
            <a:schemeClr val="accent5"/>
          </a:effectRef>
          <a:fontRef idx="minor">
            <a:schemeClr val="lt1"/>
          </a:fontRef>
        </dgm:style>
      </dgm:prSet>
      <dgm:spPr/>
      <dgm:t>
        <a:bodyPr/>
        <a:lstStyle/>
        <a:p>
          <a:r>
            <a:rPr lang="en-US" sz="1600" dirty="0">
              <a:latin typeface="+mn-lt"/>
              <a:cs typeface="Arial" panose="020B0604020202020204" pitchFamily="34" charset="0"/>
            </a:rPr>
            <a:t>3-Phase</a:t>
          </a:r>
        </a:p>
      </dgm:t>
    </dgm:pt>
    <dgm:pt modelId="{B85998BC-3D88-4BA6-BA82-74EFFDE5D690}" type="parTrans" cxnId="{BAE3599E-870D-4D81-88C8-AD8D44B292F1}">
      <dgm:prSet/>
      <dgm:spPr/>
      <dgm:t>
        <a:bodyPr/>
        <a:lstStyle/>
        <a:p>
          <a:endParaRPr lang="en-US"/>
        </a:p>
      </dgm:t>
    </dgm:pt>
    <dgm:pt modelId="{31F1593C-7F9A-4F60-8D7C-41BE2165C3D5}" type="sibTrans" cxnId="{BAE3599E-870D-4D81-88C8-AD8D44B292F1}">
      <dgm:prSet/>
      <dgm:spPr/>
      <dgm:t>
        <a:bodyPr/>
        <a:lstStyle/>
        <a:p>
          <a:endParaRPr lang="en-US"/>
        </a:p>
      </dgm:t>
    </dgm:pt>
    <dgm:pt modelId="{7B6C6D70-EC7B-45B9-9989-B04168E444D5}">
      <dgm:prSet phldrT="[Text]" custT="1">
        <dgm:style>
          <a:lnRef idx="3">
            <a:schemeClr val="lt1"/>
          </a:lnRef>
          <a:fillRef idx="1">
            <a:schemeClr val="accent3"/>
          </a:fillRef>
          <a:effectRef idx="1">
            <a:schemeClr val="accent3"/>
          </a:effectRef>
          <a:fontRef idx="minor">
            <a:schemeClr val="lt1"/>
          </a:fontRef>
        </dgm:style>
      </dgm:prSet>
      <dgm:spPr/>
      <dgm:t>
        <a:bodyPr/>
        <a:lstStyle/>
        <a:p>
          <a:r>
            <a:rPr lang="en-US" sz="1600" dirty="0" smtClean="0">
              <a:latin typeface="+mn-lt"/>
              <a:cs typeface="Arial" panose="020B0604020202020204" pitchFamily="34" charset="0"/>
            </a:rPr>
            <a:t>Significance of the route to the country and economy</a:t>
          </a:r>
          <a:endParaRPr lang="en-US" sz="1600" dirty="0">
            <a:latin typeface="+mn-lt"/>
            <a:cs typeface="Arial" panose="020B0604020202020204" pitchFamily="34" charset="0"/>
          </a:endParaRPr>
        </a:p>
      </dgm:t>
    </dgm:pt>
    <dgm:pt modelId="{A6FEF652-C737-45B8-B276-3E8550CD9DCA}" type="sibTrans" cxnId="{70221943-DC1B-4EEF-9B28-C3521B6D0C87}">
      <dgm:prSet/>
      <dgm:spPr/>
      <dgm:t>
        <a:bodyPr/>
        <a:lstStyle/>
        <a:p>
          <a:endParaRPr lang="en-US">
            <a:solidFill>
              <a:schemeClr val="tx1"/>
            </a:solidFill>
          </a:endParaRPr>
        </a:p>
      </dgm:t>
    </dgm:pt>
    <dgm:pt modelId="{AE7D48D2-217A-479B-8F84-8E03822D7714}" type="parTrans" cxnId="{70221943-DC1B-4EEF-9B28-C3521B6D0C87}">
      <dgm:prSet/>
      <dgm:spPr/>
      <dgm:t>
        <a:bodyPr/>
        <a:lstStyle/>
        <a:p>
          <a:endParaRPr lang="en-US">
            <a:solidFill>
              <a:schemeClr val="tx1"/>
            </a:solidFill>
          </a:endParaRPr>
        </a:p>
      </dgm:t>
    </dgm:pt>
    <dgm:pt modelId="{EE6A3803-12DD-48E6-8E8F-5BBC6C9FB598}">
      <dgm:prSet phldrT="[Text]" custT="1">
        <dgm:style>
          <a:lnRef idx="3">
            <a:schemeClr val="lt1"/>
          </a:lnRef>
          <a:fillRef idx="1">
            <a:schemeClr val="accent3"/>
          </a:fillRef>
          <a:effectRef idx="1">
            <a:schemeClr val="accent3"/>
          </a:effectRef>
          <a:fontRef idx="minor">
            <a:schemeClr val="lt1"/>
          </a:fontRef>
        </dgm:style>
      </dgm:prSet>
      <dgm:spPr/>
      <dgm:t>
        <a:bodyPr/>
        <a:lstStyle/>
        <a:p>
          <a:endParaRPr lang="en-US" sz="1600" dirty="0">
            <a:latin typeface="+mn-lt"/>
            <a:cs typeface="Arial" panose="020B0604020202020204" pitchFamily="34" charset="0"/>
          </a:endParaRPr>
        </a:p>
      </dgm:t>
    </dgm:pt>
    <dgm:pt modelId="{265641AC-3FA4-41BB-B76A-B3BF68342ABB}" type="parTrans" cxnId="{2E25F6FA-E6DD-4437-8E4C-393EDC331EFF}">
      <dgm:prSet/>
      <dgm:spPr/>
      <dgm:t>
        <a:bodyPr/>
        <a:lstStyle/>
        <a:p>
          <a:endParaRPr lang="en-US"/>
        </a:p>
      </dgm:t>
    </dgm:pt>
    <dgm:pt modelId="{FD7D45D6-BF5E-44D9-B63E-9D8ECA0F4A0A}" type="sibTrans" cxnId="{2E25F6FA-E6DD-4437-8E4C-393EDC331EFF}">
      <dgm:prSet/>
      <dgm:spPr/>
      <dgm:t>
        <a:bodyPr/>
        <a:lstStyle/>
        <a:p>
          <a:endParaRPr lang="en-US"/>
        </a:p>
      </dgm:t>
    </dgm:pt>
    <dgm:pt modelId="{A60BAF6A-9B7E-43A0-A35E-A32998BB64C4}">
      <dgm:prSet phldrT="[Text]" custT="1">
        <dgm:style>
          <a:lnRef idx="3">
            <a:schemeClr val="lt1"/>
          </a:lnRef>
          <a:fillRef idx="1">
            <a:schemeClr val="accent4"/>
          </a:fillRef>
          <a:effectRef idx="1">
            <a:schemeClr val="accent4"/>
          </a:effectRef>
          <a:fontRef idx="minor">
            <a:schemeClr val="lt1"/>
          </a:fontRef>
        </dgm:style>
      </dgm:prSet>
      <dgm:spPr/>
      <dgm:t>
        <a:bodyPr/>
        <a:lstStyle/>
        <a:p>
          <a:endParaRPr lang="en-US" sz="1600" dirty="0"/>
        </a:p>
      </dgm:t>
    </dgm:pt>
    <dgm:pt modelId="{E6DE53C7-13DB-45DA-B2AB-F655A07F09FE}" type="parTrans" cxnId="{6F5D3967-2B90-41D6-BC12-E66B0D5B71CC}">
      <dgm:prSet/>
      <dgm:spPr/>
      <dgm:t>
        <a:bodyPr/>
        <a:lstStyle/>
        <a:p>
          <a:endParaRPr lang="en-US"/>
        </a:p>
      </dgm:t>
    </dgm:pt>
    <dgm:pt modelId="{9B74B0D1-3070-4C42-9564-CCB186CBEA71}" type="sibTrans" cxnId="{6F5D3967-2B90-41D6-BC12-E66B0D5B71CC}">
      <dgm:prSet/>
      <dgm:spPr/>
      <dgm:t>
        <a:bodyPr/>
        <a:lstStyle/>
        <a:p>
          <a:endParaRPr lang="en-US"/>
        </a:p>
      </dgm:t>
    </dgm:pt>
    <dgm:pt modelId="{97B11B0F-262F-4BCD-BF20-191C4331829F}">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600" dirty="0" smtClean="0">
              <a:latin typeface="+mn-lt"/>
            </a:rPr>
            <a:t>Impact </a:t>
          </a:r>
          <a:r>
            <a:rPr lang="en-US" sz="1600" dirty="0">
              <a:latin typeface="+mn-lt"/>
            </a:rPr>
            <a:t>of climate </a:t>
          </a:r>
          <a:r>
            <a:rPr lang="en-US" sz="1600" dirty="0" smtClean="0">
              <a:latin typeface="+mn-lt"/>
            </a:rPr>
            <a:t>threat </a:t>
          </a:r>
          <a:r>
            <a:rPr lang="en-US" sz="1600" dirty="0">
              <a:latin typeface="+mn-lt"/>
            </a:rPr>
            <a:t>on </a:t>
          </a:r>
          <a:r>
            <a:rPr lang="en-US" sz="1600" dirty="0" smtClean="0">
              <a:latin typeface="+mn-lt"/>
            </a:rPr>
            <a:t>cost of operation </a:t>
          </a:r>
          <a:r>
            <a:rPr lang="en-US" sz="1600" dirty="0">
              <a:latin typeface="+mn-lt"/>
            </a:rPr>
            <a:t>and </a:t>
          </a:r>
          <a:r>
            <a:rPr lang="en-US" sz="1600" dirty="0" smtClean="0">
              <a:latin typeface="+mn-lt"/>
            </a:rPr>
            <a:t>maintenance</a:t>
          </a:r>
          <a:endParaRPr lang="en-US" sz="1600" dirty="0">
            <a:latin typeface="+mn-lt"/>
          </a:endParaRPr>
        </a:p>
      </dgm:t>
    </dgm:pt>
    <dgm:pt modelId="{EB270746-FD75-4F5D-937F-4E8A3E11E5A8}" type="parTrans" cxnId="{A9D2F498-CB0F-4751-BC93-625A5369AD99}">
      <dgm:prSet/>
      <dgm:spPr/>
      <dgm:t>
        <a:bodyPr/>
        <a:lstStyle/>
        <a:p>
          <a:endParaRPr lang="en-US"/>
        </a:p>
      </dgm:t>
    </dgm:pt>
    <dgm:pt modelId="{54AD886C-E922-4A68-AEB2-ED8012E97553}" type="sibTrans" cxnId="{A9D2F498-CB0F-4751-BC93-625A5369AD99}">
      <dgm:prSet/>
      <dgm:spPr/>
      <dgm:t>
        <a:bodyPr/>
        <a:lstStyle/>
        <a:p>
          <a:endParaRPr lang="en-US"/>
        </a:p>
      </dgm:t>
    </dgm:pt>
    <dgm:pt modelId="{56949FA0-F276-4877-9BFF-3F35D04765FB}">
      <dgm:prSet phldrT="[Text]" custT="1">
        <dgm:style>
          <a:lnRef idx="3">
            <a:schemeClr val="lt1"/>
          </a:lnRef>
          <a:fillRef idx="1">
            <a:schemeClr val="accent3"/>
          </a:fillRef>
          <a:effectRef idx="1">
            <a:schemeClr val="accent3"/>
          </a:effectRef>
          <a:fontRef idx="minor">
            <a:schemeClr val="lt1"/>
          </a:fontRef>
        </dgm:style>
      </dgm:prSet>
      <dgm:spPr/>
      <dgm:t>
        <a:bodyPr/>
        <a:lstStyle/>
        <a:p>
          <a:r>
            <a:rPr lang="en-US" sz="1600" dirty="0" smtClean="0">
              <a:latin typeface="+mn-lt"/>
              <a:cs typeface="Arial" panose="020B0604020202020204" pitchFamily="34" charset="0"/>
            </a:rPr>
            <a:t>1-Vital</a:t>
          </a:r>
          <a:endParaRPr lang="en-US" sz="1600" dirty="0">
            <a:latin typeface="+mn-lt"/>
            <a:cs typeface="Arial" panose="020B0604020202020204" pitchFamily="34" charset="0"/>
          </a:endParaRPr>
        </a:p>
      </dgm:t>
    </dgm:pt>
    <dgm:pt modelId="{09346E9B-3F66-4304-BA25-6D578B715F35}" type="parTrans" cxnId="{6110150E-F297-4418-A145-288B8D800B5C}">
      <dgm:prSet/>
      <dgm:spPr/>
      <dgm:t>
        <a:bodyPr/>
        <a:lstStyle/>
        <a:p>
          <a:endParaRPr lang="en-US"/>
        </a:p>
      </dgm:t>
    </dgm:pt>
    <dgm:pt modelId="{892246B2-3545-4753-B235-2EB62DAE8BFA}" type="sibTrans" cxnId="{6110150E-F297-4418-A145-288B8D800B5C}">
      <dgm:prSet/>
      <dgm:spPr/>
      <dgm:t>
        <a:bodyPr/>
        <a:lstStyle/>
        <a:p>
          <a:endParaRPr lang="en-US"/>
        </a:p>
      </dgm:t>
    </dgm:pt>
    <dgm:pt modelId="{C737D842-34A9-48A8-A0FE-85A8AD91D542}">
      <dgm:prSet phldrT="[Text]" custT="1">
        <dgm:style>
          <a:lnRef idx="3">
            <a:schemeClr val="lt1"/>
          </a:lnRef>
          <a:fillRef idx="1">
            <a:schemeClr val="accent3"/>
          </a:fillRef>
          <a:effectRef idx="1">
            <a:schemeClr val="accent3"/>
          </a:effectRef>
          <a:fontRef idx="minor">
            <a:schemeClr val="lt1"/>
          </a:fontRef>
        </dgm:style>
      </dgm:prSet>
      <dgm:spPr/>
      <dgm:t>
        <a:bodyPr/>
        <a:lstStyle/>
        <a:p>
          <a:endParaRPr lang="en-US" sz="1600" dirty="0">
            <a:latin typeface="+mn-lt"/>
            <a:cs typeface="Arial" panose="020B0604020202020204" pitchFamily="34" charset="0"/>
          </a:endParaRPr>
        </a:p>
      </dgm:t>
    </dgm:pt>
    <dgm:pt modelId="{881B00F3-206E-4007-8CF0-A947675D184D}" type="parTrans" cxnId="{3C1B9E7A-4B26-4C25-9272-9969D667B486}">
      <dgm:prSet/>
      <dgm:spPr/>
      <dgm:t>
        <a:bodyPr/>
        <a:lstStyle/>
        <a:p>
          <a:endParaRPr lang="en-US"/>
        </a:p>
      </dgm:t>
    </dgm:pt>
    <dgm:pt modelId="{C64FB36D-4B40-4A03-A3CC-8A5EC705514B}" type="sibTrans" cxnId="{3C1B9E7A-4B26-4C25-9272-9969D667B486}">
      <dgm:prSet/>
      <dgm:spPr/>
      <dgm:t>
        <a:bodyPr/>
        <a:lstStyle/>
        <a:p>
          <a:endParaRPr lang="en-US"/>
        </a:p>
      </dgm:t>
    </dgm:pt>
    <dgm:pt modelId="{438D090D-F420-4C67-B9AA-F306897EF309}">
      <dgm:prSet phldrT="[Text]" custT="1">
        <dgm:style>
          <a:lnRef idx="3">
            <a:schemeClr val="lt1"/>
          </a:lnRef>
          <a:fillRef idx="1">
            <a:schemeClr val="accent1"/>
          </a:fillRef>
          <a:effectRef idx="1">
            <a:schemeClr val="accent1"/>
          </a:effectRef>
          <a:fontRef idx="minor">
            <a:schemeClr val="lt1"/>
          </a:fontRef>
        </dgm:style>
      </dgm:prSet>
      <dgm:spPr/>
      <dgm:t>
        <a:bodyPr/>
        <a:lstStyle/>
        <a:p>
          <a:r>
            <a:rPr lang="en-US" sz="1600" dirty="0" smtClean="0">
              <a:latin typeface="+mn-lt"/>
              <a:cs typeface="Arial" panose="020B0604020202020204" pitchFamily="34" charset="0"/>
            </a:rPr>
            <a:t>1-Sensitive</a:t>
          </a:r>
          <a:endParaRPr lang="en-US" sz="1600" dirty="0">
            <a:latin typeface="+mn-lt"/>
            <a:cs typeface="Arial" panose="020B0604020202020204" pitchFamily="34" charset="0"/>
          </a:endParaRPr>
        </a:p>
      </dgm:t>
    </dgm:pt>
    <dgm:pt modelId="{BC032DC8-F0DD-4806-B20A-0F906ECAC128}" type="parTrans" cxnId="{1FFD73FC-3704-4E2C-B04C-E4C595D09CB1}">
      <dgm:prSet/>
      <dgm:spPr/>
      <dgm:t>
        <a:bodyPr/>
        <a:lstStyle/>
        <a:p>
          <a:endParaRPr lang="en-US"/>
        </a:p>
      </dgm:t>
    </dgm:pt>
    <dgm:pt modelId="{38FB2C9E-26DE-4E81-A9B7-8D71B22E131B}" type="sibTrans" cxnId="{1FFD73FC-3704-4E2C-B04C-E4C595D09CB1}">
      <dgm:prSet/>
      <dgm:spPr/>
      <dgm:t>
        <a:bodyPr/>
        <a:lstStyle/>
        <a:p>
          <a:endParaRPr lang="en-US"/>
        </a:p>
      </dgm:t>
    </dgm:pt>
    <dgm:pt modelId="{0B35592D-7607-4FDF-BD07-4980852049C9}">
      <dgm:prSet phldrT="[Text]" custT="1">
        <dgm:style>
          <a:lnRef idx="3">
            <a:schemeClr val="lt1"/>
          </a:lnRef>
          <a:fillRef idx="1">
            <a:schemeClr val="accent1"/>
          </a:fillRef>
          <a:effectRef idx="1">
            <a:schemeClr val="accent1"/>
          </a:effectRef>
          <a:fontRef idx="minor">
            <a:schemeClr val="lt1"/>
          </a:fontRef>
        </dgm:style>
      </dgm:prSet>
      <dgm:spPr/>
      <dgm:t>
        <a:bodyPr/>
        <a:lstStyle/>
        <a:p>
          <a:endParaRPr lang="en-US" sz="1600" dirty="0">
            <a:latin typeface="+mn-lt"/>
            <a:cs typeface="Arial" panose="020B0604020202020204" pitchFamily="34" charset="0"/>
          </a:endParaRPr>
        </a:p>
      </dgm:t>
    </dgm:pt>
    <dgm:pt modelId="{131535FE-A1C5-4C8C-A383-2D88E329F0FF}" type="parTrans" cxnId="{CFC87BDE-D10B-450D-BBBE-BFA44FFFFBA1}">
      <dgm:prSet/>
      <dgm:spPr/>
      <dgm:t>
        <a:bodyPr/>
        <a:lstStyle/>
        <a:p>
          <a:endParaRPr lang="en-US"/>
        </a:p>
      </dgm:t>
    </dgm:pt>
    <dgm:pt modelId="{F62613BC-A362-4FDB-8046-83A6A09D5DAC}" type="sibTrans" cxnId="{CFC87BDE-D10B-450D-BBBE-BFA44FFFFBA1}">
      <dgm:prSet/>
      <dgm:spPr/>
      <dgm:t>
        <a:bodyPr/>
        <a:lstStyle/>
        <a:p>
          <a:endParaRPr lang="en-US"/>
        </a:p>
      </dgm:t>
    </dgm:pt>
    <dgm:pt modelId="{B5482B6A-3DAE-40C7-8A67-44162065DF1D}">
      <dgm:prSet phldrT="[Text]" custT="1">
        <dgm:style>
          <a:lnRef idx="3">
            <a:schemeClr val="lt1"/>
          </a:lnRef>
          <a:fillRef idx="1">
            <a:schemeClr val="accent4"/>
          </a:fillRef>
          <a:effectRef idx="1">
            <a:schemeClr val="accent4"/>
          </a:effectRef>
          <a:fontRef idx="minor">
            <a:schemeClr val="lt1"/>
          </a:fontRef>
        </dgm:style>
      </dgm:prSet>
      <dgm:spPr/>
      <dgm:t>
        <a:bodyPr/>
        <a:lstStyle/>
        <a:p>
          <a:r>
            <a:rPr lang="en-US" sz="1600" dirty="0" smtClean="0"/>
            <a:t>1-Likely </a:t>
          </a:r>
          <a:endParaRPr lang="en-US" sz="1600" dirty="0"/>
        </a:p>
      </dgm:t>
    </dgm:pt>
    <dgm:pt modelId="{B76ABC03-A24C-4197-BF32-06DAF64363C9}" type="parTrans" cxnId="{E6644C54-6786-4617-A593-5A37B8842410}">
      <dgm:prSet/>
      <dgm:spPr/>
      <dgm:t>
        <a:bodyPr/>
        <a:lstStyle/>
        <a:p>
          <a:endParaRPr lang="en-US"/>
        </a:p>
      </dgm:t>
    </dgm:pt>
    <dgm:pt modelId="{A81A34B5-C5C5-4AA3-860A-FCE75226E2F4}" type="sibTrans" cxnId="{E6644C54-6786-4617-A593-5A37B8842410}">
      <dgm:prSet/>
      <dgm:spPr/>
      <dgm:t>
        <a:bodyPr/>
        <a:lstStyle/>
        <a:p>
          <a:endParaRPr lang="en-US"/>
        </a:p>
      </dgm:t>
    </dgm:pt>
    <dgm:pt modelId="{40DE6246-CB20-427F-9381-7B7A7711D789}">
      <dgm:prSet phldrT="[Text]" custT="1">
        <dgm:style>
          <a:lnRef idx="3">
            <a:schemeClr val="lt1"/>
          </a:lnRef>
          <a:fillRef idx="1">
            <a:schemeClr val="accent4"/>
          </a:fillRef>
          <a:effectRef idx="1">
            <a:schemeClr val="accent4"/>
          </a:effectRef>
          <a:fontRef idx="minor">
            <a:schemeClr val="lt1"/>
          </a:fontRef>
        </dgm:style>
      </dgm:prSet>
      <dgm:spPr/>
      <dgm:t>
        <a:bodyPr/>
        <a:lstStyle/>
        <a:p>
          <a:endParaRPr lang="en-US" sz="1600" dirty="0"/>
        </a:p>
      </dgm:t>
    </dgm:pt>
    <dgm:pt modelId="{417B3D09-48FE-45C4-A33C-0537C6F7DE92}" type="parTrans" cxnId="{EBB6B5D7-B13F-4EBE-850B-024B44A98F28}">
      <dgm:prSet/>
      <dgm:spPr/>
      <dgm:t>
        <a:bodyPr/>
        <a:lstStyle/>
        <a:p>
          <a:endParaRPr lang="en-US"/>
        </a:p>
      </dgm:t>
    </dgm:pt>
    <dgm:pt modelId="{ADE1E160-FA7E-4D2C-BE83-16BE91EEEB17}" type="sibTrans" cxnId="{EBB6B5D7-B13F-4EBE-850B-024B44A98F28}">
      <dgm:prSet/>
      <dgm:spPr/>
      <dgm:t>
        <a:bodyPr/>
        <a:lstStyle/>
        <a:p>
          <a:endParaRPr lang="en-US"/>
        </a:p>
      </dgm:t>
    </dgm:pt>
    <dgm:pt modelId="{06A3B45F-B44B-4991-BD2B-827BEFED4930}">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600" dirty="0" smtClean="0">
              <a:latin typeface="+mn-lt"/>
            </a:rPr>
            <a:t>1-Repair Cost</a:t>
          </a:r>
          <a:endParaRPr lang="en-US" sz="1600" dirty="0">
            <a:latin typeface="+mn-lt"/>
          </a:endParaRPr>
        </a:p>
      </dgm:t>
    </dgm:pt>
    <dgm:pt modelId="{8FD684E5-717D-4294-A794-16D740451C03}" type="parTrans" cxnId="{F6AD491A-5AC1-45FC-A2C5-DED3F6E2C173}">
      <dgm:prSet/>
      <dgm:spPr/>
      <dgm:t>
        <a:bodyPr/>
        <a:lstStyle/>
        <a:p>
          <a:endParaRPr lang="en-US"/>
        </a:p>
      </dgm:t>
    </dgm:pt>
    <dgm:pt modelId="{2C0B3F9A-7D40-4F77-BC5E-6F3D20197056}" type="sibTrans" cxnId="{F6AD491A-5AC1-45FC-A2C5-DED3F6E2C173}">
      <dgm:prSet/>
      <dgm:spPr/>
      <dgm:t>
        <a:bodyPr/>
        <a:lstStyle/>
        <a:p>
          <a:endParaRPr lang="en-US"/>
        </a:p>
      </dgm:t>
    </dgm:pt>
    <dgm:pt modelId="{FBA40EDF-7EA2-4681-8003-E3404A9DF133}">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600" dirty="0" smtClean="0">
              <a:latin typeface="+mn-lt"/>
            </a:rPr>
            <a:t>2-O&amp;M Costs</a:t>
          </a:r>
          <a:endParaRPr lang="en-US" sz="1600" dirty="0">
            <a:latin typeface="+mn-lt"/>
          </a:endParaRPr>
        </a:p>
      </dgm:t>
    </dgm:pt>
    <dgm:pt modelId="{B3C82837-96A1-44C8-B41F-41D44A61B1B6}" type="parTrans" cxnId="{AC9AFD0E-B5D3-4B6A-8F58-A82DD7FE184E}">
      <dgm:prSet/>
      <dgm:spPr/>
      <dgm:t>
        <a:bodyPr/>
        <a:lstStyle/>
        <a:p>
          <a:endParaRPr lang="en-US"/>
        </a:p>
      </dgm:t>
    </dgm:pt>
    <dgm:pt modelId="{D071F845-0A42-4CE8-B73B-0B8FE06601DF}" type="sibTrans" cxnId="{AC9AFD0E-B5D3-4B6A-8F58-A82DD7FE184E}">
      <dgm:prSet/>
      <dgm:spPr/>
      <dgm:t>
        <a:bodyPr/>
        <a:lstStyle/>
        <a:p>
          <a:endParaRPr lang="en-US"/>
        </a:p>
      </dgm:t>
    </dgm:pt>
    <dgm:pt modelId="{E7E4FBDD-C513-4780-A371-A50B8D8189AD}">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600" dirty="0" smtClean="0">
              <a:latin typeface="+mn-lt"/>
            </a:rPr>
            <a:t>3-Deductions</a:t>
          </a:r>
          <a:endParaRPr lang="en-US" sz="1600" dirty="0">
            <a:latin typeface="+mn-lt"/>
          </a:endParaRPr>
        </a:p>
      </dgm:t>
    </dgm:pt>
    <dgm:pt modelId="{D2D03AA0-AB08-43DA-9095-E6AAE272FBCB}" type="parTrans" cxnId="{F89D1C6B-89B4-4C04-A7FD-DEF6201C075A}">
      <dgm:prSet/>
      <dgm:spPr/>
      <dgm:t>
        <a:bodyPr/>
        <a:lstStyle/>
        <a:p>
          <a:endParaRPr lang="en-US"/>
        </a:p>
      </dgm:t>
    </dgm:pt>
    <dgm:pt modelId="{26D5B207-E638-4D27-981C-3CF5C0D0E71D}" type="sibTrans" cxnId="{F89D1C6B-89B4-4C04-A7FD-DEF6201C075A}">
      <dgm:prSet/>
      <dgm:spPr/>
      <dgm:t>
        <a:bodyPr/>
        <a:lstStyle/>
        <a:p>
          <a:endParaRPr lang="en-US"/>
        </a:p>
      </dgm:t>
    </dgm:pt>
    <dgm:pt modelId="{5CF3F73A-9C78-4469-B52A-CC48133224F8}">
      <dgm:prSet phldrT="[Text]" custT="1">
        <dgm:style>
          <a:lnRef idx="3">
            <a:schemeClr val="lt1"/>
          </a:lnRef>
          <a:fillRef idx="1">
            <a:schemeClr val="accent2"/>
          </a:fillRef>
          <a:effectRef idx="1">
            <a:schemeClr val="accent2"/>
          </a:effectRef>
          <a:fontRef idx="minor">
            <a:schemeClr val="lt1"/>
          </a:fontRef>
        </dgm:style>
      </dgm:prSet>
      <dgm:spPr/>
      <dgm:t>
        <a:bodyPr/>
        <a:lstStyle/>
        <a:p>
          <a:endParaRPr lang="en-US" sz="1600" dirty="0">
            <a:latin typeface="+mn-lt"/>
          </a:endParaRPr>
        </a:p>
      </dgm:t>
    </dgm:pt>
    <dgm:pt modelId="{78F05EB3-1858-44EF-B2B9-93C5C3B6DCC6}" type="parTrans" cxnId="{B89476F4-E2ED-4244-970D-5AF60B541371}">
      <dgm:prSet/>
      <dgm:spPr/>
      <dgm:t>
        <a:bodyPr/>
        <a:lstStyle/>
        <a:p>
          <a:endParaRPr lang="en-US"/>
        </a:p>
      </dgm:t>
    </dgm:pt>
    <dgm:pt modelId="{AB7F2896-63EE-44D2-8452-7F314D489344}" type="sibTrans" cxnId="{B89476F4-E2ED-4244-970D-5AF60B541371}">
      <dgm:prSet/>
      <dgm:spPr/>
      <dgm:t>
        <a:bodyPr/>
        <a:lstStyle/>
        <a:p>
          <a:endParaRPr lang="en-US"/>
        </a:p>
      </dgm:t>
    </dgm:pt>
    <dgm:pt modelId="{4002CDBF-9219-4A77-AFBA-DE8F3B73131D}">
      <dgm:prSet phldrT="[Text]" custT="1">
        <dgm:style>
          <a:lnRef idx="3">
            <a:schemeClr val="lt1"/>
          </a:lnRef>
          <a:fillRef idx="1">
            <a:schemeClr val="accent5"/>
          </a:fillRef>
          <a:effectRef idx="1">
            <a:schemeClr val="accent5"/>
          </a:effectRef>
          <a:fontRef idx="minor">
            <a:schemeClr val="lt1"/>
          </a:fontRef>
        </dgm:style>
      </dgm:prSet>
      <dgm:spPr/>
      <dgm:t>
        <a:bodyPr/>
        <a:lstStyle/>
        <a:p>
          <a:r>
            <a:rPr lang="en-US" sz="1600" dirty="0" smtClean="0">
              <a:latin typeface="+mn-lt"/>
              <a:cs typeface="Arial" panose="020B0604020202020204" pitchFamily="34" charset="0"/>
            </a:rPr>
            <a:t>1-Ownership</a:t>
          </a:r>
          <a:endParaRPr lang="en-US" sz="1600" dirty="0">
            <a:latin typeface="+mn-lt"/>
            <a:cs typeface="Arial" panose="020B0604020202020204" pitchFamily="34" charset="0"/>
          </a:endParaRPr>
        </a:p>
      </dgm:t>
    </dgm:pt>
    <dgm:pt modelId="{648689B2-B552-403A-8C6A-3A5C646D17B9}" type="parTrans" cxnId="{B3ED64F0-2F58-4B84-B01C-2DDA91FBC828}">
      <dgm:prSet/>
      <dgm:spPr/>
      <dgm:t>
        <a:bodyPr/>
        <a:lstStyle/>
        <a:p>
          <a:endParaRPr lang="en-US"/>
        </a:p>
      </dgm:t>
    </dgm:pt>
    <dgm:pt modelId="{59974C4E-E2FB-436B-9CB6-91E5F435EB03}" type="sibTrans" cxnId="{B3ED64F0-2F58-4B84-B01C-2DDA91FBC828}">
      <dgm:prSet/>
      <dgm:spPr/>
      <dgm:t>
        <a:bodyPr/>
        <a:lstStyle/>
        <a:p>
          <a:endParaRPr lang="en-US"/>
        </a:p>
      </dgm:t>
    </dgm:pt>
    <dgm:pt modelId="{5B52D158-0416-4714-AF90-201FA4B2AC08}">
      <dgm:prSet phldrT="[Text]" custT="1">
        <dgm:style>
          <a:lnRef idx="3">
            <a:schemeClr val="lt1"/>
          </a:lnRef>
          <a:fillRef idx="1">
            <a:schemeClr val="accent5"/>
          </a:fillRef>
          <a:effectRef idx="1">
            <a:schemeClr val="accent5"/>
          </a:effectRef>
          <a:fontRef idx="minor">
            <a:schemeClr val="lt1"/>
          </a:fontRef>
        </dgm:style>
      </dgm:prSet>
      <dgm:spPr/>
      <dgm:t>
        <a:bodyPr/>
        <a:lstStyle/>
        <a:p>
          <a:endParaRPr lang="en-US" sz="1600" dirty="0">
            <a:latin typeface="+mn-lt"/>
            <a:cs typeface="Arial" panose="020B0604020202020204" pitchFamily="34" charset="0"/>
          </a:endParaRPr>
        </a:p>
      </dgm:t>
    </dgm:pt>
    <dgm:pt modelId="{D23E848B-DDDB-408B-B76F-F718DA362266}" type="parTrans" cxnId="{E70C6A65-F1BF-440E-99B8-469761456A2A}">
      <dgm:prSet/>
      <dgm:spPr/>
      <dgm:t>
        <a:bodyPr/>
        <a:lstStyle/>
        <a:p>
          <a:endParaRPr lang="en-US"/>
        </a:p>
      </dgm:t>
    </dgm:pt>
    <dgm:pt modelId="{D9FA0AF7-FAD6-4E7A-97FB-9D6924DB9CC8}" type="sibTrans" cxnId="{E70C6A65-F1BF-440E-99B8-469761456A2A}">
      <dgm:prSet/>
      <dgm:spPr/>
      <dgm:t>
        <a:bodyPr/>
        <a:lstStyle/>
        <a:p>
          <a:endParaRPr lang="en-US"/>
        </a:p>
      </dgm:t>
    </dgm:pt>
    <dgm:pt modelId="{652C75D0-3CBA-4F02-9F87-95623AD5E1F7}" type="pres">
      <dgm:prSet presAssocID="{6604341E-2E7D-485A-B15E-406B8874DB32}" presName="Name0" presStyleCnt="0">
        <dgm:presLayoutVars>
          <dgm:dir/>
          <dgm:resizeHandles val="exact"/>
        </dgm:presLayoutVars>
      </dgm:prSet>
      <dgm:spPr/>
      <dgm:t>
        <a:bodyPr/>
        <a:lstStyle/>
        <a:p>
          <a:endParaRPr lang="en-US"/>
        </a:p>
      </dgm:t>
    </dgm:pt>
    <dgm:pt modelId="{6F0D437E-6A24-447C-90D9-C10FEE2982F6}" type="pres">
      <dgm:prSet presAssocID="{6604341E-2E7D-485A-B15E-406B8874DB32}" presName="bkgdShp" presStyleLbl="alignAccFollowNode1" presStyleIdx="0" presStyleCnt="1" custLinFactNeighborX="689"/>
      <dgm:spPr>
        <a:prstGeom prst="rightArrow">
          <a:avLst/>
        </a:prstGeom>
        <a:solidFill>
          <a:schemeClr val="bg2">
            <a:lumMod val="20000"/>
            <a:lumOff val="80000"/>
            <a:alpha val="90000"/>
          </a:schemeClr>
        </a:solidFill>
        <a:ln>
          <a:solidFill>
            <a:schemeClr val="tx2">
              <a:lumMod val="75000"/>
              <a:alpha val="90000"/>
            </a:schemeClr>
          </a:solidFill>
        </a:ln>
      </dgm:spPr>
    </dgm:pt>
    <dgm:pt modelId="{16C283C2-CDFE-4093-BE27-495F9E2E293E}" type="pres">
      <dgm:prSet presAssocID="{6604341E-2E7D-485A-B15E-406B8874DB32}" presName="linComp" presStyleCnt="0"/>
      <dgm:spPr/>
    </dgm:pt>
    <dgm:pt modelId="{8250C4D1-A831-46EB-9E29-0990358D9EFE}" type="pres">
      <dgm:prSet presAssocID="{760DCFA8-9C40-41C1-B141-EB6606AA704F}" presName="compNode" presStyleCnt="0"/>
      <dgm:spPr/>
    </dgm:pt>
    <dgm:pt modelId="{903A09E8-03B0-487E-8A03-998ACF6775C0}" type="pres">
      <dgm:prSet presAssocID="{760DCFA8-9C40-41C1-B141-EB6606AA704F}" presName="node" presStyleLbl="node1" presStyleIdx="0" presStyleCnt="5">
        <dgm:presLayoutVars>
          <dgm:bulletEnabled val="1"/>
        </dgm:presLayoutVars>
      </dgm:prSet>
      <dgm:spPr/>
      <dgm:t>
        <a:bodyPr/>
        <a:lstStyle/>
        <a:p>
          <a:endParaRPr lang="en-US"/>
        </a:p>
      </dgm:t>
    </dgm:pt>
    <dgm:pt modelId="{F2365310-C4F6-4BB6-8A8F-7B9297FF8EEF}" type="pres">
      <dgm:prSet presAssocID="{760DCFA8-9C40-41C1-B141-EB6606AA704F}" presName="invisiNode" presStyleLbl="node1" presStyleIdx="0" presStyleCnt="5"/>
      <dgm:spPr/>
    </dgm:pt>
    <dgm:pt modelId="{E33123F2-E6E1-4D61-8F4C-05EE3847D438}" type="pres">
      <dgm:prSet presAssocID="{760DCFA8-9C40-41C1-B141-EB6606AA704F}" presName="imagNode" presStyleLbl="fgImgPlace1" presStyleIdx="0" presStyleCnt="5"/>
      <dgm:spPr>
        <a:prstGeom prst="ellipse">
          <a:avLst/>
        </a:prstGeom>
        <a:blipFill>
          <a:blip xmlns:r="http://schemas.openxmlformats.org/officeDocument/2006/relationships" r:embed="rId1"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dgm:spPr>
      <dgm:t>
        <a:bodyPr/>
        <a:lstStyle/>
        <a:p>
          <a:endParaRPr lang="en-US"/>
        </a:p>
      </dgm:t>
    </dgm:pt>
    <dgm:pt modelId="{5EE19CDF-2BA4-4C86-8A3F-77856AF520F4}" type="pres">
      <dgm:prSet presAssocID="{9C0C985E-B230-49B4-8567-80C56A652A97}" presName="sibTrans" presStyleLbl="sibTrans2D1" presStyleIdx="0" presStyleCnt="0"/>
      <dgm:spPr/>
      <dgm:t>
        <a:bodyPr/>
        <a:lstStyle/>
        <a:p>
          <a:endParaRPr lang="en-US"/>
        </a:p>
      </dgm:t>
    </dgm:pt>
    <dgm:pt modelId="{A33CD16E-73D9-40D6-B4A6-22A44AB9E6A8}" type="pres">
      <dgm:prSet presAssocID="{B32BA0E6-1BB7-4CD7-A5D2-92AE4DF7017D}" presName="compNode" presStyleCnt="0"/>
      <dgm:spPr/>
    </dgm:pt>
    <dgm:pt modelId="{84B17AF6-E434-447B-AF12-B762E9C27CC5}" type="pres">
      <dgm:prSet presAssocID="{B32BA0E6-1BB7-4CD7-A5D2-92AE4DF7017D}" presName="node" presStyleLbl="node1" presStyleIdx="1" presStyleCnt="5">
        <dgm:presLayoutVars>
          <dgm:bulletEnabled val="1"/>
        </dgm:presLayoutVars>
      </dgm:prSet>
      <dgm:spPr/>
      <dgm:t>
        <a:bodyPr/>
        <a:lstStyle/>
        <a:p>
          <a:endParaRPr lang="en-US"/>
        </a:p>
      </dgm:t>
    </dgm:pt>
    <dgm:pt modelId="{0706F6D2-B52E-4C69-A3BF-F5376F6CD9B5}" type="pres">
      <dgm:prSet presAssocID="{B32BA0E6-1BB7-4CD7-A5D2-92AE4DF7017D}" presName="invisiNode" presStyleLbl="node1" presStyleIdx="1" presStyleCnt="5"/>
      <dgm:spPr/>
    </dgm:pt>
    <dgm:pt modelId="{13A4E003-D412-4542-A9CC-C4158624C846}" type="pres">
      <dgm:prSet presAssocID="{B32BA0E6-1BB7-4CD7-A5D2-92AE4DF7017D}" presName="imagNode" presStyleLbl="fgImgPlace1" presStyleIdx="1" presStyleCnt="5"/>
      <dgm:spPr>
        <a:prstGeom prst="ellipse">
          <a:avLst/>
        </a:prstGeom>
        <a:blipFill>
          <a:blip xmlns:r="http://schemas.openxmlformats.org/officeDocument/2006/relationships"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colorTemperature colorTemp="4700"/>
                    </a14:imgEffect>
                    <a14:imgEffect>
                      <a14:saturation sat="0"/>
                    </a14:imgEffect>
                  </a14:imgLayer>
                </a14:imgProps>
              </a:ext>
              <a:ext uri="{28A0092B-C50C-407E-A947-70E740481C1C}">
                <a14:useLocalDpi xmlns:a14="http://schemas.microsoft.com/office/drawing/2010/main" val="0"/>
              </a:ext>
            </a:extLst>
          </a:blip>
          <a:srcRect/>
          <a:stretch>
            <a:fillRect/>
          </a:stretch>
        </a:blipFill>
      </dgm:spPr>
      <dgm:t>
        <a:bodyPr/>
        <a:lstStyle/>
        <a:p>
          <a:endParaRPr lang="en-US"/>
        </a:p>
      </dgm:t>
    </dgm:pt>
    <dgm:pt modelId="{0F572B1C-1B9E-4091-BD90-FA48B3EF254A}" type="pres">
      <dgm:prSet presAssocID="{A96729A7-8C57-41DB-BCAC-FC8BB50F3314}" presName="sibTrans" presStyleLbl="sibTrans2D1" presStyleIdx="0" presStyleCnt="0"/>
      <dgm:spPr/>
      <dgm:t>
        <a:bodyPr/>
        <a:lstStyle/>
        <a:p>
          <a:endParaRPr lang="en-US"/>
        </a:p>
      </dgm:t>
    </dgm:pt>
    <dgm:pt modelId="{E16CE19C-25F1-4CDD-A26A-45FEA27D418C}" type="pres">
      <dgm:prSet presAssocID="{6697F7BD-19EE-4A7B-836F-431901CB22F0}" presName="compNode" presStyleCnt="0"/>
      <dgm:spPr/>
    </dgm:pt>
    <dgm:pt modelId="{DC2C9AA9-AC39-4680-97EB-A80A74AE2DD8}" type="pres">
      <dgm:prSet presAssocID="{6697F7BD-19EE-4A7B-836F-431901CB22F0}" presName="node" presStyleLbl="node1" presStyleIdx="2" presStyleCnt="5">
        <dgm:presLayoutVars>
          <dgm:bulletEnabled val="1"/>
        </dgm:presLayoutVars>
      </dgm:prSet>
      <dgm:spPr/>
      <dgm:t>
        <a:bodyPr/>
        <a:lstStyle/>
        <a:p>
          <a:endParaRPr lang="en-US"/>
        </a:p>
      </dgm:t>
    </dgm:pt>
    <dgm:pt modelId="{D1B441C7-5E01-42B9-8919-43A00B892DE9}" type="pres">
      <dgm:prSet presAssocID="{6697F7BD-19EE-4A7B-836F-431901CB22F0}" presName="invisiNode" presStyleLbl="node1" presStyleIdx="2" presStyleCnt="5"/>
      <dgm:spPr/>
    </dgm:pt>
    <dgm:pt modelId="{53E898A2-94A1-4789-8B97-C3244E7272D1}" type="pres">
      <dgm:prSet presAssocID="{6697F7BD-19EE-4A7B-836F-431901CB22F0}" presName="imagNode" presStyleLbl="fgImgPlace1" presStyleIdx="2" presStyleCnt="5"/>
      <dgm:spPr>
        <a:prstGeom prst="ellipse">
          <a:avLst/>
        </a:prstGeom>
        <a:blipFill>
          <a:blip xmlns:r="http://schemas.openxmlformats.org/officeDocument/2006/relationships" r:embed="rId4"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a:blipFill>
      </dgm:spPr>
      <dgm:t>
        <a:bodyPr/>
        <a:lstStyle/>
        <a:p>
          <a:endParaRPr lang="en-US"/>
        </a:p>
      </dgm:t>
    </dgm:pt>
    <dgm:pt modelId="{8FD27FC0-4AC2-446E-829E-D8B898F86BD7}" type="pres">
      <dgm:prSet presAssocID="{0B2B6D96-4C07-4C28-9D7C-7779A91BD602}" presName="sibTrans" presStyleLbl="sibTrans2D1" presStyleIdx="0" presStyleCnt="0"/>
      <dgm:spPr/>
      <dgm:t>
        <a:bodyPr/>
        <a:lstStyle/>
        <a:p>
          <a:endParaRPr lang="en-US"/>
        </a:p>
      </dgm:t>
    </dgm:pt>
    <dgm:pt modelId="{0704C070-A8AB-4933-978D-8C4F93F477FF}" type="pres">
      <dgm:prSet presAssocID="{6BA058A3-2669-4951-9AFC-F00FAB22ED4C}" presName="compNode" presStyleCnt="0"/>
      <dgm:spPr/>
    </dgm:pt>
    <dgm:pt modelId="{55048FC2-FED9-4AA1-B060-AA31FC5E4FBD}" type="pres">
      <dgm:prSet presAssocID="{6BA058A3-2669-4951-9AFC-F00FAB22ED4C}" presName="node" presStyleLbl="node1" presStyleIdx="3" presStyleCnt="5">
        <dgm:presLayoutVars>
          <dgm:bulletEnabled val="1"/>
        </dgm:presLayoutVars>
      </dgm:prSet>
      <dgm:spPr/>
      <dgm:t>
        <a:bodyPr/>
        <a:lstStyle/>
        <a:p>
          <a:endParaRPr lang="en-US"/>
        </a:p>
      </dgm:t>
    </dgm:pt>
    <dgm:pt modelId="{2C227456-DB73-41EE-BAB6-20CDE8AC2AE3}" type="pres">
      <dgm:prSet presAssocID="{6BA058A3-2669-4951-9AFC-F00FAB22ED4C}" presName="invisiNode" presStyleLbl="node1" presStyleIdx="3" presStyleCnt="5"/>
      <dgm:spPr/>
    </dgm:pt>
    <dgm:pt modelId="{E36ECD51-0FF2-42F0-AECA-05CAF31C0653}" type="pres">
      <dgm:prSet presAssocID="{6BA058A3-2669-4951-9AFC-F00FAB22ED4C}" presName="imagNode" presStyleLbl="fgImgPlace1" presStyleIdx="3" presStyleCnt="5"/>
      <dgm:spPr>
        <a:prstGeom prst="ellipse">
          <a:avLst/>
        </a:prstGeom>
        <a:blipFill>
          <a:blip xmlns:r="http://schemas.openxmlformats.org/officeDocument/2006/relationships"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a:blipFill>
      </dgm:spPr>
      <dgm:t>
        <a:bodyPr/>
        <a:lstStyle/>
        <a:p>
          <a:endParaRPr lang="en-US"/>
        </a:p>
      </dgm:t>
    </dgm:pt>
    <dgm:pt modelId="{904B04CA-6D62-44DB-A24E-EE5ABFCE4540}" type="pres">
      <dgm:prSet presAssocID="{3824866A-263C-44B6-BB30-ECF254725E83}" presName="sibTrans" presStyleLbl="sibTrans2D1" presStyleIdx="0" presStyleCnt="0"/>
      <dgm:spPr/>
      <dgm:t>
        <a:bodyPr/>
        <a:lstStyle/>
        <a:p>
          <a:endParaRPr lang="en-US"/>
        </a:p>
      </dgm:t>
    </dgm:pt>
    <dgm:pt modelId="{B494C9C5-0145-49BF-B2AA-F2B852EAE88A}" type="pres">
      <dgm:prSet presAssocID="{8BE5014D-8FC4-4FA4-9D84-1808E8246FCB}" presName="compNode" presStyleCnt="0"/>
      <dgm:spPr/>
    </dgm:pt>
    <dgm:pt modelId="{2758BFCB-4E73-4B58-8AFF-6930C28B9A6B}" type="pres">
      <dgm:prSet presAssocID="{8BE5014D-8FC4-4FA4-9D84-1808E8246FCB}" presName="node" presStyleLbl="node1" presStyleIdx="4" presStyleCnt="5">
        <dgm:presLayoutVars>
          <dgm:bulletEnabled val="1"/>
        </dgm:presLayoutVars>
      </dgm:prSet>
      <dgm:spPr/>
      <dgm:t>
        <a:bodyPr/>
        <a:lstStyle/>
        <a:p>
          <a:endParaRPr lang="en-US"/>
        </a:p>
      </dgm:t>
    </dgm:pt>
    <dgm:pt modelId="{B85CB98B-D9E0-4C79-852F-9AA8BCF14011}" type="pres">
      <dgm:prSet presAssocID="{8BE5014D-8FC4-4FA4-9D84-1808E8246FCB}" presName="invisiNode" presStyleLbl="node1" presStyleIdx="4" presStyleCnt="5"/>
      <dgm:spPr/>
    </dgm:pt>
    <dgm:pt modelId="{650FB216-63A1-45D3-B1B2-0EF1618D5018}" type="pres">
      <dgm:prSet presAssocID="{8BE5014D-8FC4-4FA4-9D84-1808E8246FCB}" presName="imagNode" presStyleLbl="fgImgPlace1" presStyleIdx="4" presStyleCnt="5"/>
      <dgm:spPr>
        <a:prstGeom prst="ellipse">
          <a:avLst/>
        </a:prstGeom>
        <a:blipFill>
          <a:blip xmlns:r="http://schemas.openxmlformats.org/officeDocument/2006/relationships" r:embed="rId6">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a:blipFill>
      </dgm:spPr>
      <dgm:t>
        <a:bodyPr/>
        <a:lstStyle/>
        <a:p>
          <a:endParaRPr lang="en-US"/>
        </a:p>
      </dgm:t>
    </dgm:pt>
  </dgm:ptLst>
  <dgm:cxnLst>
    <dgm:cxn modelId="{DFCFBA4A-6853-498F-94F5-98A5878B1C71}" srcId="{760DCFA8-9C40-41C1-B141-EB6606AA704F}" destId="{9D7A24F4-EC39-44C9-934D-C02EDFCCB580}" srcOrd="3" destOrd="0" parTransId="{F8535E46-0047-4951-9870-753588BFEA3B}" sibTransId="{47B5B660-90F6-41A8-B05E-951303B7EE02}"/>
    <dgm:cxn modelId="{C3804AA7-457C-40A9-AB4A-4D0FCFC92318}" type="presOf" srcId="{D37B55FF-CBF1-4A6F-8920-5C3DD1BA22D6}" destId="{2758BFCB-4E73-4B58-8AFF-6930C28B9A6B}" srcOrd="0" destOrd="4" presId="urn:microsoft.com/office/officeart/2005/8/layout/pList2"/>
    <dgm:cxn modelId="{E5AE2F59-F234-49EA-84CC-1E37C4E5ED7C}" srcId="{760DCFA8-9C40-41C1-B141-EB6606AA704F}" destId="{8798FF24-DD41-4F3E-95C9-47FB13AFDE42}" srcOrd="5" destOrd="0" parTransId="{4145C2F7-E08C-4D92-8848-08BE15B88057}" sibTransId="{82199FFD-DEC5-47E0-BE09-5FA8E5A499C9}"/>
    <dgm:cxn modelId="{AC9AFD0E-B5D3-4B6A-8F58-A82DD7FE184E}" srcId="{6BA058A3-2669-4951-9AFC-F00FAB22ED4C}" destId="{FBA40EDF-7EA2-4681-8003-E3404A9DF133}" srcOrd="3" destOrd="0" parTransId="{B3C82837-96A1-44C8-B41F-41D44A61B1B6}" sibTransId="{D071F845-0A42-4CE8-B73B-0B8FE06601DF}"/>
    <dgm:cxn modelId="{70221943-DC1B-4EEF-9B28-C3521B6D0C87}" srcId="{760DCFA8-9C40-41C1-B141-EB6606AA704F}" destId="{7B6C6D70-EC7B-45B9-9989-B04168E444D5}" srcOrd="0" destOrd="0" parTransId="{AE7D48D2-217A-479B-8F84-8E03822D7714}" sibTransId="{A6FEF652-C737-45B8-B276-3E8550CD9DCA}"/>
    <dgm:cxn modelId="{6110150E-F297-4418-A145-288B8D800B5C}" srcId="{760DCFA8-9C40-41C1-B141-EB6606AA704F}" destId="{56949FA0-F276-4877-9BFF-3F35D04765FB}" srcOrd="2" destOrd="0" parTransId="{09346E9B-3F66-4304-BA25-6D578B715F35}" sibTransId="{892246B2-3545-4753-B235-2EB62DAE8BFA}"/>
    <dgm:cxn modelId="{F57BD20C-00B7-4375-B876-9A581567591F}" type="presOf" srcId="{9C0C985E-B230-49B4-8567-80C56A652A97}" destId="{5EE19CDF-2BA4-4C86-8A3F-77856AF520F4}" srcOrd="0" destOrd="0" presId="urn:microsoft.com/office/officeart/2005/8/layout/pList2"/>
    <dgm:cxn modelId="{999078DF-FA27-4609-8426-C29F09EC5208}" type="presOf" srcId="{B32BA0E6-1BB7-4CD7-A5D2-92AE4DF7017D}" destId="{84B17AF6-E434-447B-AF12-B762E9C27CC5}" srcOrd="0" destOrd="0" presId="urn:microsoft.com/office/officeart/2005/8/layout/pList2"/>
    <dgm:cxn modelId="{E8531220-2FCC-4108-AB0B-E0D5630CA4B2}" srcId="{6604341E-2E7D-485A-B15E-406B8874DB32}" destId="{760DCFA8-9C40-41C1-B141-EB6606AA704F}" srcOrd="0" destOrd="0" parTransId="{24B325EE-276F-4F21-BA8D-CA34A4971AA8}" sibTransId="{9C0C985E-B230-49B4-8567-80C56A652A97}"/>
    <dgm:cxn modelId="{AB6BAE36-D963-4142-A5E2-8E370DC2C79A}" type="presOf" srcId="{4A382F90-ADD9-4BE7-9DC6-15E5A333E4CD}" destId="{84B17AF6-E434-447B-AF12-B762E9C27CC5}" srcOrd="0" destOrd="1" presId="urn:microsoft.com/office/officeart/2005/8/layout/pList2"/>
    <dgm:cxn modelId="{F6AD491A-5AC1-45FC-A2C5-DED3F6E2C173}" srcId="{6BA058A3-2669-4951-9AFC-F00FAB22ED4C}" destId="{06A3B45F-B44B-4991-BD2B-827BEFED4930}" srcOrd="2" destOrd="0" parTransId="{8FD684E5-717D-4294-A794-16D740451C03}" sibTransId="{2C0B3F9A-7D40-4F77-BC5E-6F3D20197056}"/>
    <dgm:cxn modelId="{EBB6B5D7-B13F-4EBE-850B-024B44A98F28}" srcId="{6697F7BD-19EE-4A7B-836F-431901CB22F0}" destId="{40DE6246-CB20-427F-9381-7B7A7711D789}" srcOrd="1" destOrd="0" parTransId="{417B3D09-48FE-45C4-A33C-0537C6F7DE92}" sibTransId="{ADE1E160-FA7E-4D2C-BE83-16BE91EEEB17}"/>
    <dgm:cxn modelId="{2A567E44-B27E-4959-85B1-63476EDB4E99}" type="presOf" srcId="{4002CDBF-9219-4A77-AFBA-DE8F3B73131D}" destId="{2758BFCB-4E73-4B58-8AFF-6930C28B9A6B}" srcOrd="0" destOrd="3" presId="urn:microsoft.com/office/officeart/2005/8/layout/pList2"/>
    <dgm:cxn modelId="{31D4804F-BC08-461C-8C01-AA52C3A74C91}" type="presOf" srcId="{5CF3F73A-9C78-4469-B52A-CC48133224F8}" destId="{55048FC2-FED9-4AA1-B060-AA31FC5E4FBD}" srcOrd="0" destOrd="2" presId="urn:microsoft.com/office/officeart/2005/8/layout/pList2"/>
    <dgm:cxn modelId="{6F5D3967-2B90-41D6-BC12-E66B0D5B71CC}" srcId="{6697F7BD-19EE-4A7B-836F-431901CB22F0}" destId="{A60BAF6A-9B7E-43A0-A35E-A32998BB64C4}" srcOrd="5" destOrd="0" parTransId="{E6DE53C7-13DB-45DA-B2AB-F655A07F09FE}" sibTransId="{9B74B0D1-3070-4C42-9564-CCB186CBEA71}"/>
    <dgm:cxn modelId="{B89476F4-E2ED-4244-970D-5AF60B541371}" srcId="{6BA058A3-2669-4951-9AFC-F00FAB22ED4C}" destId="{5CF3F73A-9C78-4469-B52A-CC48133224F8}" srcOrd="1" destOrd="0" parTransId="{78F05EB3-1858-44EF-B2B9-93C5C3B6DCC6}" sibTransId="{AB7F2896-63EE-44D2-8452-7F314D489344}"/>
    <dgm:cxn modelId="{1FFD73FC-3704-4E2C-B04C-E4C595D09CB1}" srcId="{B32BA0E6-1BB7-4CD7-A5D2-92AE4DF7017D}" destId="{438D090D-F420-4C67-B9AA-F306897EF309}" srcOrd="2" destOrd="0" parTransId="{BC032DC8-F0DD-4806-B20A-0F906ECAC128}" sibTransId="{38FB2C9E-26DE-4E81-A9B7-8D71B22E131B}"/>
    <dgm:cxn modelId="{BAE3599E-870D-4D81-88C8-AD8D44B292F1}" srcId="{8BE5014D-8FC4-4FA4-9D84-1808E8246FCB}" destId="{E7CAE47E-60F1-4F55-A46E-EABE9B1D179B}" srcOrd="4" destOrd="0" parTransId="{B85998BC-3D88-4BA6-BA82-74EFFDE5D690}" sibTransId="{31F1593C-7F9A-4F60-8D7C-41BE2165C3D5}"/>
    <dgm:cxn modelId="{4FF63D1A-28D2-400C-8618-BA19B59A03A8}" type="presOf" srcId="{FBA40EDF-7EA2-4681-8003-E3404A9DF133}" destId="{55048FC2-FED9-4AA1-B060-AA31FC5E4FBD}" srcOrd="0" destOrd="4" presId="urn:microsoft.com/office/officeart/2005/8/layout/pList2"/>
    <dgm:cxn modelId="{10B8C1A0-7E28-4D8F-84D3-6DB2CBA1F9C3}" srcId="{6604341E-2E7D-485A-B15E-406B8874DB32}" destId="{B32BA0E6-1BB7-4CD7-A5D2-92AE4DF7017D}" srcOrd="1" destOrd="0" parTransId="{6E5A464B-FB43-4A49-9E91-14D6E5E4AEFE}" sibTransId="{A96729A7-8C57-41DB-BCAC-FC8BB50F3314}"/>
    <dgm:cxn modelId="{4239045B-E847-4986-BFC2-9BA40422B94B}" type="presOf" srcId="{0B35592D-7607-4FDF-BD07-4980852049C9}" destId="{84B17AF6-E434-447B-AF12-B762E9C27CC5}" srcOrd="0" destOrd="2" presId="urn:microsoft.com/office/officeart/2005/8/layout/pList2"/>
    <dgm:cxn modelId="{F89D1C6B-89B4-4C04-A7FD-DEF6201C075A}" srcId="{6BA058A3-2669-4951-9AFC-F00FAB22ED4C}" destId="{E7E4FBDD-C513-4780-A371-A50B8D8189AD}" srcOrd="4" destOrd="0" parTransId="{D2D03AA0-AB08-43DA-9095-E6AAE272FBCB}" sibTransId="{26D5B207-E638-4D27-981C-3CF5C0D0E71D}"/>
    <dgm:cxn modelId="{B3ED64F0-2F58-4B84-B01C-2DDA91FBC828}" srcId="{8BE5014D-8FC4-4FA4-9D84-1808E8246FCB}" destId="{4002CDBF-9219-4A77-AFBA-DE8F3B73131D}" srcOrd="2" destOrd="0" parTransId="{648689B2-B552-403A-8C6A-3A5C646D17B9}" sibTransId="{59974C4E-E2FB-436B-9CB6-91E5F435EB03}"/>
    <dgm:cxn modelId="{6DAF9E95-DA5B-4C01-A9E5-41CC3109B10D}" srcId="{6604341E-2E7D-485A-B15E-406B8874DB32}" destId="{8BE5014D-8FC4-4FA4-9D84-1808E8246FCB}" srcOrd="4" destOrd="0" parTransId="{91CE95FA-5636-4281-BF3F-5A0AB49D3E9F}" sibTransId="{6EEEE9BD-7C5A-4F5F-9C7D-B43D91ACD947}"/>
    <dgm:cxn modelId="{136FDC13-4414-4CCC-8203-C148F2325813}" srcId="{8BE5014D-8FC4-4FA4-9D84-1808E8246FCB}" destId="{F1EC1715-66D3-4A61-974E-F427DE33AA4B}" srcOrd="0" destOrd="0" parTransId="{9055050C-B529-497C-B590-AD3B27131B0D}" sibTransId="{4F47CCAE-13EE-4306-8BCD-EA5EC53891E7}"/>
    <dgm:cxn modelId="{AE713D5F-8C0A-44D3-9750-6F6D271E50D5}" srcId="{6697F7BD-19EE-4A7B-836F-431901CB22F0}" destId="{8A3502C4-DBBD-4B43-90B6-81E72FD14C44}" srcOrd="4" destOrd="0" parTransId="{2214BEDC-37B6-482A-A888-91E2AEC6FA08}" sibTransId="{80F7AADE-EA8C-4B0D-8DED-84E477D9F6B0}"/>
    <dgm:cxn modelId="{ECBB0A30-9613-4455-A022-A9ED663F78DA}" type="presOf" srcId="{6604341E-2E7D-485A-B15E-406B8874DB32}" destId="{652C75D0-3CBA-4F02-9F87-95623AD5E1F7}" srcOrd="0" destOrd="0" presId="urn:microsoft.com/office/officeart/2005/8/layout/pList2"/>
    <dgm:cxn modelId="{7669B3A0-E3C7-4718-87ED-B12F14FF2D5E}" type="presOf" srcId="{E7E4FBDD-C513-4780-A371-A50B8D8189AD}" destId="{55048FC2-FED9-4AA1-B060-AA31FC5E4FBD}" srcOrd="0" destOrd="5" presId="urn:microsoft.com/office/officeart/2005/8/layout/pList2"/>
    <dgm:cxn modelId="{F997F880-1909-4BEE-990F-2AD9DB31AF96}" type="presOf" srcId="{F05BF831-9A0E-4331-B6C8-F0510D8ECAFC}" destId="{903A09E8-03B0-487E-8A03-998ACF6775C0}" srcOrd="0" destOrd="5" presId="urn:microsoft.com/office/officeart/2005/8/layout/pList2"/>
    <dgm:cxn modelId="{6440D5A1-6C08-467F-864B-CB510050D1C2}" type="presOf" srcId="{438D090D-F420-4C67-B9AA-F306897EF309}" destId="{84B17AF6-E434-447B-AF12-B762E9C27CC5}" srcOrd="0" destOrd="3" presId="urn:microsoft.com/office/officeart/2005/8/layout/pList2"/>
    <dgm:cxn modelId="{E70C6A65-F1BF-440E-99B8-469761456A2A}" srcId="{8BE5014D-8FC4-4FA4-9D84-1808E8246FCB}" destId="{5B52D158-0416-4714-AF90-201FA4B2AC08}" srcOrd="1" destOrd="0" parTransId="{D23E848B-DDDB-408B-B76F-F718DA362266}" sibTransId="{D9FA0AF7-FAD6-4E7A-97FB-9D6924DB9CC8}"/>
    <dgm:cxn modelId="{CD27EC35-BE44-4DF9-9E0E-BD0D15AF6177}" type="presOf" srcId="{56949FA0-F276-4877-9BFF-3F35D04765FB}" destId="{903A09E8-03B0-487E-8A03-998ACF6775C0}" srcOrd="0" destOrd="3" presId="urn:microsoft.com/office/officeart/2005/8/layout/pList2"/>
    <dgm:cxn modelId="{CAA0FFA3-12A6-45CD-A91B-426A4057E31D}" type="presOf" srcId="{0B2B6D96-4C07-4C28-9D7C-7779A91BD602}" destId="{8FD27FC0-4AC2-446E-829E-D8B898F86BD7}" srcOrd="0" destOrd="0" presId="urn:microsoft.com/office/officeart/2005/8/layout/pList2"/>
    <dgm:cxn modelId="{7F5CEE0A-0904-4D4D-891B-414C928A920C}" srcId="{760DCFA8-9C40-41C1-B141-EB6606AA704F}" destId="{F05BF831-9A0E-4331-B6C8-F0510D8ECAFC}" srcOrd="4" destOrd="0" parTransId="{2BC862D0-A42C-4C94-B831-6B48F60E64D7}" sibTransId="{D8C45345-5C80-430D-B116-AD940EFA5B8E}"/>
    <dgm:cxn modelId="{3A4E7DAF-F178-4124-8CB3-19EBF1FD52DF}" type="presOf" srcId="{8A3502C4-DBBD-4B43-90B6-81E72FD14C44}" destId="{DC2C9AA9-AC39-4680-97EB-A80A74AE2DD8}" srcOrd="0" destOrd="5" presId="urn:microsoft.com/office/officeart/2005/8/layout/pList2"/>
    <dgm:cxn modelId="{DF03C2E7-2121-4C4D-BC4E-D4587669E8F3}" type="presOf" srcId="{6697F7BD-19EE-4A7B-836F-431901CB22F0}" destId="{DC2C9AA9-AC39-4680-97EB-A80A74AE2DD8}" srcOrd="0" destOrd="0" presId="urn:microsoft.com/office/officeart/2005/8/layout/pList2"/>
    <dgm:cxn modelId="{248399D0-0569-4AC0-9894-FE136EEF1B9C}" type="presOf" srcId="{B5482B6A-3DAE-40C7-8A67-44162065DF1D}" destId="{DC2C9AA9-AC39-4680-97EB-A80A74AE2DD8}" srcOrd="0" destOrd="3" presId="urn:microsoft.com/office/officeart/2005/8/layout/pList2"/>
    <dgm:cxn modelId="{8015692E-6EFD-4364-89D3-09BF8549CF7A}" type="presOf" srcId="{40DE6246-CB20-427F-9381-7B7A7711D789}" destId="{DC2C9AA9-AC39-4680-97EB-A80A74AE2DD8}" srcOrd="0" destOrd="2" presId="urn:microsoft.com/office/officeart/2005/8/layout/pList2"/>
    <dgm:cxn modelId="{FFAD56C4-2AE0-45BC-B099-F398249A4F40}" srcId="{B32BA0E6-1BB7-4CD7-A5D2-92AE4DF7017D}" destId="{4A382F90-ADD9-4BE7-9DC6-15E5A333E4CD}" srcOrd="0" destOrd="0" parTransId="{C155E88E-A50C-43CA-BFF0-0E1CB48D87A2}" sibTransId="{3BA70339-F449-49C6-A044-75667321BC3E}"/>
    <dgm:cxn modelId="{59F2F7FE-9B73-4D28-A8E1-2D417BD8C0F9}" type="presOf" srcId="{EFF60BA5-33BB-4A75-816C-97FC101505B9}" destId="{DC2C9AA9-AC39-4680-97EB-A80A74AE2DD8}" srcOrd="0" destOrd="4" presId="urn:microsoft.com/office/officeart/2005/8/layout/pList2"/>
    <dgm:cxn modelId="{17FC6FDB-8292-47E3-A34A-F9AC301F3515}" type="presOf" srcId="{A60BAF6A-9B7E-43A0-A35E-A32998BB64C4}" destId="{DC2C9AA9-AC39-4680-97EB-A80A74AE2DD8}" srcOrd="0" destOrd="6" presId="urn:microsoft.com/office/officeart/2005/8/layout/pList2"/>
    <dgm:cxn modelId="{E0E77E4D-4008-484A-8D65-FA988C9C535F}" type="presOf" srcId="{97B11B0F-262F-4BCD-BF20-191C4331829F}" destId="{55048FC2-FED9-4AA1-B060-AA31FC5E4FBD}" srcOrd="0" destOrd="1" presId="urn:microsoft.com/office/officeart/2005/8/layout/pList2"/>
    <dgm:cxn modelId="{2A93607C-22E1-4495-9347-63A4207A6F98}" type="presOf" srcId="{7B6C6D70-EC7B-45B9-9989-B04168E444D5}" destId="{903A09E8-03B0-487E-8A03-998ACF6775C0}" srcOrd="0" destOrd="1" presId="urn:microsoft.com/office/officeart/2005/8/layout/pList2"/>
    <dgm:cxn modelId="{50301861-F2B3-47BA-8DCF-6BB3E9F7E57A}" srcId="{6604341E-2E7D-485A-B15E-406B8874DB32}" destId="{6697F7BD-19EE-4A7B-836F-431901CB22F0}" srcOrd="2" destOrd="0" parTransId="{8FF0FB70-1960-4C7E-BC2D-E88DCEEF6AC8}" sibTransId="{0B2B6D96-4C07-4C28-9D7C-7779A91BD602}"/>
    <dgm:cxn modelId="{B5111CCB-E972-4697-A085-DF7AA2121D8E}" srcId="{B32BA0E6-1BB7-4CD7-A5D2-92AE4DF7017D}" destId="{C31B3D0E-09C3-47B3-9E90-10B32D46A2D6}" srcOrd="4" destOrd="0" parTransId="{2776A89E-8D93-4E91-BBFB-680244C4F9F0}" sibTransId="{22422934-E52B-408A-B4BF-550F84F283B2}"/>
    <dgm:cxn modelId="{08BD2060-8DBA-42F7-ACF7-05D6E47D0B2C}" type="presOf" srcId="{3824866A-263C-44B6-BB30-ECF254725E83}" destId="{904B04CA-6D62-44DB-A24E-EE5ABFCE4540}" srcOrd="0" destOrd="0" presId="urn:microsoft.com/office/officeart/2005/8/layout/pList2"/>
    <dgm:cxn modelId="{F710F9A3-6C11-4205-870B-D188C184FBF2}" type="presOf" srcId="{C737D842-34A9-48A8-A0FE-85A8AD91D542}" destId="{903A09E8-03B0-487E-8A03-998ACF6775C0}" srcOrd="0" destOrd="2" presId="urn:microsoft.com/office/officeart/2005/8/layout/pList2"/>
    <dgm:cxn modelId="{468D073F-A57B-4574-8F00-04F1161F4FFB}" type="presOf" srcId="{5B52D158-0416-4714-AF90-201FA4B2AC08}" destId="{2758BFCB-4E73-4B58-8AFF-6930C28B9A6B}" srcOrd="0" destOrd="2" presId="urn:microsoft.com/office/officeart/2005/8/layout/pList2"/>
    <dgm:cxn modelId="{8697F067-23AB-4AFD-A134-6C5B0F2778C3}" type="presOf" srcId="{6BA058A3-2669-4951-9AFC-F00FAB22ED4C}" destId="{55048FC2-FED9-4AA1-B060-AA31FC5E4FBD}" srcOrd="0" destOrd="0" presId="urn:microsoft.com/office/officeart/2005/8/layout/pList2"/>
    <dgm:cxn modelId="{C05E3C9E-3566-4581-8F1F-F8BFCA6A5B04}" type="presOf" srcId="{9D7A24F4-EC39-44C9-934D-C02EDFCCB580}" destId="{903A09E8-03B0-487E-8A03-998ACF6775C0}" srcOrd="0" destOrd="4" presId="urn:microsoft.com/office/officeart/2005/8/layout/pList2"/>
    <dgm:cxn modelId="{CFC87BDE-D10B-450D-BBBE-BFA44FFFFBA1}" srcId="{B32BA0E6-1BB7-4CD7-A5D2-92AE4DF7017D}" destId="{0B35592D-7607-4FDF-BD07-4980852049C9}" srcOrd="1" destOrd="0" parTransId="{131535FE-A1C5-4C8C-A383-2D88E329F0FF}" sibTransId="{F62613BC-A362-4FDB-8046-83A6A09D5DAC}"/>
    <dgm:cxn modelId="{7715CF1F-246A-4ED8-A5D4-5AF11CA8876C}" type="presOf" srcId="{5A6A1281-6C0C-4B16-B9B5-D4F98A25C3AE}" destId="{84B17AF6-E434-447B-AF12-B762E9C27CC5}" srcOrd="0" destOrd="4" presId="urn:microsoft.com/office/officeart/2005/8/layout/pList2"/>
    <dgm:cxn modelId="{8F10C700-8F5C-4EC6-ACD3-9E1E2C019750}" type="presOf" srcId="{A16564CC-F2E0-4448-9A59-B14DA13A6DD0}" destId="{DC2C9AA9-AC39-4680-97EB-A80A74AE2DD8}" srcOrd="0" destOrd="1" presId="urn:microsoft.com/office/officeart/2005/8/layout/pList2"/>
    <dgm:cxn modelId="{1D4619CF-7F2C-4D64-8884-A5B1CCA60E60}" srcId="{B32BA0E6-1BB7-4CD7-A5D2-92AE4DF7017D}" destId="{5A6A1281-6C0C-4B16-B9B5-D4F98A25C3AE}" srcOrd="3" destOrd="0" parTransId="{14545E1C-F6BA-4B04-B938-CF02D95BAD06}" sibTransId="{E0A48115-6907-4C04-9E46-E38E365E5A29}"/>
    <dgm:cxn modelId="{D2C8A7AA-FF2A-4400-AE87-CE6FEF051504}" type="presOf" srcId="{EE6A3803-12DD-48E6-8E8F-5BBC6C9FB598}" destId="{903A09E8-03B0-487E-8A03-998ACF6775C0}" srcOrd="0" destOrd="7" presId="urn:microsoft.com/office/officeart/2005/8/layout/pList2"/>
    <dgm:cxn modelId="{3C618B8E-E10D-44EE-9FB6-6DC910AC646B}" type="presOf" srcId="{760DCFA8-9C40-41C1-B141-EB6606AA704F}" destId="{903A09E8-03B0-487E-8A03-998ACF6775C0}" srcOrd="0" destOrd="0" presId="urn:microsoft.com/office/officeart/2005/8/layout/pList2"/>
    <dgm:cxn modelId="{EDCEA8EB-44E7-4CF9-BFC5-6B5163EC1BF8}" type="presOf" srcId="{F1EC1715-66D3-4A61-974E-F427DE33AA4B}" destId="{2758BFCB-4E73-4B58-8AFF-6930C28B9A6B}" srcOrd="0" destOrd="1" presId="urn:microsoft.com/office/officeart/2005/8/layout/pList2"/>
    <dgm:cxn modelId="{EDA9A451-818D-4591-8689-F06DC0E25B21}" type="presOf" srcId="{8BE5014D-8FC4-4FA4-9D84-1808E8246FCB}" destId="{2758BFCB-4E73-4B58-8AFF-6930C28B9A6B}" srcOrd="0" destOrd="0" presId="urn:microsoft.com/office/officeart/2005/8/layout/pList2"/>
    <dgm:cxn modelId="{A9D2F498-CB0F-4751-BC93-625A5369AD99}" srcId="{6BA058A3-2669-4951-9AFC-F00FAB22ED4C}" destId="{97B11B0F-262F-4BCD-BF20-191C4331829F}" srcOrd="0" destOrd="0" parTransId="{EB270746-FD75-4F5D-937F-4E8A3E11E5A8}" sibTransId="{54AD886C-E922-4A68-AEB2-ED8012E97553}"/>
    <dgm:cxn modelId="{7684AC3E-ADAB-485D-BE13-C3BA1739847F}" type="presOf" srcId="{E7CAE47E-60F1-4F55-A46E-EABE9B1D179B}" destId="{2758BFCB-4E73-4B58-8AFF-6930C28B9A6B}" srcOrd="0" destOrd="5" presId="urn:microsoft.com/office/officeart/2005/8/layout/pList2"/>
    <dgm:cxn modelId="{9C83C9DC-76D3-4D2E-AC30-949CFEE6E50A}" srcId="{6604341E-2E7D-485A-B15E-406B8874DB32}" destId="{6BA058A3-2669-4951-9AFC-F00FAB22ED4C}" srcOrd="3" destOrd="0" parTransId="{A31C4FDD-A7F3-4077-B101-7A22A551432E}" sibTransId="{3824866A-263C-44B6-BB30-ECF254725E83}"/>
    <dgm:cxn modelId="{718CC566-5A1C-4856-936D-289C302317D5}" type="presOf" srcId="{C31B3D0E-09C3-47B3-9E90-10B32D46A2D6}" destId="{84B17AF6-E434-447B-AF12-B762E9C27CC5}" srcOrd="0" destOrd="5" presId="urn:microsoft.com/office/officeart/2005/8/layout/pList2"/>
    <dgm:cxn modelId="{E6644C54-6786-4617-A593-5A37B8842410}" srcId="{6697F7BD-19EE-4A7B-836F-431901CB22F0}" destId="{B5482B6A-3DAE-40C7-8A67-44162065DF1D}" srcOrd="2" destOrd="0" parTransId="{B76ABC03-A24C-4197-BF32-06DAF64363C9}" sibTransId="{A81A34B5-C5C5-4AA3-860A-FCE75226E2F4}"/>
    <dgm:cxn modelId="{2E25F6FA-E6DD-4437-8E4C-393EDC331EFF}" srcId="{760DCFA8-9C40-41C1-B141-EB6606AA704F}" destId="{EE6A3803-12DD-48E6-8E8F-5BBC6C9FB598}" srcOrd="6" destOrd="0" parTransId="{265641AC-3FA4-41BB-B76A-B3BF68342ABB}" sibTransId="{FD7D45D6-BF5E-44D9-B63E-9D8ECA0F4A0A}"/>
    <dgm:cxn modelId="{842D5522-0C9E-485F-A2DB-5DB01E1F33CC}" srcId="{6697F7BD-19EE-4A7B-836F-431901CB22F0}" destId="{A16564CC-F2E0-4448-9A59-B14DA13A6DD0}" srcOrd="0" destOrd="0" parTransId="{7F864C27-13B0-46D4-8E42-70EEF9E1E5B5}" sibTransId="{B2077809-13D6-4296-BBB4-542EE01D6847}"/>
    <dgm:cxn modelId="{4078CACE-395E-4EC4-B28A-B4AD23DFA927}" type="presOf" srcId="{8798FF24-DD41-4F3E-95C9-47FB13AFDE42}" destId="{903A09E8-03B0-487E-8A03-998ACF6775C0}" srcOrd="0" destOrd="6" presId="urn:microsoft.com/office/officeart/2005/8/layout/pList2"/>
    <dgm:cxn modelId="{CB300FE8-0BB4-4F73-AB05-95078BC07E4B}" type="presOf" srcId="{A96729A7-8C57-41DB-BCAC-FC8BB50F3314}" destId="{0F572B1C-1B9E-4091-BD90-FA48B3EF254A}" srcOrd="0" destOrd="0" presId="urn:microsoft.com/office/officeart/2005/8/layout/pList2"/>
    <dgm:cxn modelId="{51DE2AF1-DA50-4C58-BB53-D4D6A63DE15D}" type="presOf" srcId="{06A3B45F-B44B-4991-BD2B-827BEFED4930}" destId="{55048FC2-FED9-4AA1-B060-AA31FC5E4FBD}" srcOrd="0" destOrd="3" presId="urn:microsoft.com/office/officeart/2005/8/layout/pList2"/>
    <dgm:cxn modelId="{3C1B9E7A-4B26-4C25-9272-9969D667B486}" srcId="{760DCFA8-9C40-41C1-B141-EB6606AA704F}" destId="{C737D842-34A9-48A8-A0FE-85A8AD91D542}" srcOrd="1" destOrd="0" parTransId="{881B00F3-206E-4007-8CF0-A947675D184D}" sibTransId="{C64FB36D-4B40-4A03-A3CC-8A5EC705514B}"/>
    <dgm:cxn modelId="{EC84803B-0DB4-4FF6-9DCB-3265CADF8137}" srcId="{8BE5014D-8FC4-4FA4-9D84-1808E8246FCB}" destId="{D37B55FF-CBF1-4A6F-8920-5C3DD1BA22D6}" srcOrd="3" destOrd="0" parTransId="{D5F6786C-84DF-40E5-8E8D-D8E8E7E00CB4}" sibTransId="{DEBFA03F-C444-4514-81DF-653E98534946}"/>
    <dgm:cxn modelId="{77A65BB2-0D65-4595-8AE3-61C58C9A342A}" srcId="{6697F7BD-19EE-4A7B-836F-431901CB22F0}" destId="{EFF60BA5-33BB-4A75-816C-97FC101505B9}" srcOrd="3" destOrd="0" parTransId="{B52722A3-808F-4F35-AB8E-E3CD42D377D5}" sibTransId="{F7023CB6-240D-43C3-94B3-2F3DAFF804DA}"/>
    <dgm:cxn modelId="{36D2F8FB-2416-41EE-A78B-9E978358DC6E}" type="presParOf" srcId="{652C75D0-3CBA-4F02-9F87-95623AD5E1F7}" destId="{6F0D437E-6A24-447C-90D9-C10FEE2982F6}" srcOrd="0" destOrd="0" presId="urn:microsoft.com/office/officeart/2005/8/layout/pList2"/>
    <dgm:cxn modelId="{7CC30EFB-E60E-4BA6-BA2B-3F2A19165447}" type="presParOf" srcId="{652C75D0-3CBA-4F02-9F87-95623AD5E1F7}" destId="{16C283C2-CDFE-4093-BE27-495F9E2E293E}" srcOrd="1" destOrd="0" presId="urn:microsoft.com/office/officeart/2005/8/layout/pList2"/>
    <dgm:cxn modelId="{49CB2A95-0112-452D-B10A-3BC0E9EFC216}" type="presParOf" srcId="{16C283C2-CDFE-4093-BE27-495F9E2E293E}" destId="{8250C4D1-A831-46EB-9E29-0990358D9EFE}" srcOrd="0" destOrd="0" presId="urn:microsoft.com/office/officeart/2005/8/layout/pList2"/>
    <dgm:cxn modelId="{716737AF-9ECD-4B7A-BC17-5A9C04938969}" type="presParOf" srcId="{8250C4D1-A831-46EB-9E29-0990358D9EFE}" destId="{903A09E8-03B0-487E-8A03-998ACF6775C0}" srcOrd="0" destOrd="0" presId="urn:microsoft.com/office/officeart/2005/8/layout/pList2"/>
    <dgm:cxn modelId="{81E118C8-F810-4182-BB66-5B1943704503}" type="presParOf" srcId="{8250C4D1-A831-46EB-9E29-0990358D9EFE}" destId="{F2365310-C4F6-4BB6-8A8F-7B9297FF8EEF}" srcOrd="1" destOrd="0" presId="urn:microsoft.com/office/officeart/2005/8/layout/pList2"/>
    <dgm:cxn modelId="{F4719AA0-6D79-4004-8309-4CA9E47DCB1A}" type="presParOf" srcId="{8250C4D1-A831-46EB-9E29-0990358D9EFE}" destId="{E33123F2-E6E1-4D61-8F4C-05EE3847D438}" srcOrd="2" destOrd="0" presId="urn:microsoft.com/office/officeart/2005/8/layout/pList2"/>
    <dgm:cxn modelId="{B4E11C8D-BF79-4823-B98C-B62C56A01B36}" type="presParOf" srcId="{16C283C2-CDFE-4093-BE27-495F9E2E293E}" destId="{5EE19CDF-2BA4-4C86-8A3F-77856AF520F4}" srcOrd="1" destOrd="0" presId="urn:microsoft.com/office/officeart/2005/8/layout/pList2"/>
    <dgm:cxn modelId="{281BB0E6-CA71-487E-81E4-D77A271A9041}" type="presParOf" srcId="{16C283C2-CDFE-4093-BE27-495F9E2E293E}" destId="{A33CD16E-73D9-40D6-B4A6-22A44AB9E6A8}" srcOrd="2" destOrd="0" presId="urn:microsoft.com/office/officeart/2005/8/layout/pList2"/>
    <dgm:cxn modelId="{78B8573D-7156-4BAC-A277-A657C5071537}" type="presParOf" srcId="{A33CD16E-73D9-40D6-B4A6-22A44AB9E6A8}" destId="{84B17AF6-E434-447B-AF12-B762E9C27CC5}" srcOrd="0" destOrd="0" presId="urn:microsoft.com/office/officeart/2005/8/layout/pList2"/>
    <dgm:cxn modelId="{C442F92F-07F3-4914-8632-7BD0DAF9111A}" type="presParOf" srcId="{A33CD16E-73D9-40D6-B4A6-22A44AB9E6A8}" destId="{0706F6D2-B52E-4C69-A3BF-F5376F6CD9B5}" srcOrd="1" destOrd="0" presId="urn:microsoft.com/office/officeart/2005/8/layout/pList2"/>
    <dgm:cxn modelId="{A0F8E500-8031-40D6-B7B3-231627234C32}" type="presParOf" srcId="{A33CD16E-73D9-40D6-B4A6-22A44AB9E6A8}" destId="{13A4E003-D412-4542-A9CC-C4158624C846}" srcOrd="2" destOrd="0" presId="urn:microsoft.com/office/officeart/2005/8/layout/pList2"/>
    <dgm:cxn modelId="{4EF1329F-2DAB-498E-A0DA-93DAD2C96CB3}" type="presParOf" srcId="{16C283C2-CDFE-4093-BE27-495F9E2E293E}" destId="{0F572B1C-1B9E-4091-BD90-FA48B3EF254A}" srcOrd="3" destOrd="0" presId="urn:microsoft.com/office/officeart/2005/8/layout/pList2"/>
    <dgm:cxn modelId="{AF1351E4-BF91-4F22-AEA9-3A1A0A891451}" type="presParOf" srcId="{16C283C2-CDFE-4093-BE27-495F9E2E293E}" destId="{E16CE19C-25F1-4CDD-A26A-45FEA27D418C}" srcOrd="4" destOrd="0" presId="urn:microsoft.com/office/officeart/2005/8/layout/pList2"/>
    <dgm:cxn modelId="{59688319-5A7E-4B35-B76C-76A0649ABAFD}" type="presParOf" srcId="{E16CE19C-25F1-4CDD-A26A-45FEA27D418C}" destId="{DC2C9AA9-AC39-4680-97EB-A80A74AE2DD8}" srcOrd="0" destOrd="0" presId="urn:microsoft.com/office/officeart/2005/8/layout/pList2"/>
    <dgm:cxn modelId="{57773214-E3C0-40BE-A658-5B73B20C8A9E}" type="presParOf" srcId="{E16CE19C-25F1-4CDD-A26A-45FEA27D418C}" destId="{D1B441C7-5E01-42B9-8919-43A00B892DE9}" srcOrd="1" destOrd="0" presId="urn:microsoft.com/office/officeart/2005/8/layout/pList2"/>
    <dgm:cxn modelId="{71B3D22F-82E0-4E3F-9C79-EF692CD7ED5A}" type="presParOf" srcId="{E16CE19C-25F1-4CDD-A26A-45FEA27D418C}" destId="{53E898A2-94A1-4789-8B97-C3244E7272D1}" srcOrd="2" destOrd="0" presId="urn:microsoft.com/office/officeart/2005/8/layout/pList2"/>
    <dgm:cxn modelId="{B98F0ED0-ACCF-4D2B-8671-E4216DCC6A45}" type="presParOf" srcId="{16C283C2-CDFE-4093-BE27-495F9E2E293E}" destId="{8FD27FC0-4AC2-446E-829E-D8B898F86BD7}" srcOrd="5" destOrd="0" presId="urn:microsoft.com/office/officeart/2005/8/layout/pList2"/>
    <dgm:cxn modelId="{EF4F935D-F025-4AE3-83F2-87EE7A132AB6}" type="presParOf" srcId="{16C283C2-CDFE-4093-BE27-495F9E2E293E}" destId="{0704C070-A8AB-4933-978D-8C4F93F477FF}" srcOrd="6" destOrd="0" presId="urn:microsoft.com/office/officeart/2005/8/layout/pList2"/>
    <dgm:cxn modelId="{9FE9EFF0-6633-44D9-9282-5AC48194476E}" type="presParOf" srcId="{0704C070-A8AB-4933-978D-8C4F93F477FF}" destId="{55048FC2-FED9-4AA1-B060-AA31FC5E4FBD}" srcOrd="0" destOrd="0" presId="urn:microsoft.com/office/officeart/2005/8/layout/pList2"/>
    <dgm:cxn modelId="{18ED4811-FCCD-4998-8B35-BCF942EB8EFC}" type="presParOf" srcId="{0704C070-A8AB-4933-978D-8C4F93F477FF}" destId="{2C227456-DB73-41EE-BAB6-20CDE8AC2AE3}" srcOrd="1" destOrd="0" presId="urn:microsoft.com/office/officeart/2005/8/layout/pList2"/>
    <dgm:cxn modelId="{1FEBA78B-0642-455B-AA28-57C18CA995BB}" type="presParOf" srcId="{0704C070-A8AB-4933-978D-8C4F93F477FF}" destId="{E36ECD51-0FF2-42F0-AECA-05CAF31C0653}" srcOrd="2" destOrd="0" presId="urn:microsoft.com/office/officeart/2005/8/layout/pList2"/>
    <dgm:cxn modelId="{917EC4C5-436C-4407-A664-3592A5473BBD}" type="presParOf" srcId="{16C283C2-CDFE-4093-BE27-495F9E2E293E}" destId="{904B04CA-6D62-44DB-A24E-EE5ABFCE4540}" srcOrd="7" destOrd="0" presId="urn:microsoft.com/office/officeart/2005/8/layout/pList2"/>
    <dgm:cxn modelId="{4760730A-D6B4-435B-8E21-B74867878220}" type="presParOf" srcId="{16C283C2-CDFE-4093-BE27-495F9E2E293E}" destId="{B494C9C5-0145-49BF-B2AA-F2B852EAE88A}" srcOrd="8" destOrd="0" presId="urn:microsoft.com/office/officeart/2005/8/layout/pList2"/>
    <dgm:cxn modelId="{05C95E4F-F488-4280-9296-DEB73F4267B3}" type="presParOf" srcId="{B494C9C5-0145-49BF-B2AA-F2B852EAE88A}" destId="{2758BFCB-4E73-4B58-8AFF-6930C28B9A6B}" srcOrd="0" destOrd="0" presId="urn:microsoft.com/office/officeart/2005/8/layout/pList2"/>
    <dgm:cxn modelId="{153DD50A-5251-482A-8FA7-D1DA5AE8E9C2}" type="presParOf" srcId="{B494C9C5-0145-49BF-B2AA-F2B852EAE88A}" destId="{B85CB98B-D9E0-4C79-852F-9AA8BCF14011}" srcOrd="1" destOrd="0" presId="urn:microsoft.com/office/officeart/2005/8/layout/pList2"/>
    <dgm:cxn modelId="{9FF85337-9996-48EC-9EA6-0B9339D72DD8}" type="presParOf" srcId="{B494C9C5-0145-49BF-B2AA-F2B852EAE88A}" destId="{650FB216-63A1-45D3-B1B2-0EF1618D5018}"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0.xml><?xml version="1.0" encoding="utf-8"?>
<dgm:dataModel xmlns:dgm="http://schemas.openxmlformats.org/drawingml/2006/diagram" xmlns:a="http://schemas.openxmlformats.org/drawingml/2006/main">
  <dgm:ptLst>
    <dgm:pt modelId="{6F68A551-7E43-408A-B317-B66459EA04D9}" type="doc">
      <dgm:prSet loTypeId="urn:microsoft.com/office/officeart/2005/8/layout/lProcess2" loCatId="list" qsTypeId="urn:microsoft.com/office/officeart/2005/8/quickstyle/simple1" qsCatId="simple" csTypeId="urn:microsoft.com/office/officeart/2005/8/colors/accent6_2" csCatId="accent6" phldr="1"/>
      <dgm:spPr/>
      <dgm:t>
        <a:bodyPr/>
        <a:lstStyle/>
        <a:p>
          <a:endParaRPr lang="en-US"/>
        </a:p>
      </dgm:t>
    </dgm:pt>
    <dgm:pt modelId="{3F3F95B3-9EEB-48B0-9B79-C84406B165FC}">
      <dgm:prSet phldrT="[Text]"/>
      <dgm:spPr>
        <a:xfrm>
          <a:off x="742376" y="968662"/>
          <a:ext cx="1295036" cy="415688"/>
        </a:xfrm>
      </dgm:spPr>
      <dgm:t>
        <a:bodyPr/>
        <a:lstStyle/>
        <a:p>
          <a:r>
            <a:rPr lang="en-US" b="1">
              <a:latin typeface="Times New Roman" panose="02020603050405020304"/>
              <a:ea typeface="+mn-ea"/>
              <a:cs typeface="+mn-cs"/>
            </a:rPr>
            <a:t>Standards</a:t>
          </a:r>
        </a:p>
      </dgm:t>
    </dgm:pt>
    <dgm:pt modelId="{2E4DE36E-D491-49AA-8DB8-57902F107C9F}" type="parTrans" cxnId="{71432C69-62CE-4A90-B5A4-780DECB4A97B}">
      <dgm:prSet/>
      <dgm:spPr/>
      <dgm:t>
        <a:bodyPr/>
        <a:lstStyle/>
        <a:p>
          <a:endParaRPr lang="en-US"/>
        </a:p>
      </dgm:t>
    </dgm:pt>
    <dgm:pt modelId="{754B3D68-21A5-456C-8C02-DC8D25C45CDD}" type="sibTrans" cxnId="{71432C69-62CE-4A90-B5A4-780DECB4A97B}">
      <dgm:prSet/>
      <dgm:spPr/>
      <dgm:t>
        <a:bodyPr/>
        <a:lstStyle/>
        <a:p>
          <a:endParaRPr lang="en-US"/>
        </a:p>
      </dgm:t>
    </dgm:pt>
    <dgm:pt modelId="{4CE9E562-3FE6-407F-8CE1-30BC68127994}">
      <dgm:prSet phldrT="[Text]"/>
      <dgm:spPr>
        <a:xfrm>
          <a:off x="742376" y="1945"/>
          <a:ext cx="1295036" cy="966717"/>
        </a:xfrm>
      </dgm:spPr>
      <dgm:t>
        <a:bodyPr/>
        <a:lstStyle/>
        <a:p>
          <a:r>
            <a:rPr lang="en-US">
              <a:latin typeface="Times New Roman" panose="02020603050405020304"/>
              <a:ea typeface="+mn-ea"/>
              <a:cs typeface="+mn-cs"/>
            </a:rPr>
            <a:t>Scale</a:t>
          </a:r>
        </a:p>
      </dgm:t>
    </dgm:pt>
    <dgm:pt modelId="{D8776E7A-98C7-4564-B0E9-512B122EA563}" type="parTrans" cxnId="{C55C3E49-43A1-4CB7-9DF6-1487AB76A42E}">
      <dgm:prSet/>
      <dgm:spPr/>
      <dgm:t>
        <a:bodyPr/>
        <a:lstStyle/>
        <a:p>
          <a:endParaRPr lang="en-US"/>
        </a:p>
      </dgm:t>
    </dgm:pt>
    <dgm:pt modelId="{DB85C9A5-FB34-4EC5-8913-D5342840D893}" type="sibTrans" cxnId="{C55C3E49-43A1-4CB7-9DF6-1487AB76A42E}">
      <dgm:prSet/>
      <dgm:spPr/>
      <dgm:t>
        <a:bodyPr/>
        <a:lstStyle/>
        <a:p>
          <a:endParaRPr lang="en-US"/>
        </a:p>
      </dgm:t>
    </dgm:pt>
    <dgm:pt modelId="{D9F5310C-4511-455F-92A9-00BA44C19991}">
      <dgm:prSet phldrT="[Text]"/>
      <dgm:spPr>
        <a:xfrm>
          <a:off x="2256564" y="968662"/>
          <a:ext cx="1295036" cy="415688"/>
        </a:xfrm>
      </dgm:spPr>
      <dgm:t>
        <a:bodyPr/>
        <a:lstStyle/>
        <a:p>
          <a:r>
            <a:rPr lang="en-US" b="1">
              <a:solidFill>
                <a:sysClr val="windowText" lastClr="000000"/>
              </a:solidFill>
              <a:latin typeface="Times New Roman" panose="02020603050405020304"/>
              <a:ea typeface="+mn-ea"/>
              <a:cs typeface="+mn-cs"/>
            </a:rPr>
            <a:t>Affected Parties </a:t>
          </a:r>
        </a:p>
      </dgm:t>
    </dgm:pt>
    <dgm:pt modelId="{F876E5C5-70A4-4EB4-9ACC-9655F9E43614}" type="parTrans" cxnId="{D4A3403F-B5B7-4048-B404-AD9043F74445}">
      <dgm:prSet/>
      <dgm:spPr/>
      <dgm:t>
        <a:bodyPr/>
        <a:lstStyle/>
        <a:p>
          <a:endParaRPr lang="en-US"/>
        </a:p>
      </dgm:t>
    </dgm:pt>
    <dgm:pt modelId="{47F70D03-E16E-493E-818D-4523158665EF}" type="sibTrans" cxnId="{D4A3403F-B5B7-4048-B404-AD9043F74445}">
      <dgm:prSet/>
      <dgm:spPr/>
      <dgm:t>
        <a:bodyPr/>
        <a:lstStyle/>
        <a:p>
          <a:endParaRPr lang="en-US"/>
        </a:p>
      </dgm:t>
    </dgm:pt>
    <dgm:pt modelId="{A630C113-DA40-478A-9754-EC83605356CA}">
      <dgm:prSet phldrT="[Text]"/>
      <dgm:spPr>
        <a:xfrm>
          <a:off x="3770753" y="968662"/>
          <a:ext cx="1295036" cy="415688"/>
        </a:xfrm>
      </dgm:spPr>
      <dgm:t>
        <a:bodyPr/>
        <a:lstStyle/>
        <a:p>
          <a:r>
            <a:rPr lang="en-US" b="1">
              <a:latin typeface="Times New Roman" panose="02020603050405020304"/>
              <a:ea typeface="+mn-ea"/>
              <a:cs typeface="+mn-cs"/>
            </a:rPr>
            <a:t>Events</a:t>
          </a:r>
        </a:p>
      </dgm:t>
    </dgm:pt>
    <dgm:pt modelId="{E16659A8-9B51-4CF4-AA64-4920F3F5DD41}" type="parTrans" cxnId="{BAD3E0E3-C01B-4610-9848-4B170CE2BB44}">
      <dgm:prSet/>
      <dgm:spPr/>
      <dgm:t>
        <a:bodyPr/>
        <a:lstStyle/>
        <a:p>
          <a:endParaRPr lang="en-US"/>
        </a:p>
      </dgm:t>
    </dgm:pt>
    <dgm:pt modelId="{A3B7FF09-911C-49BF-98BB-E2FD6BBF744B}" type="sibTrans" cxnId="{BAD3E0E3-C01B-4610-9848-4B170CE2BB44}">
      <dgm:prSet/>
      <dgm:spPr/>
      <dgm:t>
        <a:bodyPr/>
        <a:lstStyle/>
        <a:p>
          <a:endParaRPr lang="en-US"/>
        </a:p>
      </dgm:t>
    </dgm:pt>
    <dgm:pt modelId="{BBD7B213-F004-4007-B073-BA0AFB9DAE02}">
      <dgm:prSet phldrT="[Text]"/>
      <dgm:spPr>
        <a:xfrm>
          <a:off x="3770753" y="1945"/>
          <a:ext cx="1295036" cy="966717"/>
        </a:xfrm>
      </dgm:spPr>
      <dgm:t>
        <a:bodyPr/>
        <a:lstStyle/>
        <a:p>
          <a:r>
            <a:rPr lang="en-US">
              <a:solidFill>
                <a:schemeClr val="bg1"/>
              </a:solidFill>
              <a:latin typeface="Times New Roman" panose="02020603050405020304"/>
              <a:ea typeface="+mn-ea"/>
              <a:cs typeface="+mn-cs"/>
            </a:rPr>
            <a:t>Shock Event</a:t>
          </a:r>
        </a:p>
      </dgm:t>
    </dgm:pt>
    <dgm:pt modelId="{B626C08D-5656-409A-8635-7025CD88A70C}" type="parTrans" cxnId="{53BA3C5B-0019-403F-BC20-B04A62A436CF}">
      <dgm:prSet/>
      <dgm:spPr/>
      <dgm:t>
        <a:bodyPr/>
        <a:lstStyle/>
        <a:p>
          <a:endParaRPr lang="en-US"/>
        </a:p>
      </dgm:t>
    </dgm:pt>
    <dgm:pt modelId="{6A03D9BE-7993-4DE8-921D-10A623A540EB}" type="sibTrans" cxnId="{53BA3C5B-0019-403F-BC20-B04A62A436CF}">
      <dgm:prSet/>
      <dgm:spPr/>
      <dgm:t>
        <a:bodyPr/>
        <a:lstStyle/>
        <a:p>
          <a:endParaRPr lang="en-US"/>
        </a:p>
      </dgm:t>
    </dgm:pt>
    <dgm:pt modelId="{CADE6A3C-0098-4BAF-9975-D9A973030982}">
      <dgm:prSet phldrT="[Text]"/>
      <dgm:spPr>
        <a:xfrm>
          <a:off x="742376" y="2679163"/>
          <a:ext cx="1295036" cy="415688"/>
        </a:xfrm>
      </dgm:spPr>
      <dgm:t>
        <a:bodyPr/>
        <a:lstStyle/>
        <a:p>
          <a:r>
            <a:rPr lang="en-US" b="1">
              <a:latin typeface="Times New Roman" panose="02020603050405020304"/>
              <a:ea typeface="+mn-ea"/>
              <a:cs typeface="+mn-cs"/>
            </a:rPr>
            <a:t>Terms</a:t>
          </a:r>
        </a:p>
      </dgm:t>
    </dgm:pt>
    <dgm:pt modelId="{2C6D08D8-77A6-4E71-8622-D93E803294E6}" type="parTrans" cxnId="{07A99C1C-F229-4FCE-8114-D974C903079C}">
      <dgm:prSet/>
      <dgm:spPr/>
      <dgm:t>
        <a:bodyPr/>
        <a:lstStyle/>
        <a:p>
          <a:endParaRPr lang="en-US"/>
        </a:p>
      </dgm:t>
    </dgm:pt>
    <dgm:pt modelId="{2F6BEC9C-D18D-431C-94A1-65F0FB6826DF}" type="sibTrans" cxnId="{07A99C1C-F229-4FCE-8114-D974C903079C}">
      <dgm:prSet/>
      <dgm:spPr/>
      <dgm:t>
        <a:bodyPr/>
        <a:lstStyle/>
        <a:p>
          <a:endParaRPr lang="en-US"/>
        </a:p>
      </dgm:t>
    </dgm:pt>
    <dgm:pt modelId="{FC18CE6A-449B-4A3B-9028-BBFAB655BD7A}">
      <dgm:prSet phldrT="[Text]"/>
      <dgm:spPr>
        <a:xfrm>
          <a:off x="3770753" y="2679163"/>
          <a:ext cx="1295036" cy="415688"/>
        </a:xfrm>
      </dgm:spPr>
      <dgm:t>
        <a:bodyPr/>
        <a:lstStyle/>
        <a:p>
          <a:r>
            <a:rPr lang="en-US" b="1">
              <a:solidFill>
                <a:sysClr val="windowText" lastClr="000000"/>
              </a:solidFill>
              <a:latin typeface="Times New Roman" panose="02020603050405020304"/>
              <a:ea typeface="+mn-ea"/>
              <a:cs typeface="+mn-cs"/>
            </a:rPr>
            <a:t>Phase</a:t>
          </a:r>
        </a:p>
      </dgm:t>
    </dgm:pt>
    <dgm:pt modelId="{CED02176-047B-45E3-868A-F9167B277FD7}" type="parTrans" cxnId="{67F9E18A-65F0-453F-883F-59CF097395EB}">
      <dgm:prSet/>
      <dgm:spPr/>
      <dgm:t>
        <a:bodyPr/>
        <a:lstStyle/>
        <a:p>
          <a:endParaRPr lang="en-US"/>
        </a:p>
      </dgm:t>
    </dgm:pt>
    <dgm:pt modelId="{AF3F569A-192E-461F-83F5-6FF9EE1D7250}" type="sibTrans" cxnId="{67F9E18A-65F0-453F-883F-59CF097395EB}">
      <dgm:prSet/>
      <dgm:spPr/>
      <dgm:t>
        <a:bodyPr/>
        <a:lstStyle/>
        <a:p>
          <a:endParaRPr lang="en-US"/>
        </a:p>
      </dgm:t>
    </dgm:pt>
    <dgm:pt modelId="{934AD681-DBD8-45AF-AAB6-CEC2DC16A520}">
      <dgm:prSet phldrT="[Text]"/>
      <dgm:spPr>
        <a:xfrm>
          <a:off x="742376" y="1712445"/>
          <a:ext cx="1295036" cy="966717"/>
        </a:xfrm>
      </dgm:spPr>
      <dgm:t>
        <a:bodyPr/>
        <a:lstStyle/>
        <a:p>
          <a:r>
            <a:rPr lang="en-US" b="0">
              <a:latin typeface="Times New Roman" panose="02020603050405020304"/>
              <a:ea typeface="+mn-ea"/>
              <a:cs typeface="+mn-cs"/>
            </a:rPr>
            <a:t>Force Majeaure</a:t>
          </a:r>
        </a:p>
      </dgm:t>
    </dgm:pt>
    <dgm:pt modelId="{EA86F5E3-C6A4-4E6C-AB62-210CAAF1D3EF}" type="parTrans" cxnId="{CF6BF33D-4C5A-4B05-8C7F-5B4CEEA8AAE3}">
      <dgm:prSet/>
      <dgm:spPr/>
      <dgm:t>
        <a:bodyPr/>
        <a:lstStyle/>
        <a:p>
          <a:endParaRPr lang="en-US"/>
        </a:p>
      </dgm:t>
    </dgm:pt>
    <dgm:pt modelId="{7FD2EBD7-5519-483C-8C33-BFC033668FDE}" type="sibTrans" cxnId="{CF6BF33D-4C5A-4B05-8C7F-5B4CEEA8AAE3}">
      <dgm:prSet/>
      <dgm:spPr/>
      <dgm:t>
        <a:bodyPr/>
        <a:lstStyle/>
        <a:p>
          <a:endParaRPr lang="en-US"/>
        </a:p>
      </dgm:t>
    </dgm:pt>
    <dgm:pt modelId="{B4B241C2-B24F-44D0-BFE0-497648340376}">
      <dgm:prSet phldrT="[Text]"/>
      <dgm:spPr>
        <a:xfrm>
          <a:off x="3770753" y="1712445"/>
          <a:ext cx="1295036" cy="966717"/>
        </a:xfrm>
      </dgm:spPr>
      <dgm:t>
        <a:bodyPr/>
        <a:lstStyle/>
        <a:p>
          <a:r>
            <a:rPr lang="en-US">
              <a:latin typeface="Times New Roman" panose="02020603050405020304"/>
              <a:ea typeface="+mn-ea"/>
              <a:cs typeface="+mn-cs"/>
            </a:rPr>
            <a:t>Planning</a:t>
          </a:r>
        </a:p>
      </dgm:t>
    </dgm:pt>
    <dgm:pt modelId="{222A7C1B-A9D3-423B-9CFF-B1DA15EF6498}" type="parTrans" cxnId="{5FC3245D-9CF5-477A-B20A-AFB900C2C2FB}">
      <dgm:prSet/>
      <dgm:spPr/>
      <dgm:t>
        <a:bodyPr/>
        <a:lstStyle/>
        <a:p>
          <a:endParaRPr lang="en-US"/>
        </a:p>
      </dgm:t>
    </dgm:pt>
    <dgm:pt modelId="{0A48D954-19FC-4028-B6B4-848C6909EE25}" type="sibTrans" cxnId="{5FC3245D-9CF5-477A-B20A-AFB900C2C2FB}">
      <dgm:prSet/>
      <dgm:spPr/>
      <dgm:t>
        <a:bodyPr/>
        <a:lstStyle/>
        <a:p>
          <a:endParaRPr lang="en-US"/>
        </a:p>
      </dgm:t>
    </dgm:pt>
    <dgm:pt modelId="{DA1FBAA2-DD42-4C54-B804-156F3ED215A0}">
      <dgm:prSet phldrT="[Text]"/>
      <dgm:spPr>
        <a:xfrm>
          <a:off x="2256564" y="1945"/>
          <a:ext cx="1295036" cy="966717"/>
        </a:xfrm>
      </dgm:spPr>
      <dgm:t>
        <a:bodyPr/>
        <a:lstStyle/>
        <a:p>
          <a:r>
            <a:rPr lang="en-US">
              <a:latin typeface="Times New Roman" panose="02020603050405020304"/>
              <a:ea typeface="+mn-ea"/>
              <a:cs typeface="+mn-cs"/>
            </a:rPr>
            <a:t>Other communities</a:t>
          </a:r>
        </a:p>
      </dgm:t>
    </dgm:pt>
    <dgm:pt modelId="{63F08C69-C4C6-42C9-9912-CE1CBAD732EB}" type="parTrans" cxnId="{BA2E6923-2171-4626-A5D0-A0F276AFCD88}">
      <dgm:prSet/>
      <dgm:spPr/>
      <dgm:t>
        <a:bodyPr/>
        <a:lstStyle/>
        <a:p>
          <a:endParaRPr lang="en-US"/>
        </a:p>
      </dgm:t>
    </dgm:pt>
    <dgm:pt modelId="{7AE585B0-6B4A-444D-9733-F6AB43544759}" type="sibTrans" cxnId="{BA2E6923-2171-4626-A5D0-A0F276AFCD88}">
      <dgm:prSet/>
      <dgm:spPr/>
      <dgm:t>
        <a:bodyPr/>
        <a:lstStyle/>
        <a:p>
          <a:endParaRPr lang="en-US"/>
        </a:p>
      </dgm:t>
    </dgm:pt>
    <dgm:pt modelId="{83393304-4AD9-4C5B-AF48-27D862C55F72}">
      <dgm:prSet phldrT="[Text]"/>
      <dgm:spPr>
        <a:xfrm>
          <a:off x="2256564" y="1945"/>
          <a:ext cx="1295036" cy="966717"/>
        </a:xfrm>
      </dgm:spPr>
      <dgm:t>
        <a:bodyPr/>
        <a:lstStyle/>
        <a:p>
          <a:r>
            <a:rPr lang="en-US">
              <a:latin typeface="Times New Roman" panose="02020603050405020304"/>
              <a:ea typeface="+mn-ea"/>
              <a:cs typeface="+mn-cs"/>
            </a:rPr>
            <a:t>Business</a:t>
          </a:r>
        </a:p>
      </dgm:t>
    </dgm:pt>
    <dgm:pt modelId="{F4AE1700-77A1-4B47-A0DC-D6EA6B68D517}" type="parTrans" cxnId="{10D0A68B-51A2-401F-AA40-F1CE7B6495A1}">
      <dgm:prSet/>
      <dgm:spPr/>
      <dgm:t>
        <a:bodyPr/>
        <a:lstStyle/>
        <a:p>
          <a:endParaRPr lang="en-US"/>
        </a:p>
      </dgm:t>
    </dgm:pt>
    <dgm:pt modelId="{529B5AB2-CB2C-4024-9216-BBAF02C2DF03}" type="sibTrans" cxnId="{10D0A68B-51A2-401F-AA40-F1CE7B6495A1}">
      <dgm:prSet/>
      <dgm:spPr/>
      <dgm:t>
        <a:bodyPr/>
        <a:lstStyle/>
        <a:p>
          <a:endParaRPr lang="en-US"/>
        </a:p>
      </dgm:t>
    </dgm:pt>
    <dgm:pt modelId="{B51E2B9D-A705-4703-8AD8-8FF30CB96C43}">
      <dgm:prSet phldrT="[Text]"/>
      <dgm:spPr>
        <a:xfrm>
          <a:off x="2256564" y="1945"/>
          <a:ext cx="1295036" cy="966717"/>
        </a:xfrm>
      </dgm:spPr>
      <dgm:t>
        <a:bodyPr/>
        <a:lstStyle/>
        <a:p>
          <a:r>
            <a:rPr lang="en-US">
              <a:latin typeface="Times New Roman" panose="02020603050405020304"/>
              <a:ea typeface="+mn-ea"/>
              <a:cs typeface="+mn-cs"/>
            </a:rPr>
            <a:t>Investors</a:t>
          </a:r>
        </a:p>
      </dgm:t>
    </dgm:pt>
    <dgm:pt modelId="{3421D73C-BA70-431D-9297-48D3D348078D}" type="parTrans" cxnId="{1E8AE1BE-CE7B-4123-92BA-B0093785DEFD}">
      <dgm:prSet/>
      <dgm:spPr/>
      <dgm:t>
        <a:bodyPr/>
        <a:lstStyle/>
        <a:p>
          <a:endParaRPr lang="en-US"/>
        </a:p>
      </dgm:t>
    </dgm:pt>
    <dgm:pt modelId="{C5D57453-BE24-4BB8-9DFA-ADFDE343CD6F}" type="sibTrans" cxnId="{1E8AE1BE-CE7B-4123-92BA-B0093785DEFD}">
      <dgm:prSet/>
      <dgm:spPr/>
      <dgm:t>
        <a:bodyPr/>
        <a:lstStyle/>
        <a:p>
          <a:endParaRPr lang="en-US"/>
        </a:p>
      </dgm:t>
    </dgm:pt>
    <dgm:pt modelId="{0CD0DDAF-039C-4FF3-9CB2-A945878277AB}">
      <dgm:prSet phldrT="[Text]"/>
      <dgm:spPr>
        <a:xfrm>
          <a:off x="742376" y="1712445"/>
          <a:ext cx="1295036" cy="966717"/>
        </a:xfrm>
      </dgm:spPr>
      <dgm:t>
        <a:bodyPr/>
        <a:lstStyle/>
        <a:p>
          <a:r>
            <a:rPr lang="en-US" b="0">
              <a:latin typeface="Times New Roman" panose="02020603050405020304"/>
              <a:ea typeface="+mn-ea"/>
              <a:cs typeface="+mn-cs"/>
            </a:rPr>
            <a:t>Unforseen Conditions</a:t>
          </a:r>
        </a:p>
      </dgm:t>
    </dgm:pt>
    <dgm:pt modelId="{E67D1DB4-2411-4A6D-B99D-E64C6ACD6D85}" type="parTrans" cxnId="{DF84974B-5243-4EFF-A152-B6FBF53AEFCA}">
      <dgm:prSet/>
      <dgm:spPr/>
      <dgm:t>
        <a:bodyPr/>
        <a:lstStyle/>
        <a:p>
          <a:endParaRPr lang="en-US"/>
        </a:p>
      </dgm:t>
    </dgm:pt>
    <dgm:pt modelId="{2F174FE7-7521-42E9-9565-7749B6E38CD0}" type="sibTrans" cxnId="{DF84974B-5243-4EFF-A152-B6FBF53AEFCA}">
      <dgm:prSet/>
      <dgm:spPr/>
      <dgm:t>
        <a:bodyPr/>
        <a:lstStyle/>
        <a:p>
          <a:endParaRPr lang="en-US"/>
        </a:p>
      </dgm:t>
    </dgm:pt>
    <dgm:pt modelId="{2CC241A4-A199-477E-9411-E482481D33F9}">
      <dgm:prSet phldrT="[Text]"/>
      <dgm:spPr>
        <a:xfrm>
          <a:off x="742376" y="1712445"/>
          <a:ext cx="1295036" cy="966717"/>
        </a:xfrm>
      </dgm:spPr>
      <dgm:t>
        <a:bodyPr/>
        <a:lstStyle/>
        <a:p>
          <a:r>
            <a:rPr lang="en-US" b="0">
              <a:latin typeface="Times New Roman" panose="02020603050405020304"/>
              <a:ea typeface="+mn-ea"/>
              <a:cs typeface="+mn-cs"/>
            </a:rPr>
            <a:t>Reasonable</a:t>
          </a:r>
        </a:p>
      </dgm:t>
    </dgm:pt>
    <dgm:pt modelId="{11E44B46-BC17-48FB-9B06-5E860BB9CD5C}" type="parTrans" cxnId="{B1C6A9EC-A8B8-432F-887D-66C5B66FF7EA}">
      <dgm:prSet/>
      <dgm:spPr/>
      <dgm:t>
        <a:bodyPr/>
        <a:lstStyle/>
        <a:p>
          <a:endParaRPr lang="en-US"/>
        </a:p>
      </dgm:t>
    </dgm:pt>
    <dgm:pt modelId="{CFF742CF-DCF5-4DBA-84A5-95ED87F959EA}" type="sibTrans" cxnId="{B1C6A9EC-A8B8-432F-887D-66C5B66FF7EA}">
      <dgm:prSet/>
      <dgm:spPr/>
      <dgm:t>
        <a:bodyPr/>
        <a:lstStyle/>
        <a:p>
          <a:endParaRPr lang="en-US"/>
        </a:p>
      </dgm:t>
    </dgm:pt>
    <dgm:pt modelId="{3A7D99EA-A0BE-4ADE-90EB-541506F0DAA8}">
      <dgm:prSet phldrT="[Text]"/>
      <dgm:spPr>
        <a:xfrm>
          <a:off x="742376" y="1945"/>
          <a:ext cx="1295036" cy="966717"/>
        </a:xfrm>
      </dgm:spPr>
      <dgm:t>
        <a:bodyPr/>
        <a:lstStyle/>
        <a:p>
          <a:r>
            <a:rPr lang="en-US">
              <a:latin typeface="Times New Roman" panose="02020603050405020304"/>
              <a:ea typeface="+mn-ea"/>
              <a:cs typeface="+mn-cs"/>
            </a:rPr>
            <a:t>Effort</a:t>
          </a:r>
        </a:p>
      </dgm:t>
    </dgm:pt>
    <dgm:pt modelId="{702981CB-634E-45F2-82AE-F6C87882C03B}" type="parTrans" cxnId="{405A0106-3F71-4E55-9780-AC5CE8145D9A}">
      <dgm:prSet/>
      <dgm:spPr/>
      <dgm:t>
        <a:bodyPr/>
        <a:lstStyle/>
        <a:p>
          <a:endParaRPr lang="en-US"/>
        </a:p>
      </dgm:t>
    </dgm:pt>
    <dgm:pt modelId="{0B3EC0EC-DA0A-42C8-9B25-5AE97BE611D5}" type="sibTrans" cxnId="{405A0106-3F71-4E55-9780-AC5CE8145D9A}">
      <dgm:prSet/>
      <dgm:spPr/>
      <dgm:t>
        <a:bodyPr/>
        <a:lstStyle/>
        <a:p>
          <a:endParaRPr lang="en-US"/>
        </a:p>
      </dgm:t>
    </dgm:pt>
    <dgm:pt modelId="{D1D59C95-D2B4-432B-B956-0AE441DD0493}">
      <dgm:prSet phldrT="[Text]"/>
      <dgm:spPr>
        <a:xfrm>
          <a:off x="742376" y="1945"/>
          <a:ext cx="1295036" cy="966717"/>
        </a:xfrm>
      </dgm:spPr>
      <dgm:t>
        <a:bodyPr/>
        <a:lstStyle/>
        <a:p>
          <a:r>
            <a:rPr lang="en-US">
              <a:latin typeface="Times New Roman" panose="02020603050405020304"/>
              <a:ea typeface="+mn-ea"/>
              <a:cs typeface="+mn-cs"/>
            </a:rPr>
            <a:t>Reviewed</a:t>
          </a:r>
        </a:p>
      </dgm:t>
    </dgm:pt>
    <dgm:pt modelId="{0C83D02E-F3C2-46CC-80CF-E485C825159A}" type="parTrans" cxnId="{B3A3F05D-8FCB-48AB-BAB8-1545DC0EB021}">
      <dgm:prSet/>
      <dgm:spPr/>
      <dgm:t>
        <a:bodyPr/>
        <a:lstStyle/>
        <a:p>
          <a:endParaRPr lang="en-US"/>
        </a:p>
      </dgm:t>
    </dgm:pt>
    <dgm:pt modelId="{2DE3A07A-D215-4813-B2DB-8D376BACD198}" type="sibTrans" cxnId="{B3A3F05D-8FCB-48AB-BAB8-1545DC0EB021}">
      <dgm:prSet/>
      <dgm:spPr/>
      <dgm:t>
        <a:bodyPr/>
        <a:lstStyle/>
        <a:p>
          <a:endParaRPr lang="en-US"/>
        </a:p>
      </dgm:t>
    </dgm:pt>
    <dgm:pt modelId="{0798E709-BA4E-419E-B9E8-A50A941E9372}">
      <dgm:prSet phldrT="[Text]"/>
      <dgm:spPr>
        <a:xfrm>
          <a:off x="3770753" y="1712445"/>
          <a:ext cx="1295036" cy="966717"/>
        </a:xfrm>
      </dgm:spPr>
      <dgm:t>
        <a:bodyPr/>
        <a:lstStyle/>
        <a:p>
          <a:r>
            <a:rPr lang="en-US">
              <a:latin typeface="Times New Roman" panose="02020603050405020304"/>
              <a:ea typeface="+mn-ea"/>
              <a:cs typeface="+mn-cs"/>
            </a:rPr>
            <a:t>Tender</a:t>
          </a:r>
        </a:p>
      </dgm:t>
    </dgm:pt>
    <dgm:pt modelId="{310D7B26-794F-4D8C-80CE-E42DF7476824}" type="parTrans" cxnId="{3FF6E5C2-8B4F-4464-8D67-560449489E8E}">
      <dgm:prSet/>
      <dgm:spPr/>
      <dgm:t>
        <a:bodyPr/>
        <a:lstStyle/>
        <a:p>
          <a:endParaRPr lang="en-US"/>
        </a:p>
      </dgm:t>
    </dgm:pt>
    <dgm:pt modelId="{817C4CED-8FAD-4800-A101-31197C1A5957}" type="sibTrans" cxnId="{3FF6E5C2-8B4F-4464-8D67-560449489E8E}">
      <dgm:prSet/>
      <dgm:spPr/>
      <dgm:t>
        <a:bodyPr/>
        <a:lstStyle/>
        <a:p>
          <a:endParaRPr lang="en-US"/>
        </a:p>
      </dgm:t>
    </dgm:pt>
    <dgm:pt modelId="{8F461C9E-8F4E-4168-9F4B-1A83AAA91FD3}">
      <dgm:prSet phldrT="[Text]"/>
      <dgm:spPr>
        <a:xfrm>
          <a:off x="3770753" y="1712445"/>
          <a:ext cx="1295036" cy="966717"/>
        </a:xfrm>
      </dgm:spPr>
      <dgm:t>
        <a:bodyPr/>
        <a:lstStyle/>
        <a:p>
          <a:r>
            <a:rPr lang="en-US">
              <a:latin typeface="Times New Roman" panose="02020603050405020304"/>
              <a:ea typeface="+mn-ea"/>
              <a:cs typeface="+mn-cs"/>
            </a:rPr>
            <a:t>Design</a:t>
          </a:r>
        </a:p>
      </dgm:t>
    </dgm:pt>
    <dgm:pt modelId="{4206FD2B-96A2-475E-9721-1EDF2A33B7AB}" type="parTrans" cxnId="{CE087749-E2F5-445E-9E70-D0C6E91DC39B}">
      <dgm:prSet/>
      <dgm:spPr/>
      <dgm:t>
        <a:bodyPr/>
        <a:lstStyle/>
        <a:p>
          <a:endParaRPr lang="en-US"/>
        </a:p>
      </dgm:t>
    </dgm:pt>
    <dgm:pt modelId="{266A79D2-8C7D-4C0B-BB63-0985079DE3C9}" type="sibTrans" cxnId="{CE087749-E2F5-445E-9E70-D0C6E91DC39B}">
      <dgm:prSet/>
      <dgm:spPr/>
      <dgm:t>
        <a:bodyPr/>
        <a:lstStyle/>
        <a:p>
          <a:endParaRPr lang="en-US"/>
        </a:p>
      </dgm:t>
    </dgm:pt>
    <dgm:pt modelId="{10682015-EBE0-4B44-AB48-15838121780D}">
      <dgm:prSet phldrT="[Text]"/>
      <dgm:spPr>
        <a:xfrm>
          <a:off x="3770753" y="1712445"/>
          <a:ext cx="1295036" cy="966717"/>
        </a:xfrm>
      </dgm:spPr>
      <dgm:t>
        <a:bodyPr/>
        <a:lstStyle/>
        <a:p>
          <a:r>
            <a:rPr lang="en-US">
              <a:latin typeface="Times New Roman" panose="02020603050405020304"/>
              <a:ea typeface="+mn-ea"/>
              <a:cs typeface="+mn-cs"/>
            </a:rPr>
            <a:t>Construction</a:t>
          </a:r>
        </a:p>
      </dgm:t>
    </dgm:pt>
    <dgm:pt modelId="{EED71F03-6E74-4574-A943-1B8006A09C26}" type="parTrans" cxnId="{A03FF049-87D7-474B-853A-66A12233EB6B}">
      <dgm:prSet/>
      <dgm:spPr/>
      <dgm:t>
        <a:bodyPr/>
        <a:lstStyle/>
        <a:p>
          <a:endParaRPr lang="en-US"/>
        </a:p>
      </dgm:t>
    </dgm:pt>
    <dgm:pt modelId="{D17146C6-66B2-45D5-9266-F4EF7683EA67}" type="sibTrans" cxnId="{A03FF049-87D7-474B-853A-66A12233EB6B}">
      <dgm:prSet/>
      <dgm:spPr/>
      <dgm:t>
        <a:bodyPr/>
        <a:lstStyle/>
        <a:p>
          <a:endParaRPr lang="en-US"/>
        </a:p>
      </dgm:t>
    </dgm:pt>
    <dgm:pt modelId="{054411EE-63EB-4F74-9C8D-629E1E7FE60F}">
      <dgm:prSet phldrT="[Text]"/>
      <dgm:spPr>
        <a:xfrm>
          <a:off x="3770753" y="1945"/>
          <a:ext cx="1295036" cy="966717"/>
        </a:xfrm>
      </dgm:spPr>
      <dgm:t>
        <a:bodyPr/>
        <a:lstStyle/>
        <a:p>
          <a:r>
            <a:rPr lang="en-US">
              <a:latin typeface="Times New Roman" panose="02020603050405020304"/>
              <a:ea typeface="+mn-ea"/>
              <a:cs typeface="+mn-cs"/>
            </a:rPr>
            <a:t>Compounding Events</a:t>
          </a:r>
        </a:p>
      </dgm:t>
    </dgm:pt>
    <dgm:pt modelId="{4003A2C5-654B-412C-988F-E38DB023373F}" type="parTrans" cxnId="{6ECBC213-72B6-4781-AF77-4C6EF9CBF2DA}">
      <dgm:prSet/>
      <dgm:spPr/>
      <dgm:t>
        <a:bodyPr/>
        <a:lstStyle/>
        <a:p>
          <a:endParaRPr lang="en-US"/>
        </a:p>
      </dgm:t>
    </dgm:pt>
    <dgm:pt modelId="{55CD7CD8-40AD-4998-B982-1B9786D708DA}" type="sibTrans" cxnId="{6ECBC213-72B6-4781-AF77-4C6EF9CBF2DA}">
      <dgm:prSet/>
      <dgm:spPr/>
      <dgm:t>
        <a:bodyPr/>
        <a:lstStyle/>
        <a:p>
          <a:endParaRPr lang="en-US"/>
        </a:p>
      </dgm:t>
    </dgm:pt>
    <dgm:pt modelId="{9652CF31-9A44-469C-ADBF-4AE45CB5A739}">
      <dgm:prSet phldrT="[Text]"/>
      <dgm:spPr>
        <a:xfrm>
          <a:off x="3770753" y="1712445"/>
          <a:ext cx="1295036" cy="966717"/>
        </a:xfrm>
      </dgm:spPr>
      <dgm:t>
        <a:bodyPr/>
        <a:lstStyle/>
        <a:p>
          <a:r>
            <a:rPr lang="en-US">
              <a:latin typeface="Times New Roman" panose="02020603050405020304"/>
              <a:ea typeface="+mn-ea"/>
              <a:cs typeface="+mn-cs"/>
            </a:rPr>
            <a:t>Operation</a:t>
          </a:r>
        </a:p>
      </dgm:t>
    </dgm:pt>
    <dgm:pt modelId="{E47A84CE-D01E-4C8F-968F-E7B255324B51}" type="parTrans" cxnId="{6BA976E1-A58A-4B10-8F40-214B45ED5444}">
      <dgm:prSet/>
      <dgm:spPr/>
      <dgm:t>
        <a:bodyPr/>
        <a:lstStyle/>
        <a:p>
          <a:endParaRPr lang="en-US"/>
        </a:p>
      </dgm:t>
    </dgm:pt>
    <dgm:pt modelId="{90B39809-FAF7-4F6B-8D54-5D17DEA003D8}" type="sibTrans" cxnId="{6BA976E1-A58A-4B10-8F40-214B45ED5444}">
      <dgm:prSet/>
      <dgm:spPr/>
      <dgm:t>
        <a:bodyPr/>
        <a:lstStyle/>
        <a:p>
          <a:endParaRPr lang="en-US"/>
        </a:p>
      </dgm:t>
    </dgm:pt>
    <dgm:pt modelId="{4A894500-75AB-4923-B756-EBFE2105B2C5}">
      <dgm:prSet phldrT="[Text]"/>
      <dgm:spPr>
        <a:xfrm>
          <a:off x="3770753" y="1945"/>
          <a:ext cx="1295036" cy="966717"/>
        </a:xfrm>
      </dgm:spPr>
      <dgm:t>
        <a:bodyPr/>
        <a:lstStyle/>
        <a:p>
          <a:r>
            <a:rPr lang="en-US">
              <a:latin typeface="Times New Roman" panose="02020603050405020304"/>
              <a:ea typeface="+mn-ea"/>
              <a:cs typeface="+mn-cs"/>
            </a:rPr>
            <a:t>Stress Events</a:t>
          </a:r>
        </a:p>
      </dgm:t>
    </dgm:pt>
    <dgm:pt modelId="{0A9636C1-1939-4744-B9F0-AF80B3F80E7C}" type="parTrans" cxnId="{4684B00A-A6D1-41A3-A1DD-2077CF2987FA}">
      <dgm:prSet/>
      <dgm:spPr/>
      <dgm:t>
        <a:bodyPr/>
        <a:lstStyle/>
        <a:p>
          <a:endParaRPr lang="en-US"/>
        </a:p>
      </dgm:t>
    </dgm:pt>
    <dgm:pt modelId="{C3C3B107-EE7B-4E28-8425-0E24D5A55B72}" type="sibTrans" cxnId="{4684B00A-A6D1-41A3-A1DD-2077CF2987FA}">
      <dgm:prSet/>
      <dgm:spPr/>
      <dgm:t>
        <a:bodyPr/>
        <a:lstStyle/>
        <a:p>
          <a:endParaRPr lang="en-US"/>
        </a:p>
      </dgm:t>
    </dgm:pt>
    <dgm:pt modelId="{0D7F5883-9C3F-4B0E-A440-8D08F67DEE49}">
      <dgm:prSet phldrT="[Text]"/>
      <dgm:spPr>
        <a:xfrm>
          <a:off x="742376" y="1945"/>
          <a:ext cx="1295036" cy="966717"/>
        </a:xfrm>
      </dgm:spPr>
      <dgm:t>
        <a:bodyPr/>
        <a:lstStyle/>
        <a:p>
          <a:r>
            <a:rPr lang="en-US">
              <a:latin typeface="Times New Roman" panose="02020603050405020304"/>
              <a:ea typeface="+mn-ea"/>
              <a:cs typeface="+mn-cs"/>
            </a:rPr>
            <a:t>Quality</a:t>
          </a:r>
        </a:p>
      </dgm:t>
    </dgm:pt>
    <dgm:pt modelId="{1373F3E6-F8C8-4458-9CC2-9179E668C1EE}" type="parTrans" cxnId="{A126225B-6DD7-4581-A5B6-31228B41D6A6}">
      <dgm:prSet/>
      <dgm:spPr/>
      <dgm:t>
        <a:bodyPr/>
        <a:lstStyle/>
        <a:p>
          <a:endParaRPr lang="en-US"/>
        </a:p>
      </dgm:t>
    </dgm:pt>
    <dgm:pt modelId="{196740BA-A7F2-41F5-BB27-C9FC14DF7151}" type="sibTrans" cxnId="{A126225B-6DD7-4581-A5B6-31228B41D6A6}">
      <dgm:prSet/>
      <dgm:spPr/>
      <dgm:t>
        <a:bodyPr/>
        <a:lstStyle/>
        <a:p>
          <a:endParaRPr lang="en-US"/>
        </a:p>
      </dgm:t>
    </dgm:pt>
    <dgm:pt modelId="{C456B57E-AAEB-43F4-98E4-340598ED16F3}">
      <dgm:prSet phldrT="[Text]"/>
      <dgm:spPr>
        <a:xfrm>
          <a:off x="742376" y="968662"/>
          <a:ext cx="1295036" cy="415688"/>
        </a:xfrm>
      </dgm:spPr>
      <dgm:t>
        <a:bodyPr/>
        <a:lstStyle/>
        <a:p>
          <a:r>
            <a:rPr lang="en-US" b="1">
              <a:latin typeface="Times New Roman" panose="02020603050405020304"/>
              <a:ea typeface="+mn-ea"/>
              <a:cs typeface="+mn-cs"/>
            </a:rPr>
            <a:t>Ownership</a:t>
          </a:r>
        </a:p>
      </dgm:t>
    </dgm:pt>
    <dgm:pt modelId="{3121FC08-73CC-424E-B997-D9A62D491C2A}" type="parTrans" cxnId="{D3BC1E5D-D82B-41C9-88CD-AF3C23279443}">
      <dgm:prSet/>
      <dgm:spPr/>
      <dgm:t>
        <a:bodyPr/>
        <a:lstStyle/>
        <a:p>
          <a:endParaRPr lang="en-US"/>
        </a:p>
      </dgm:t>
    </dgm:pt>
    <dgm:pt modelId="{9BD54C6F-BD25-454D-A934-9776A1DCDA4F}" type="sibTrans" cxnId="{D3BC1E5D-D82B-41C9-88CD-AF3C23279443}">
      <dgm:prSet/>
      <dgm:spPr/>
      <dgm:t>
        <a:bodyPr/>
        <a:lstStyle/>
        <a:p>
          <a:endParaRPr lang="en-US"/>
        </a:p>
      </dgm:t>
    </dgm:pt>
    <dgm:pt modelId="{93AED007-CABF-4306-A2AB-E9D1AF0B3C02}">
      <dgm:prSet phldrT="[Text]"/>
      <dgm:spPr>
        <a:xfrm>
          <a:off x="742376" y="968662"/>
          <a:ext cx="1295036" cy="415688"/>
        </a:xfrm>
      </dgm:spPr>
      <dgm:t>
        <a:bodyPr/>
        <a:lstStyle/>
        <a:p>
          <a:r>
            <a:rPr lang="en-US" b="1">
              <a:latin typeface="Times New Roman" panose="02020603050405020304"/>
              <a:ea typeface="+mn-ea"/>
              <a:cs typeface="+mn-cs"/>
            </a:rPr>
            <a:t>Client Country</a:t>
          </a:r>
        </a:p>
      </dgm:t>
    </dgm:pt>
    <dgm:pt modelId="{755AFF96-F258-4899-9696-319648A1923E}" type="parTrans" cxnId="{6D982C47-EC53-4127-BB28-39C583063BAC}">
      <dgm:prSet/>
      <dgm:spPr/>
      <dgm:t>
        <a:bodyPr/>
        <a:lstStyle/>
        <a:p>
          <a:endParaRPr lang="en-US"/>
        </a:p>
      </dgm:t>
    </dgm:pt>
    <dgm:pt modelId="{EBF96A31-9B5F-411A-9009-5CF1B3CBFDC9}" type="sibTrans" cxnId="{6D982C47-EC53-4127-BB28-39C583063BAC}">
      <dgm:prSet/>
      <dgm:spPr/>
      <dgm:t>
        <a:bodyPr/>
        <a:lstStyle/>
        <a:p>
          <a:endParaRPr lang="en-US"/>
        </a:p>
      </dgm:t>
    </dgm:pt>
    <dgm:pt modelId="{3845F36F-B7D9-4A97-BD4A-1EAFE8492EF4}">
      <dgm:prSet phldrT="[Text]"/>
      <dgm:spPr>
        <a:xfrm>
          <a:off x="742376" y="968662"/>
          <a:ext cx="1295036" cy="415688"/>
        </a:xfrm>
      </dgm:spPr>
      <dgm:t>
        <a:bodyPr/>
        <a:lstStyle/>
        <a:p>
          <a:r>
            <a:rPr lang="en-US" b="1">
              <a:latin typeface="Times New Roman" panose="02020603050405020304"/>
              <a:ea typeface="+mn-ea"/>
              <a:cs typeface="+mn-cs"/>
            </a:rPr>
            <a:t>Contractor</a:t>
          </a:r>
        </a:p>
      </dgm:t>
    </dgm:pt>
    <dgm:pt modelId="{643E7DC2-A8A8-46E9-8C4F-0AFAF786DBEB}" type="parTrans" cxnId="{D98E2E8D-D334-4CB0-B111-7384AB9BA6F8}">
      <dgm:prSet/>
      <dgm:spPr/>
      <dgm:t>
        <a:bodyPr/>
        <a:lstStyle/>
        <a:p>
          <a:endParaRPr lang="en-US"/>
        </a:p>
      </dgm:t>
    </dgm:pt>
    <dgm:pt modelId="{A9C089F7-B156-41D6-ACE4-6BB11F199B3D}" type="sibTrans" cxnId="{D98E2E8D-D334-4CB0-B111-7384AB9BA6F8}">
      <dgm:prSet/>
      <dgm:spPr/>
      <dgm:t>
        <a:bodyPr/>
        <a:lstStyle/>
        <a:p>
          <a:endParaRPr lang="en-US"/>
        </a:p>
      </dgm:t>
    </dgm:pt>
    <dgm:pt modelId="{20CBEF4C-8182-43E2-8006-350551317980}">
      <dgm:prSet phldrT="[Text]"/>
      <dgm:spPr>
        <a:xfrm>
          <a:off x="742376" y="968662"/>
          <a:ext cx="1295036" cy="415688"/>
        </a:xfrm>
      </dgm:spPr>
      <dgm:t>
        <a:bodyPr/>
        <a:lstStyle/>
        <a:p>
          <a:r>
            <a:rPr lang="en-US" b="1">
              <a:latin typeface="Times New Roman" panose="02020603050405020304"/>
              <a:ea typeface="+mn-ea"/>
              <a:cs typeface="+mn-cs"/>
            </a:rPr>
            <a:t>Local Community</a:t>
          </a:r>
        </a:p>
      </dgm:t>
    </dgm:pt>
    <dgm:pt modelId="{A7E81C46-BACB-453A-A086-E9404264360F}" type="parTrans" cxnId="{2A31286F-E0B2-4C1E-A9CF-50C7FEEBA0A6}">
      <dgm:prSet/>
      <dgm:spPr/>
      <dgm:t>
        <a:bodyPr/>
        <a:lstStyle/>
        <a:p>
          <a:endParaRPr lang="en-US"/>
        </a:p>
      </dgm:t>
    </dgm:pt>
    <dgm:pt modelId="{E111E77C-0DD8-4DDA-80E1-B4307D038C6E}" type="sibTrans" cxnId="{2A31286F-E0B2-4C1E-A9CF-50C7FEEBA0A6}">
      <dgm:prSet/>
      <dgm:spPr/>
      <dgm:t>
        <a:bodyPr/>
        <a:lstStyle/>
        <a:p>
          <a:endParaRPr lang="en-US"/>
        </a:p>
      </dgm:t>
    </dgm:pt>
    <dgm:pt modelId="{86084D75-5A77-4342-AABC-BA973EB51B93}">
      <dgm:prSet phldrT="[Text]"/>
      <dgm:spPr>
        <a:xfrm>
          <a:off x="742376" y="968662"/>
          <a:ext cx="1295036" cy="415688"/>
        </a:xfrm>
      </dgm:spPr>
      <dgm:t>
        <a:bodyPr/>
        <a:lstStyle/>
        <a:p>
          <a:r>
            <a:rPr lang="en-US" b="1">
              <a:latin typeface="Times New Roman" panose="02020603050405020304"/>
              <a:ea typeface="+mn-ea"/>
              <a:cs typeface="+mn-cs"/>
            </a:rPr>
            <a:t>Insurance</a:t>
          </a:r>
        </a:p>
      </dgm:t>
    </dgm:pt>
    <dgm:pt modelId="{1B43A07F-2305-4E80-A891-7B0E90B56F88}" type="parTrans" cxnId="{845E7AA7-6ED0-4301-A54A-E3C9B4BB86F2}">
      <dgm:prSet/>
      <dgm:spPr/>
      <dgm:t>
        <a:bodyPr/>
        <a:lstStyle/>
        <a:p>
          <a:endParaRPr lang="en-US"/>
        </a:p>
      </dgm:t>
    </dgm:pt>
    <dgm:pt modelId="{4B083EAC-E393-42C5-AA44-041422730946}" type="sibTrans" cxnId="{845E7AA7-6ED0-4301-A54A-E3C9B4BB86F2}">
      <dgm:prSet/>
      <dgm:spPr/>
      <dgm:t>
        <a:bodyPr/>
        <a:lstStyle/>
        <a:p>
          <a:endParaRPr lang="en-US"/>
        </a:p>
      </dgm:t>
    </dgm:pt>
    <dgm:pt modelId="{84EC9327-8D02-483C-95FF-3DEE6328D1F7}" type="pres">
      <dgm:prSet presAssocID="{6F68A551-7E43-408A-B317-B66459EA04D9}" presName="theList" presStyleCnt="0">
        <dgm:presLayoutVars>
          <dgm:dir/>
          <dgm:animLvl val="lvl"/>
          <dgm:resizeHandles val="exact"/>
        </dgm:presLayoutVars>
      </dgm:prSet>
      <dgm:spPr/>
      <dgm:t>
        <a:bodyPr/>
        <a:lstStyle/>
        <a:p>
          <a:endParaRPr lang="en-US"/>
        </a:p>
      </dgm:t>
    </dgm:pt>
    <dgm:pt modelId="{7F34ECB2-9676-48A6-9B95-FD62B6168F7D}" type="pres">
      <dgm:prSet presAssocID="{C456B57E-AAEB-43F4-98E4-340598ED16F3}" presName="compNode" presStyleCnt="0"/>
      <dgm:spPr/>
    </dgm:pt>
    <dgm:pt modelId="{A1DADEC8-6723-41B1-B1F1-3D41AFE28E85}" type="pres">
      <dgm:prSet presAssocID="{C456B57E-AAEB-43F4-98E4-340598ED16F3}" presName="aNode" presStyleLbl="bgShp" presStyleIdx="0" presStyleCnt="6"/>
      <dgm:spPr/>
      <dgm:t>
        <a:bodyPr/>
        <a:lstStyle/>
        <a:p>
          <a:endParaRPr lang="en-US"/>
        </a:p>
      </dgm:t>
    </dgm:pt>
    <dgm:pt modelId="{E72C82BC-BB19-4F6A-B55F-9B61E8E5A7E9}" type="pres">
      <dgm:prSet presAssocID="{C456B57E-AAEB-43F4-98E4-340598ED16F3}" presName="textNode" presStyleLbl="bgShp" presStyleIdx="0" presStyleCnt="6"/>
      <dgm:spPr/>
      <dgm:t>
        <a:bodyPr/>
        <a:lstStyle/>
        <a:p>
          <a:endParaRPr lang="en-US"/>
        </a:p>
      </dgm:t>
    </dgm:pt>
    <dgm:pt modelId="{6EFFDF10-4057-407C-ABE7-1144AF6A57A8}" type="pres">
      <dgm:prSet presAssocID="{C456B57E-AAEB-43F4-98E4-340598ED16F3}" presName="compChildNode" presStyleCnt="0"/>
      <dgm:spPr/>
    </dgm:pt>
    <dgm:pt modelId="{581C1164-48DA-462E-939A-092E72233104}" type="pres">
      <dgm:prSet presAssocID="{C456B57E-AAEB-43F4-98E4-340598ED16F3}" presName="theInnerList" presStyleCnt="0"/>
      <dgm:spPr/>
    </dgm:pt>
    <dgm:pt modelId="{E268CE7F-2504-4E26-9E98-E5358FB218AC}" type="pres">
      <dgm:prSet presAssocID="{93AED007-CABF-4306-A2AB-E9D1AF0B3C02}" presName="childNode" presStyleLbl="node1" presStyleIdx="0" presStyleCnt="22">
        <dgm:presLayoutVars>
          <dgm:bulletEnabled val="1"/>
        </dgm:presLayoutVars>
      </dgm:prSet>
      <dgm:spPr/>
      <dgm:t>
        <a:bodyPr/>
        <a:lstStyle/>
        <a:p>
          <a:endParaRPr lang="en-US"/>
        </a:p>
      </dgm:t>
    </dgm:pt>
    <dgm:pt modelId="{4BA51CE1-FFA8-4007-AEC8-C8E99283A054}" type="pres">
      <dgm:prSet presAssocID="{93AED007-CABF-4306-A2AB-E9D1AF0B3C02}" presName="aSpace2" presStyleCnt="0"/>
      <dgm:spPr/>
    </dgm:pt>
    <dgm:pt modelId="{63EA0D94-9097-4EDE-892C-36FC13F94BEB}" type="pres">
      <dgm:prSet presAssocID="{3845F36F-B7D9-4A97-BD4A-1EAFE8492EF4}" presName="childNode" presStyleLbl="node1" presStyleIdx="1" presStyleCnt="22">
        <dgm:presLayoutVars>
          <dgm:bulletEnabled val="1"/>
        </dgm:presLayoutVars>
      </dgm:prSet>
      <dgm:spPr/>
      <dgm:t>
        <a:bodyPr/>
        <a:lstStyle/>
        <a:p>
          <a:endParaRPr lang="en-US"/>
        </a:p>
      </dgm:t>
    </dgm:pt>
    <dgm:pt modelId="{017FC313-499D-44CD-94D6-6F046BB5550C}" type="pres">
      <dgm:prSet presAssocID="{3845F36F-B7D9-4A97-BD4A-1EAFE8492EF4}" presName="aSpace2" presStyleCnt="0"/>
      <dgm:spPr/>
    </dgm:pt>
    <dgm:pt modelId="{A94A2A2B-788A-4A51-9C49-E2DE929B5E0C}" type="pres">
      <dgm:prSet presAssocID="{20CBEF4C-8182-43E2-8006-350551317980}" presName="childNode" presStyleLbl="node1" presStyleIdx="2" presStyleCnt="22">
        <dgm:presLayoutVars>
          <dgm:bulletEnabled val="1"/>
        </dgm:presLayoutVars>
      </dgm:prSet>
      <dgm:spPr/>
      <dgm:t>
        <a:bodyPr/>
        <a:lstStyle/>
        <a:p>
          <a:endParaRPr lang="en-US"/>
        </a:p>
      </dgm:t>
    </dgm:pt>
    <dgm:pt modelId="{4C2B94D0-7ABD-4BC7-B743-A15D28B01C48}" type="pres">
      <dgm:prSet presAssocID="{20CBEF4C-8182-43E2-8006-350551317980}" presName="aSpace2" presStyleCnt="0"/>
      <dgm:spPr/>
    </dgm:pt>
    <dgm:pt modelId="{5990C75D-FDDE-40FA-893F-E1342296A7DA}" type="pres">
      <dgm:prSet presAssocID="{86084D75-5A77-4342-AABC-BA973EB51B93}" presName="childNode" presStyleLbl="node1" presStyleIdx="3" presStyleCnt="22">
        <dgm:presLayoutVars>
          <dgm:bulletEnabled val="1"/>
        </dgm:presLayoutVars>
      </dgm:prSet>
      <dgm:spPr/>
      <dgm:t>
        <a:bodyPr/>
        <a:lstStyle/>
        <a:p>
          <a:endParaRPr lang="en-US"/>
        </a:p>
      </dgm:t>
    </dgm:pt>
    <dgm:pt modelId="{8EE10BC0-895F-42F6-A025-3DFA4DFE2949}" type="pres">
      <dgm:prSet presAssocID="{C456B57E-AAEB-43F4-98E4-340598ED16F3}" presName="aSpace" presStyleCnt="0"/>
      <dgm:spPr/>
    </dgm:pt>
    <dgm:pt modelId="{0DDEB70D-8C46-40BF-A18A-B9D328AE5B3F}" type="pres">
      <dgm:prSet presAssocID="{3F3F95B3-9EEB-48B0-9B79-C84406B165FC}" presName="compNode" presStyleCnt="0"/>
      <dgm:spPr/>
    </dgm:pt>
    <dgm:pt modelId="{7A13265C-0B22-4B9D-8A8E-379A78F94C6F}" type="pres">
      <dgm:prSet presAssocID="{3F3F95B3-9EEB-48B0-9B79-C84406B165FC}" presName="aNode" presStyleLbl="bgShp" presStyleIdx="1" presStyleCnt="6"/>
      <dgm:spPr>
        <a:prstGeom prst="roundRect">
          <a:avLst/>
        </a:prstGeom>
      </dgm:spPr>
      <dgm:t>
        <a:bodyPr/>
        <a:lstStyle/>
        <a:p>
          <a:endParaRPr lang="en-US"/>
        </a:p>
      </dgm:t>
    </dgm:pt>
    <dgm:pt modelId="{6DE99998-CABC-486B-A196-186C5B7C02D3}" type="pres">
      <dgm:prSet presAssocID="{3F3F95B3-9EEB-48B0-9B79-C84406B165FC}" presName="textNode" presStyleLbl="bgShp" presStyleIdx="1" presStyleCnt="6"/>
      <dgm:spPr/>
      <dgm:t>
        <a:bodyPr/>
        <a:lstStyle/>
        <a:p>
          <a:endParaRPr lang="en-US"/>
        </a:p>
      </dgm:t>
    </dgm:pt>
    <dgm:pt modelId="{00720F54-03BC-4F56-B1BD-DAA94DC5D7AA}" type="pres">
      <dgm:prSet presAssocID="{3F3F95B3-9EEB-48B0-9B79-C84406B165FC}" presName="compChildNode" presStyleCnt="0"/>
      <dgm:spPr/>
    </dgm:pt>
    <dgm:pt modelId="{771C6DA5-73D0-4DA3-BA4B-B2456BB7977B}" type="pres">
      <dgm:prSet presAssocID="{3F3F95B3-9EEB-48B0-9B79-C84406B165FC}" presName="theInnerList" presStyleCnt="0"/>
      <dgm:spPr/>
    </dgm:pt>
    <dgm:pt modelId="{A9213B6B-AFD0-418A-845A-56A54BF2F623}" type="pres">
      <dgm:prSet presAssocID="{4CE9E562-3FE6-407F-8CE1-30BC68127994}" presName="childNode" presStyleLbl="node1" presStyleIdx="4" presStyleCnt="22">
        <dgm:presLayoutVars>
          <dgm:bulletEnabled val="1"/>
        </dgm:presLayoutVars>
      </dgm:prSet>
      <dgm:spPr>
        <a:prstGeom prst="round2SameRect">
          <a:avLst>
            <a:gd name="adj1" fmla="val 8000"/>
            <a:gd name="adj2" fmla="val 0"/>
          </a:avLst>
        </a:prstGeom>
      </dgm:spPr>
      <dgm:t>
        <a:bodyPr/>
        <a:lstStyle/>
        <a:p>
          <a:endParaRPr lang="en-US"/>
        </a:p>
      </dgm:t>
    </dgm:pt>
    <dgm:pt modelId="{C8ECAB21-9DB5-45F0-8417-F734E22C14FF}" type="pres">
      <dgm:prSet presAssocID="{4CE9E562-3FE6-407F-8CE1-30BC68127994}" presName="aSpace2" presStyleCnt="0"/>
      <dgm:spPr/>
    </dgm:pt>
    <dgm:pt modelId="{3F143128-A1C8-4880-8B3D-F45090C60A13}" type="pres">
      <dgm:prSet presAssocID="{0D7F5883-9C3F-4B0E-A440-8D08F67DEE49}" presName="childNode" presStyleLbl="node1" presStyleIdx="5" presStyleCnt="22">
        <dgm:presLayoutVars>
          <dgm:bulletEnabled val="1"/>
        </dgm:presLayoutVars>
      </dgm:prSet>
      <dgm:spPr/>
      <dgm:t>
        <a:bodyPr/>
        <a:lstStyle/>
        <a:p>
          <a:endParaRPr lang="en-US"/>
        </a:p>
      </dgm:t>
    </dgm:pt>
    <dgm:pt modelId="{8549F476-D9F3-4DEC-8787-4DF4FF246546}" type="pres">
      <dgm:prSet presAssocID="{0D7F5883-9C3F-4B0E-A440-8D08F67DEE49}" presName="aSpace2" presStyleCnt="0"/>
      <dgm:spPr/>
    </dgm:pt>
    <dgm:pt modelId="{881451FF-C1D5-4857-A043-742F95A09659}" type="pres">
      <dgm:prSet presAssocID="{3A7D99EA-A0BE-4ADE-90EB-541506F0DAA8}" presName="childNode" presStyleLbl="node1" presStyleIdx="6" presStyleCnt="22">
        <dgm:presLayoutVars>
          <dgm:bulletEnabled val="1"/>
        </dgm:presLayoutVars>
      </dgm:prSet>
      <dgm:spPr/>
      <dgm:t>
        <a:bodyPr/>
        <a:lstStyle/>
        <a:p>
          <a:endParaRPr lang="en-US"/>
        </a:p>
      </dgm:t>
    </dgm:pt>
    <dgm:pt modelId="{14F4850A-2A83-4AE0-BEE1-338F7C3FF16E}" type="pres">
      <dgm:prSet presAssocID="{3A7D99EA-A0BE-4ADE-90EB-541506F0DAA8}" presName="aSpace2" presStyleCnt="0"/>
      <dgm:spPr/>
    </dgm:pt>
    <dgm:pt modelId="{6E291A2E-B053-4CEE-B63E-9438110E9374}" type="pres">
      <dgm:prSet presAssocID="{D1D59C95-D2B4-432B-B956-0AE441DD0493}" presName="childNode" presStyleLbl="node1" presStyleIdx="7" presStyleCnt="22">
        <dgm:presLayoutVars>
          <dgm:bulletEnabled val="1"/>
        </dgm:presLayoutVars>
      </dgm:prSet>
      <dgm:spPr/>
      <dgm:t>
        <a:bodyPr/>
        <a:lstStyle/>
        <a:p>
          <a:endParaRPr lang="en-US"/>
        </a:p>
      </dgm:t>
    </dgm:pt>
    <dgm:pt modelId="{8604CFFF-6938-4E18-8D06-9C65FFDF936B}" type="pres">
      <dgm:prSet presAssocID="{3F3F95B3-9EEB-48B0-9B79-C84406B165FC}" presName="aSpace" presStyleCnt="0"/>
      <dgm:spPr/>
    </dgm:pt>
    <dgm:pt modelId="{ACE7A1FF-B061-4A13-917A-89FB23DB6E5F}" type="pres">
      <dgm:prSet presAssocID="{D9F5310C-4511-455F-92A9-00BA44C19991}" presName="compNode" presStyleCnt="0"/>
      <dgm:spPr/>
    </dgm:pt>
    <dgm:pt modelId="{4FD24DDE-7D70-45F0-9ADA-1E12A591D2DA}" type="pres">
      <dgm:prSet presAssocID="{D9F5310C-4511-455F-92A9-00BA44C19991}" presName="aNode" presStyleLbl="bgShp" presStyleIdx="2" presStyleCnt="6"/>
      <dgm:spPr>
        <a:prstGeom prst="roundRect">
          <a:avLst/>
        </a:prstGeom>
      </dgm:spPr>
      <dgm:t>
        <a:bodyPr/>
        <a:lstStyle/>
        <a:p>
          <a:endParaRPr lang="en-US"/>
        </a:p>
      </dgm:t>
    </dgm:pt>
    <dgm:pt modelId="{08A9C4FC-4A7C-42D3-930E-1BE1C4348D23}" type="pres">
      <dgm:prSet presAssocID="{D9F5310C-4511-455F-92A9-00BA44C19991}" presName="textNode" presStyleLbl="bgShp" presStyleIdx="2" presStyleCnt="6"/>
      <dgm:spPr/>
      <dgm:t>
        <a:bodyPr/>
        <a:lstStyle/>
        <a:p>
          <a:endParaRPr lang="en-US"/>
        </a:p>
      </dgm:t>
    </dgm:pt>
    <dgm:pt modelId="{7B0F8F4A-7828-4D6B-B6C5-DB1F793AA420}" type="pres">
      <dgm:prSet presAssocID="{D9F5310C-4511-455F-92A9-00BA44C19991}" presName="compChildNode" presStyleCnt="0"/>
      <dgm:spPr/>
    </dgm:pt>
    <dgm:pt modelId="{C1FCAFD4-64FC-400F-9A13-192DF7D4A67F}" type="pres">
      <dgm:prSet presAssocID="{D9F5310C-4511-455F-92A9-00BA44C19991}" presName="theInnerList" presStyleCnt="0"/>
      <dgm:spPr/>
    </dgm:pt>
    <dgm:pt modelId="{0B493253-197A-401D-A3EC-9EE6D5B1C472}" type="pres">
      <dgm:prSet presAssocID="{DA1FBAA2-DD42-4C54-B804-156F3ED215A0}" presName="childNode" presStyleLbl="node1" presStyleIdx="8" presStyleCnt="22">
        <dgm:presLayoutVars>
          <dgm:bulletEnabled val="1"/>
        </dgm:presLayoutVars>
      </dgm:prSet>
      <dgm:spPr/>
      <dgm:t>
        <a:bodyPr/>
        <a:lstStyle/>
        <a:p>
          <a:endParaRPr lang="en-US"/>
        </a:p>
      </dgm:t>
    </dgm:pt>
    <dgm:pt modelId="{9473C5B9-C062-49A9-8C2B-ECB463BB3EB9}" type="pres">
      <dgm:prSet presAssocID="{DA1FBAA2-DD42-4C54-B804-156F3ED215A0}" presName="aSpace2" presStyleCnt="0"/>
      <dgm:spPr/>
    </dgm:pt>
    <dgm:pt modelId="{75AD852E-355B-420A-B55E-2883E49B2B09}" type="pres">
      <dgm:prSet presAssocID="{83393304-4AD9-4C5B-AF48-27D862C55F72}" presName="childNode" presStyleLbl="node1" presStyleIdx="9" presStyleCnt="22">
        <dgm:presLayoutVars>
          <dgm:bulletEnabled val="1"/>
        </dgm:presLayoutVars>
      </dgm:prSet>
      <dgm:spPr/>
      <dgm:t>
        <a:bodyPr/>
        <a:lstStyle/>
        <a:p>
          <a:endParaRPr lang="en-US"/>
        </a:p>
      </dgm:t>
    </dgm:pt>
    <dgm:pt modelId="{8E105F54-9206-4321-A3D2-1D0431364400}" type="pres">
      <dgm:prSet presAssocID="{83393304-4AD9-4C5B-AF48-27D862C55F72}" presName="aSpace2" presStyleCnt="0"/>
      <dgm:spPr/>
    </dgm:pt>
    <dgm:pt modelId="{5417DB4D-C77E-4A93-AF87-AD2C0DE9C8E9}" type="pres">
      <dgm:prSet presAssocID="{B51E2B9D-A705-4703-8AD8-8FF30CB96C43}" presName="childNode" presStyleLbl="node1" presStyleIdx="10" presStyleCnt="22">
        <dgm:presLayoutVars>
          <dgm:bulletEnabled val="1"/>
        </dgm:presLayoutVars>
      </dgm:prSet>
      <dgm:spPr/>
      <dgm:t>
        <a:bodyPr/>
        <a:lstStyle/>
        <a:p>
          <a:endParaRPr lang="en-US"/>
        </a:p>
      </dgm:t>
    </dgm:pt>
    <dgm:pt modelId="{92121FFF-F932-4886-80E2-6C3D1BCBB174}" type="pres">
      <dgm:prSet presAssocID="{D9F5310C-4511-455F-92A9-00BA44C19991}" presName="aSpace" presStyleCnt="0"/>
      <dgm:spPr/>
    </dgm:pt>
    <dgm:pt modelId="{9F2495BB-17FE-45D1-832F-01FC5A5E2AC0}" type="pres">
      <dgm:prSet presAssocID="{A630C113-DA40-478A-9754-EC83605356CA}" presName="compNode" presStyleCnt="0"/>
      <dgm:spPr/>
    </dgm:pt>
    <dgm:pt modelId="{427054C7-1136-44E4-866C-A10DB3570D9F}" type="pres">
      <dgm:prSet presAssocID="{A630C113-DA40-478A-9754-EC83605356CA}" presName="aNode" presStyleLbl="bgShp" presStyleIdx="3" presStyleCnt="6"/>
      <dgm:spPr>
        <a:prstGeom prst="roundRect">
          <a:avLst/>
        </a:prstGeom>
      </dgm:spPr>
      <dgm:t>
        <a:bodyPr/>
        <a:lstStyle/>
        <a:p>
          <a:endParaRPr lang="en-US"/>
        </a:p>
      </dgm:t>
    </dgm:pt>
    <dgm:pt modelId="{34AC75A0-24E2-48B8-8639-08B485C7FBD3}" type="pres">
      <dgm:prSet presAssocID="{A630C113-DA40-478A-9754-EC83605356CA}" presName="textNode" presStyleLbl="bgShp" presStyleIdx="3" presStyleCnt="6"/>
      <dgm:spPr/>
      <dgm:t>
        <a:bodyPr/>
        <a:lstStyle/>
        <a:p>
          <a:endParaRPr lang="en-US"/>
        </a:p>
      </dgm:t>
    </dgm:pt>
    <dgm:pt modelId="{E0E2AC1C-D742-4B3B-8675-8F3552FFBFFC}" type="pres">
      <dgm:prSet presAssocID="{A630C113-DA40-478A-9754-EC83605356CA}" presName="compChildNode" presStyleCnt="0"/>
      <dgm:spPr/>
    </dgm:pt>
    <dgm:pt modelId="{472D110E-5211-48FA-A61D-8ADE707E16C8}" type="pres">
      <dgm:prSet presAssocID="{A630C113-DA40-478A-9754-EC83605356CA}" presName="theInnerList" presStyleCnt="0"/>
      <dgm:spPr/>
    </dgm:pt>
    <dgm:pt modelId="{8237130C-CFC1-458B-B4C8-4DBAF4D22636}" type="pres">
      <dgm:prSet presAssocID="{BBD7B213-F004-4007-B073-BA0AFB9DAE02}" presName="childNode" presStyleLbl="node1" presStyleIdx="11" presStyleCnt="22">
        <dgm:presLayoutVars>
          <dgm:bulletEnabled val="1"/>
        </dgm:presLayoutVars>
      </dgm:prSet>
      <dgm:spPr>
        <a:prstGeom prst="roundRect">
          <a:avLst/>
        </a:prstGeom>
      </dgm:spPr>
      <dgm:t>
        <a:bodyPr/>
        <a:lstStyle/>
        <a:p>
          <a:endParaRPr lang="en-US"/>
        </a:p>
      </dgm:t>
    </dgm:pt>
    <dgm:pt modelId="{6DA114C9-7265-4280-B2D3-277C623C54F7}" type="pres">
      <dgm:prSet presAssocID="{BBD7B213-F004-4007-B073-BA0AFB9DAE02}" presName="aSpace2" presStyleCnt="0"/>
      <dgm:spPr/>
    </dgm:pt>
    <dgm:pt modelId="{25770E3C-D575-434C-9FA3-9B4B4E5F51D3}" type="pres">
      <dgm:prSet presAssocID="{4A894500-75AB-4923-B756-EBFE2105B2C5}" presName="childNode" presStyleLbl="node1" presStyleIdx="12" presStyleCnt="22">
        <dgm:presLayoutVars>
          <dgm:bulletEnabled val="1"/>
        </dgm:presLayoutVars>
      </dgm:prSet>
      <dgm:spPr/>
      <dgm:t>
        <a:bodyPr/>
        <a:lstStyle/>
        <a:p>
          <a:endParaRPr lang="en-US"/>
        </a:p>
      </dgm:t>
    </dgm:pt>
    <dgm:pt modelId="{AD4F079E-489D-4A4C-852A-6DDEC878E4BF}" type="pres">
      <dgm:prSet presAssocID="{4A894500-75AB-4923-B756-EBFE2105B2C5}" presName="aSpace2" presStyleCnt="0"/>
      <dgm:spPr/>
    </dgm:pt>
    <dgm:pt modelId="{FEBDB620-9732-485A-BF23-75777F50BF53}" type="pres">
      <dgm:prSet presAssocID="{054411EE-63EB-4F74-9C8D-629E1E7FE60F}" presName="childNode" presStyleLbl="node1" presStyleIdx="13" presStyleCnt="22">
        <dgm:presLayoutVars>
          <dgm:bulletEnabled val="1"/>
        </dgm:presLayoutVars>
      </dgm:prSet>
      <dgm:spPr/>
      <dgm:t>
        <a:bodyPr/>
        <a:lstStyle/>
        <a:p>
          <a:endParaRPr lang="en-US"/>
        </a:p>
      </dgm:t>
    </dgm:pt>
    <dgm:pt modelId="{288E52B6-0211-4BE9-8DD2-1EF7D6A09A76}" type="pres">
      <dgm:prSet presAssocID="{A630C113-DA40-478A-9754-EC83605356CA}" presName="aSpace" presStyleCnt="0"/>
      <dgm:spPr/>
    </dgm:pt>
    <dgm:pt modelId="{5F5CD2E7-715F-49CD-9749-774C77F722A3}" type="pres">
      <dgm:prSet presAssocID="{CADE6A3C-0098-4BAF-9975-D9A973030982}" presName="compNode" presStyleCnt="0"/>
      <dgm:spPr/>
    </dgm:pt>
    <dgm:pt modelId="{13CA8D46-D4CC-4ADF-A576-ED1A5A75012F}" type="pres">
      <dgm:prSet presAssocID="{CADE6A3C-0098-4BAF-9975-D9A973030982}" presName="aNode" presStyleLbl="bgShp" presStyleIdx="4" presStyleCnt="6"/>
      <dgm:spPr>
        <a:prstGeom prst="roundRect">
          <a:avLst/>
        </a:prstGeom>
      </dgm:spPr>
      <dgm:t>
        <a:bodyPr/>
        <a:lstStyle/>
        <a:p>
          <a:endParaRPr lang="en-US"/>
        </a:p>
      </dgm:t>
    </dgm:pt>
    <dgm:pt modelId="{042F6B52-6D19-4493-A3E1-3F82594D8C49}" type="pres">
      <dgm:prSet presAssocID="{CADE6A3C-0098-4BAF-9975-D9A973030982}" presName="textNode" presStyleLbl="bgShp" presStyleIdx="4" presStyleCnt="6"/>
      <dgm:spPr/>
      <dgm:t>
        <a:bodyPr/>
        <a:lstStyle/>
        <a:p>
          <a:endParaRPr lang="en-US"/>
        </a:p>
      </dgm:t>
    </dgm:pt>
    <dgm:pt modelId="{5A6011DF-B550-4184-939F-3D003C714FE6}" type="pres">
      <dgm:prSet presAssocID="{CADE6A3C-0098-4BAF-9975-D9A973030982}" presName="compChildNode" presStyleCnt="0"/>
      <dgm:spPr/>
    </dgm:pt>
    <dgm:pt modelId="{22C4B52D-9150-433E-B058-EF9A8BBF92C1}" type="pres">
      <dgm:prSet presAssocID="{CADE6A3C-0098-4BAF-9975-D9A973030982}" presName="theInnerList" presStyleCnt="0"/>
      <dgm:spPr/>
    </dgm:pt>
    <dgm:pt modelId="{2D9E9755-6C19-4D9F-8697-2A78908BB979}" type="pres">
      <dgm:prSet presAssocID="{934AD681-DBD8-45AF-AAB6-CEC2DC16A520}" presName="childNode" presStyleLbl="node1" presStyleIdx="14" presStyleCnt="22">
        <dgm:presLayoutVars>
          <dgm:bulletEnabled val="1"/>
        </dgm:presLayoutVars>
      </dgm:prSet>
      <dgm:spPr>
        <a:prstGeom prst="roundRect">
          <a:avLst/>
        </a:prstGeom>
      </dgm:spPr>
      <dgm:t>
        <a:bodyPr/>
        <a:lstStyle/>
        <a:p>
          <a:endParaRPr lang="en-US"/>
        </a:p>
      </dgm:t>
    </dgm:pt>
    <dgm:pt modelId="{83A16FC1-88CF-45A8-A519-925BEFFAF23D}" type="pres">
      <dgm:prSet presAssocID="{934AD681-DBD8-45AF-AAB6-CEC2DC16A520}" presName="aSpace2" presStyleCnt="0"/>
      <dgm:spPr/>
    </dgm:pt>
    <dgm:pt modelId="{4AE5FFDD-1BF1-4B95-82F9-DE99E74A98AF}" type="pres">
      <dgm:prSet presAssocID="{0CD0DDAF-039C-4FF3-9CB2-A945878277AB}" presName="childNode" presStyleLbl="node1" presStyleIdx="15" presStyleCnt="22">
        <dgm:presLayoutVars>
          <dgm:bulletEnabled val="1"/>
        </dgm:presLayoutVars>
      </dgm:prSet>
      <dgm:spPr/>
      <dgm:t>
        <a:bodyPr/>
        <a:lstStyle/>
        <a:p>
          <a:endParaRPr lang="en-US"/>
        </a:p>
      </dgm:t>
    </dgm:pt>
    <dgm:pt modelId="{6E051FFB-F5F5-4D6F-A315-A81F7946DE2E}" type="pres">
      <dgm:prSet presAssocID="{0CD0DDAF-039C-4FF3-9CB2-A945878277AB}" presName="aSpace2" presStyleCnt="0"/>
      <dgm:spPr/>
    </dgm:pt>
    <dgm:pt modelId="{0E8CD5D9-1964-4D84-84BA-638805FD3C5D}" type="pres">
      <dgm:prSet presAssocID="{2CC241A4-A199-477E-9411-E482481D33F9}" presName="childNode" presStyleLbl="node1" presStyleIdx="16" presStyleCnt="22">
        <dgm:presLayoutVars>
          <dgm:bulletEnabled val="1"/>
        </dgm:presLayoutVars>
      </dgm:prSet>
      <dgm:spPr/>
      <dgm:t>
        <a:bodyPr/>
        <a:lstStyle/>
        <a:p>
          <a:endParaRPr lang="en-US"/>
        </a:p>
      </dgm:t>
    </dgm:pt>
    <dgm:pt modelId="{1ED1064A-3008-4BFF-A3D6-2F557052F8DF}" type="pres">
      <dgm:prSet presAssocID="{CADE6A3C-0098-4BAF-9975-D9A973030982}" presName="aSpace" presStyleCnt="0"/>
      <dgm:spPr/>
    </dgm:pt>
    <dgm:pt modelId="{D87899A3-631F-422F-81CC-BD2030F2B0A4}" type="pres">
      <dgm:prSet presAssocID="{FC18CE6A-449B-4A3B-9028-BBFAB655BD7A}" presName="compNode" presStyleCnt="0"/>
      <dgm:spPr/>
    </dgm:pt>
    <dgm:pt modelId="{F815CDEA-0AA5-43C5-A026-EF6AF9E53E6A}" type="pres">
      <dgm:prSet presAssocID="{FC18CE6A-449B-4A3B-9028-BBFAB655BD7A}" presName="aNode" presStyleLbl="bgShp" presStyleIdx="5" presStyleCnt="6"/>
      <dgm:spPr>
        <a:prstGeom prst="roundRect">
          <a:avLst/>
        </a:prstGeom>
      </dgm:spPr>
      <dgm:t>
        <a:bodyPr/>
        <a:lstStyle/>
        <a:p>
          <a:endParaRPr lang="en-US"/>
        </a:p>
      </dgm:t>
    </dgm:pt>
    <dgm:pt modelId="{B8309575-A7CD-478F-9174-48E6129236B5}" type="pres">
      <dgm:prSet presAssocID="{FC18CE6A-449B-4A3B-9028-BBFAB655BD7A}" presName="textNode" presStyleLbl="bgShp" presStyleIdx="5" presStyleCnt="6"/>
      <dgm:spPr/>
      <dgm:t>
        <a:bodyPr/>
        <a:lstStyle/>
        <a:p>
          <a:endParaRPr lang="en-US"/>
        </a:p>
      </dgm:t>
    </dgm:pt>
    <dgm:pt modelId="{24FA5F6E-E4AA-444A-B6C6-E098FF648CA2}" type="pres">
      <dgm:prSet presAssocID="{FC18CE6A-449B-4A3B-9028-BBFAB655BD7A}" presName="compChildNode" presStyleCnt="0"/>
      <dgm:spPr/>
    </dgm:pt>
    <dgm:pt modelId="{2F19ACED-D1A5-4E06-B6BA-F1CB879BD726}" type="pres">
      <dgm:prSet presAssocID="{FC18CE6A-449B-4A3B-9028-BBFAB655BD7A}" presName="theInnerList" presStyleCnt="0"/>
      <dgm:spPr/>
    </dgm:pt>
    <dgm:pt modelId="{9EE523E2-FD30-4CA9-A6CF-8D8AD8DAA6FD}" type="pres">
      <dgm:prSet presAssocID="{B4B241C2-B24F-44D0-BFE0-497648340376}" presName="childNode" presStyleLbl="node1" presStyleIdx="17" presStyleCnt="22">
        <dgm:presLayoutVars>
          <dgm:bulletEnabled val="1"/>
        </dgm:presLayoutVars>
      </dgm:prSet>
      <dgm:spPr>
        <a:prstGeom prst="round2SameRect">
          <a:avLst>
            <a:gd name="adj1" fmla="val 8000"/>
            <a:gd name="adj2" fmla="val 0"/>
          </a:avLst>
        </a:prstGeom>
      </dgm:spPr>
      <dgm:t>
        <a:bodyPr/>
        <a:lstStyle/>
        <a:p>
          <a:endParaRPr lang="en-US"/>
        </a:p>
      </dgm:t>
    </dgm:pt>
    <dgm:pt modelId="{D11814AC-9646-461C-BE0D-F5DE3D9ACF06}" type="pres">
      <dgm:prSet presAssocID="{B4B241C2-B24F-44D0-BFE0-497648340376}" presName="aSpace2" presStyleCnt="0"/>
      <dgm:spPr/>
    </dgm:pt>
    <dgm:pt modelId="{B959EA7D-9F0B-4E45-9F93-18B7D37621CE}" type="pres">
      <dgm:prSet presAssocID="{0798E709-BA4E-419E-B9E8-A50A941E9372}" presName="childNode" presStyleLbl="node1" presStyleIdx="18" presStyleCnt="22">
        <dgm:presLayoutVars>
          <dgm:bulletEnabled val="1"/>
        </dgm:presLayoutVars>
      </dgm:prSet>
      <dgm:spPr/>
      <dgm:t>
        <a:bodyPr/>
        <a:lstStyle/>
        <a:p>
          <a:endParaRPr lang="en-US"/>
        </a:p>
      </dgm:t>
    </dgm:pt>
    <dgm:pt modelId="{2C8885D1-EC0D-4E29-80B8-E364FA1FAA6C}" type="pres">
      <dgm:prSet presAssocID="{0798E709-BA4E-419E-B9E8-A50A941E9372}" presName="aSpace2" presStyleCnt="0"/>
      <dgm:spPr/>
    </dgm:pt>
    <dgm:pt modelId="{2055B05D-2F2A-46C0-B0BC-321668FD386E}" type="pres">
      <dgm:prSet presAssocID="{8F461C9E-8F4E-4168-9F4B-1A83AAA91FD3}" presName="childNode" presStyleLbl="node1" presStyleIdx="19" presStyleCnt="22">
        <dgm:presLayoutVars>
          <dgm:bulletEnabled val="1"/>
        </dgm:presLayoutVars>
      </dgm:prSet>
      <dgm:spPr/>
      <dgm:t>
        <a:bodyPr/>
        <a:lstStyle/>
        <a:p>
          <a:endParaRPr lang="en-US"/>
        </a:p>
      </dgm:t>
    </dgm:pt>
    <dgm:pt modelId="{339D5960-095F-44B2-823D-458F8E9186B0}" type="pres">
      <dgm:prSet presAssocID="{8F461C9E-8F4E-4168-9F4B-1A83AAA91FD3}" presName="aSpace2" presStyleCnt="0"/>
      <dgm:spPr/>
    </dgm:pt>
    <dgm:pt modelId="{B700054F-913E-424C-92AD-20B85A57C3B1}" type="pres">
      <dgm:prSet presAssocID="{10682015-EBE0-4B44-AB48-15838121780D}" presName="childNode" presStyleLbl="node1" presStyleIdx="20" presStyleCnt="22">
        <dgm:presLayoutVars>
          <dgm:bulletEnabled val="1"/>
        </dgm:presLayoutVars>
      </dgm:prSet>
      <dgm:spPr/>
      <dgm:t>
        <a:bodyPr/>
        <a:lstStyle/>
        <a:p>
          <a:endParaRPr lang="en-US"/>
        </a:p>
      </dgm:t>
    </dgm:pt>
    <dgm:pt modelId="{5A1C4D94-0E9F-461C-863F-E8CFE5116DD1}" type="pres">
      <dgm:prSet presAssocID="{10682015-EBE0-4B44-AB48-15838121780D}" presName="aSpace2" presStyleCnt="0"/>
      <dgm:spPr/>
    </dgm:pt>
    <dgm:pt modelId="{308D8A1A-57F1-4FA9-9AD2-61C8BF38D849}" type="pres">
      <dgm:prSet presAssocID="{9652CF31-9A44-469C-ADBF-4AE45CB5A739}" presName="childNode" presStyleLbl="node1" presStyleIdx="21" presStyleCnt="22">
        <dgm:presLayoutVars>
          <dgm:bulletEnabled val="1"/>
        </dgm:presLayoutVars>
      </dgm:prSet>
      <dgm:spPr/>
      <dgm:t>
        <a:bodyPr/>
        <a:lstStyle/>
        <a:p>
          <a:endParaRPr lang="en-US"/>
        </a:p>
      </dgm:t>
    </dgm:pt>
  </dgm:ptLst>
  <dgm:cxnLst>
    <dgm:cxn modelId="{AB407888-9EDF-4114-8FFC-82903F9AA6C2}" type="presOf" srcId="{D1D59C95-D2B4-432B-B956-0AE441DD0493}" destId="{6E291A2E-B053-4CEE-B63E-9438110E9374}" srcOrd="0" destOrd="0" presId="urn:microsoft.com/office/officeart/2005/8/layout/lProcess2"/>
    <dgm:cxn modelId="{6434A420-728B-40D2-8702-A0DA2110346B}" type="presOf" srcId="{0CD0DDAF-039C-4FF3-9CB2-A945878277AB}" destId="{4AE5FFDD-1BF1-4B95-82F9-DE99E74A98AF}" srcOrd="0" destOrd="0" presId="urn:microsoft.com/office/officeart/2005/8/layout/lProcess2"/>
    <dgm:cxn modelId="{A717C08F-EEEF-43CD-ABCE-74BA5333D5D8}" type="presOf" srcId="{0D7F5883-9C3F-4B0E-A440-8D08F67DEE49}" destId="{3F143128-A1C8-4880-8B3D-F45090C60A13}" srcOrd="0" destOrd="0" presId="urn:microsoft.com/office/officeart/2005/8/layout/lProcess2"/>
    <dgm:cxn modelId="{A8ECCBA9-8A9F-4512-A0CE-C347643392BB}" type="presOf" srcId="{86084D75-5A77-4342-AABC-BA973EB51B93}" destId="{5990C75D-FDDE-40FA-893F-E1342296A7DA}" srcOrd="0" destOrd="0" presId="urn:microsoft.com/office/officeart/2005/8/layout/lProcess2"/>
    <dgm:cxn modelId="{9825C51E-55BD-4CBA-905A-A708FD099FC5}" type="presOf" srcId="{CADE6A3C-0098-4BAF-9975-D9A973030982}" destId="{042F6B52-6D19-4493-A3E1-3F82594D8C49}" srcOrd="1" destOrd="0" presId="urn:microsoft.com/office/officeart/2005/8/layout/lProcess2"/>
    <dgm:cxn modelId="{90097954-8C4D-4B4B-844D-FE08E15D6C05}" type="presOf" srcId="{3A7D99EA-A0BE-4ADE-90EB-541506F0DAA8}" destId="{881451FF-C1D5-4857-A043-742F95A09659}" srcOrd="0" destOrd="0" presId="urn:microsoft.com/office/officeart/2005/8/layout/lProcess2"/>
    <dgm:cxn modelId="{98FAC674-5929-49B1-9380-7F76DB5D17EC}" type="presOf" srcId="{054411EE-63EB-4F74-9C8D-629E1E7FE60F}" destId="{FEBDB620-9732-485A-BF23-75777F50BF53}" srcOrd="0" destOrd="0" presId="urn:microsoft.com/office/officeart/2005/8/layout/lProcess2"/>
    <dgm:cxn modelId="{4325D701-3E04-40EA-9B27-EBE7D638F994}" type="presOf" srcId="{A630C113-DA40-478A-9754-EC83605356CA}" destId="{34AC75A0-24E2-48B8-8639-08B485C7FBD3}" srcOrd="1" destOrd="0" presId="urn:microsoft.com/office/officeart/2005/8/layout/lProcess2"/>
    <dgm:cxn modelId="{C0B2ADE7-7B5C-4922-971B-1DB0BC512728}" type="presOf" srcId="{9652CF31-9A44-469C-ADBF-4AE45CB5A739}" destId="{308D8A1A-57F1-4FA9-9AD2-61C8BF38D849}" srcOrd="0" destOrd="0" presId="urn:microsoft.com/office/officeart/2005/8/layout/lProcess2"/>
    <dgm:cxn modelId="{53BA3C5B-0019-403F-BC20-B04A62A436CF}" srcId="{A630C113-DA40-478A-9754-EC83605356CA}" destId="{BBD7B213-F004-4007-B073-BA0AFB9DAE02}" srcOrd="0" destOrd="0" parTransId="{B626C08D-5656-409A-8635-7025CD88A70C}" sibTransId="{6A03D9BE-7993-4DE8-921D-10A623A540EB}"/>
    <dgm:cxn modelId="{88848E5C-29C9-48E1-9914-BB0230A68C06}" type="presOf" srcId="{3F3F95B3-9EEB-48B0-9B79-C84406B165FC}" destId="{6DE99998-CABC-486B-A196-186C5B7C02D3}" srcOrd="1" destOrd="0" presId="urn:microsoft.com/office/officeart/2005/8/layout/lProcess2"/>
    <dgm:cxn modelId="{1E8AE1BE-CE7B-4123-92BA-B0093785DEFD}" srcId="{D9F5310C-4511-455F-92A9-00BA44C19991}" destId="{B51E2B9D-A705-4703-8AD8-8FF30CB96C43}" srcOrd="2" destOrd="0" parTransId="{3421D73C-BA70-431D-9297-48D3D348078D}" sibTransId="{C5D57453-BE24-4BB8-9DFA-ADFDE343CD6F}"/>
    <dgm:cxn modelId="{12169C4F-EABB-4940-BFCD-4FDF82903B02}" type="presOf" srcId="{FC18CE6A-449B-4A3B-9028-BBFAB655BD7A}" destId="{B8309575-A7CD-478F-9174-48E6129236B5}" srcOrd="1" destOrd="0" presId="urn:microsoft.com/office/officeart/2005/8/layout/lProcess2"/>
    <dgm:cxn modelId="{71432C69-62CE-4A90-B5A4-780DECB4A97B}" srcId="{6F68A551-7E43-408A-B317-B66459EA04D9}" destId="{3F3F95B3-9EEB-48B0-9B79-C84406B165FC}" srcOrd="1" destOrd="0" parTransId="{2E4DE36E-D491-49AA-8DB8-57902F107C9F}" sibTransId="{754B3D68-21A5-456C-8C02-DC8D25C45CDD}"/>
    <dgm:cxn modelId="{63554E2D-6FF8-4933-9CC3-07ACF9734100}" type="presOf" srcId="{6F68A551-7E43-408A-B317-B66459EA04D9}" destId="{84EC9327-8D02-483C-95FF-3DEE6328D1F7}" srcOrd="0" destOrd="0" presId="urn:microsoft.com/office/officeart/2005/8/layout/lProcess2"/>
    <dgm:cxn modelId="{5FC3245D-9CF5-477A-B20A-AFB900C2C2FB}" srcId="{FC18CE6A-449B-4A3B-9028-BBFAB655BD7A}" destId="{B4B241C2-B24F-44D0-BFE0-497648340376}" srcOrd="0" destOrd="0" parTransId="{222A7C1B-A9D3-423B-9CFF-B1DA15EF6498}" sibTransId="{0A48D954-19FC-4028-B6B4-848C6909EE25}"/>
    <dgm:cxn modelId="{10D0A68B-51A2-401F-AA40-F1CE7B6495A1}" srcId="{D9F5310C-4511-455F-92A9-00BA44C19991}" destId="{83393304-4AD9-4C5B-AF48-27D862C55F72}" srcOrd="1" destOrd="0" parTransId="{F4AE1700-77A1-4B47-A0DC-D6EA6B68D517}" sibTransId="{529B5AB2-CB2C-4024-9216-BBAF02C2DF03}"/>
    <dgm:cxn modelId="{DF84974B-5243-4EFF-A152-B6FBF53AEFCA}" srcId="{CADE6A3C-0098-4BAF-9975-D9A973030982}" destId="{0CD0DDAF-039C-4FF3-9CB2-A945878277AB}" srcOrd="1" destOrd="0" parTransId="{E67D1DB4-2411-4A6D-B99D-E64C6ACD6D85}" sibTransId="{2F174FE7-7521-42E9-9565-7749B6E38CD0}"/>
    <dgm:cxn modelId="{3FF6E5C2-8B4F-4464-8D67-560449489E8E}" srcId="{FC18CE6A-449B-4A3B-9028-BBFAB655BD7A}" destId="{0798E709-BA4E-419E-B9E8-A50A941E9372}" srcOrd="1" destOrd="0" parTransId="{310D7B26-794F-4D8C-80CE-E42DF7476824}" sibTransId="{817C4CED-8FAD-4800-A101-31197C1A5957}"/>
    <dgm:cxn modelId="{D3BC1E5D-D82B-41C9-88CD-AF3C23279443}" srcId="{6F68A551-7E43-408A-B317-B66459EA04D9}" destId="{C456B57E-AAEB-43F4-98E4-340598ED16F3}" srcOrd="0" destOrd="0" parTransId="{3121FC08-73CC-424E-B997-D9A62D491C2A}" sibTransId="{9BD54C6F-BD25-454D-A934-9776A1DCDA4F}"/>
    <dgm:cxn modelId="{BCF3C741-A24E-43F8-90CE-2A77844E22D5}" type="presOf" srcId="{934AD681-DBD8-45AF-AAB6-CEC2DC16A520}" destId="{2D9E9755-6C19-4D9F-8697-2A78908BB979}" srcOrd="0" destOrd="0" presId="urn:microsoft.com/office/officeart/2005/8/layout/lProcess2"/>
    <dgm:cxn modelId="{EBF569D4-6C6F-4314-8050-5965BAFBBC61}" type="presOf" srcId="{3845F36F-B7D9-4A97-BD4A-1EAFE8492EF4}" destId="{63EA0D94-9097-4EDE-892C-36FC13F94BEB}" srcOrd="0" destOrd="0" presId="urn:microsoft.com/office/officeart/2005/8/layout/lProcess2"/>
    <dgm:cxn modelId="{E820FD4E-9E37-4459-BD13-DE10DC3C879E}" type="presOf" srcId="{D9F5310C-4511-455F-92A9-00BA44C19991}" destId="{4FD24DDE-7D70-45F0-9ADA-1E12A591D2DA}" srcOrd="0" destOrd="0" presId="urn:microsoft.com/office/officeart/2005/8/layout/lProcess2"/>
    <dgm:cxn modelId="{99496B38-4F4B-4F9A-985B-F247E5E8B048}" type="presOf" srcId="{D9F5310C-4511-455F-92A9-00BA44C19991}" destId="{08A9C4FC-4A7C-42D3-930E-1BE1C4348D23}" srcOrd="1" destOrd="0" presId="urn:microsoft.com/office/officeart/2005/8/layout/lProcess2"/>
    <dgm:cxn modelId="{BA2E6923-2171-4626-A5D0-A0F276AFCD88}" srcId="{D9F5310C-4511-455F-92A9-00BA44C19991}" destId="{DA1FBAA2-DD42-4C54-B804-156F3ED215A0}" srcOrd="0" destOrd="0" parTransId="{63F08C69-C4C6-42C9-9912-CE1CBAD732EB}" sibTransId="{7AE585B0-6B4A-444D-9733-F6AB43544759}"/>
    <dgm:cxn modelId="{BC675C70-956F-43A9-B9F9-7BA03AB027AF}" type="presOf" srcId="{20CBEF4C-8182-43E2-8006-350551317980}" destId="{A94A2A2B-788A-4A51-9C49-E2DE929B5E0C}" srcOrd="0" destOrd="0" presId="urn:microsoft.com/office/officeart/2005/8/layout/lProcess2"/>
    <dgm:cxn modelId="{4684B00A-A6D1-41A3-A1DD-2077CF2987FA}" srcId="{A630C113-DA40-478A-9754-EC83605356CA}" destId="{4A894500-75AB-4923-B756-EBFE2105B2C5}" srcOrd="1" destOrd="0" parTransId="{0A9636C1-1939-4744-B9F0-AF80B3F80E7C}" sibTransId="{C3C3B107-EE7B-4E28-8425-0E24D5A55B72}"/>
    <dgm:cxn modelId="{AA445F1F-0A93-46D2-BAC7-7DD1B089D56B}" type="presOf" srcId="{0798E709-BA4E-419E-B9E8-A50A941E9372}" destId="{B959EA7D-9F0B-4E45-9F93-18B7D37621CE}" srcOrd="0" destOrd="0" presId="urn:microsoft.com/office/officeart/2005/8/layout/lProcess2"/>
    <dgm:cxn modelId="{D98E2E8D-D334-4CB0-B111-7384AB9BA6F8}" srcId="{C456B57E-AAEB-43F4-98E4-340598ED16F3}" destId="{3845F36F-B7D9-4A97-BD4A-1EAFE8492EF4}" srcOrd="1" destOrd="0" parTransId="{643E7DC2-A8A8-46E9-8C4F-0AFAF786DBEB}" sibTransId="{A9C089F7-B156-41D6-ACE4-6BB11F199B3D}"/>
    <dgm:cxn modelId="{6BA976E1-A58A-4B10-8F40-214B45ED5444}" srcId="{FC18CE6A-449B-4A3B-9028-BBFAB655BD7A}" destId="{9652CF31-9A44-469C-ADBF-4AE45CB5A739}" srcOrd="4" destOrd="0" parTransId="{E47A84CE-D01E-4C8F-968F-E7B255324B51}" sibTransId="{90B39809-FAF7-4F6B-8D54-5D17DEA003D8}"/>
    <dgm:cxn modelId="{E7AD179F-4151-4956-89B2-6DCC17BDC105}" type="presOf" srcId="{8F461C9E-8F4E-4168-9F4B-1A83AAA91FD3}" destId="{2055B05D-2F2A-46C0-B0BC-321668FD386E}" srcOrd="0" destOrd="0" presId="urn:microsoft.com/office/officeart/2005/8/layout/lProcess2"/>
    <dgm:cxn modelId="{B3A3F05D-8FCB-48AB-BAB8-1545DC0EB021}" srcId="{3F3F95B3-9EEB-48B0-9B79-C84406B165FC}" destId="{D1D59C95-D2B4-432B-B956-0AE441DD0493}" srcOrd="3" destOrd="0" parTransId="{0C83D02E-F3C2-46CC-80CF-E485C825159A}" sibTransId="{2DE3A07A-D215-4813-B2DB-8D376BACD198}"/>
    <dgm:cxn modelId="{2A31286F-E0B2-4C1E-A9CF-50C7FEEBA0A6}" srcId="{C456B57E-AAEB-43F4-98E4-340598ED16F3}" destId="{20CBEF4C-8182-43E2-8006-350551317980}" srcOrd="2" destOrd="0" parTransId="{A7E81C46-BACB-453A-A086-E9404264360F}" sibTransId="{E111E77C-0DD8-4DDA-80E1-B4307D038C6E}"/>
    <dgm:cxn modelId="{F5D994A6-95A0-45C3-BEFC-3B8DB841EA7E}" type="presOf" srcId="{93AED007-CABF-4306-A2AB-E9D1AF0B3C02}" destId="{E268CE7F-2504-4E26-9E98-E5358FB218AC}" srcOrd="0" destOrd="0" presId="urn:microsoft.com/office/officeart/2005/8/layout/lProcess2"/>
    <dgm:cxn modelId="{07A99C1C-F229-4FCE-8114-D974C903079C}" srcId="{6F68A551-7E43-408A-B317-B66459EA04D9}" destId="{CADE6A3C-0098-4BAF-9975-D9A973030982}" srcOrd="4" destOrd="0" parTransId="{2C6D08D8-77A6-4E71-8622-D93E803294E6}" sibTransId="{2F6BEC9C-D18D-431C-94A1-65F0FB6826DF}"/>
    <dgm:cxn modelId="{A126225B-6DD7-4581-A5B6-31228B41D6A6}" srcId="{3F3F95B3-9EEB-48B0-9B79-C84406B165FC}" destId="{0D7F5883-9C3F-4B0E-A440-8D08F67DEE49}" srcOrd="1" destOrd="0" parTransId="{1373F3E6-F8C8-4458-9CC2-9179E668C1EE}" sibTransId="{196740BA-A7F2-41F5-BB27-C9FC14DF7151}"/>
    <dgm:cxn modelId="{6D982C47-EC53-4127-BB28-39C583063BAC}" srcId="{C456B57E-AAEB-43F4-98E4-340598ED16F3}" destId="{93AED007-CABF-4306-A2AB-E9D1AF0B3C02}" srcOrd="0" destOrd="0" parTransId="{755AFF96-F258-4899-9696-319648A1923E}" sibTransId="{EBF96A31-9B5F-411A-9009-5CF1B3CBFDC9}"/>
    <dgm:cxn modelId="{CF6BF33D-4C5A-4B05-8C7F-5B4CEEA8AAE3}" srcId="{CADE6A3C-0098-4BAF-9975-D9A973030982}" destId="{934AD681-DBD8-45AF-AAB6-CEC2DC16A520}" srcOrd="0" destOrd="0" parTransId="{EA86F5E3-C6A4-4E6C-AB62-210CAAF1D3EF}" sibTransId="{7FD2EBD7-5519-483C-8C33-BFC033668FDE}"/>
    <dgm:cxn modelId="{6ECBC213-72B6-4781-AF77-4C6EF9CBF2DA}" srcId="{A630C113-DA40-478A-9754-EC83605356CA}" destId="{054411EE-63EB-4F74-9C8D-629E1E7FE60F}" srcOrd="2" destOrd="0" parTransId="{4003A2C5-654B-412C-988F-E38DB023373F}" sibTransId="{55CD7CD8-40AD-4998-B982-1B9786D708DA}"/>
    <dgm:cxn modelId="{9305B661-4032-4C31-9049-96E9F01C7082}" type="presOf" srcId="{2CC241A4-A199-477E-9411-E482481D33F9}" destId="{0E8CD5D9-1964-4D84-84BA-638805FD3C5D}" srcOrd="0" destOrd="0" presId="urn:microsoft.com/office/officeart/2005/8/layout/lProcess2"/>
    <dgm:cxn modelId="{8AD377BC-26F7-46C0-9326-015CD05948F1}" type="presOf" srcId="{4CE9E562-3FE6-407F-8CE1-30BC68127994}" destId="{A9213B6B-AFD0-418A-845A-56A54BF2F623}" srcOrd="0" destOrd="0" presId="urn:microsoft.com/office/officeart/2005/8/layout/lProcess2"/>
    <dgm:cxn modelId="{3F120D7B-14F0-4287-B0D0-ABC511498DAB}" type="presOf" srcId="{C456B57E-AAEB-43F4-98E4-340598ED16F3}" destId="{A1DADEC8-6723-41B1-B1F1-3D41AFE28E85}" srcOrd="0" destOrd="0" presId="urn:microsoft.com/office/officeart/2005/8/layout/lProcess2"/>
    <dgm:cxn modelId="{A03FF049-87D7-474B-853A-66A12233EB6B}" srcId="{FC18CE6A-449B-4A3B-9028-BBFAB655BD7A}" destId="{10682015-EBE0-4B44-AB48-15838121780D}" srcOrd="3" destOrd="0" parTransId="{EED71F03-6E74-4574-A943-1B8006A09C26}" sibTransId="{D17146C6-66B2-45D5-9266-F4EF7683EA67}"/>
    <dgm:cxn modelId="{BAD3E0E3-C01B-4610-9848-4B170CE2BB44}" srcId="{6F68A551-7E43-408A-B317-B66459EA04D9}" destId="{A630C113-DA40-478A-9754-EC83605356CA}" srcOrd="3" destOrd="0" parTransId="{E16659A8-9B51-4CF4-AA64-4920F3F5DD41}" sibTransId="{A3B7FF09-911C-49BF-98BB-E2FD6BBF744B}"/>
    <dgm:cxn modelId="{380FDB3A-8712-48BE-999A-E798632BFF03}" type="presOf" srcId="{A630C113-DA40-478A-9754-EC83605356CA}" destId="{427054C7-1136-44E4-866C-A10DB3570D9F}" srcOrd="0" destOrd="0" presId="urn:microsoft.com/office/officeart/2005/8/layout/lProcess2"/>
    <dgm:cxn modelId="{845E7AA7-6ED0-4301-A54A-E3C9B4BB86F2}" srcId="{C456B57E-AAEB-43F4-98E4-340598ED16F3}" destId="{86084D75-5A77-4342-AABC-BA973EB51B93}" srcOrd="3" destOrd="0" parTransId="{1B43A07F-2305-4E80-A891-7B0E90B56F88}" sibTransId="{4B083EAC-E393-42C5-AA44-041422730946}"/>
    <dgm:cxn modelId="{8D366BEE-1504-4627-9BBA-A3571BCA67CC}" type="presOf" srcId="{FC18CE6A-449B-4A3B-9028-BBFAB655BD7A}" destId="{F815CDEA-0AA5-43C5-A026-EF6AF9E53E6A}" srcOrd="0" destOrd="0" presId="urn:microsoft.com/office/officeart/2005/8/layout/lProcess2"/>
    <dgm:cxn modelId="{C55C3E49-43A1-4CB7-9DF6-1487AB76A42E}" srcId="{3F3F95B3-9EEB-48B0-9B79-C84406B165FC}" destId="{4CE9E562-3FE6-407F-8CE1-30BC68127994}" srcOrd="0" destOrd="0" parTransId="{D8776E7A-98C7-4564-B0E9-512B122EA563}" sibTransId="{DB85C9A5-FB34-4EC5-8913-D5342840D893}"/>
    <dgm:cxn modelId="{1534630B-BDF5-4054-A58F-D3D569CD6F0D}" type="presOf" srcId="{4A894500-75AB-4923-B756-EBFE2105B2C5}" destId="{25770E3C-D575-434C-9FA3-9B4B4E5F51D3}" srcOrd="0" destOrd="0" presId="urn:microsoft.com/office/officeart/2005/8/layout/lProcess2"/>
    <dgm:cxn modelId="{36F621E4-EE8A-440F-9BC2-1484D97C1B53}" type="presOf" srcId="{DA1FBAA2-DD42-4C54-B804-156F3ED215A0}" destId="{0B493253-197A-401D-A3EC-9EE6D5B1C472}" srcOrd="0" destOrd="0" presId="urn:microsoft.com/office/officeart/2005/8/layout/lProcess2"/>
    <dgm:cxn modelId="{CE087749-E2F5-445E-9E70-D0C6E91DC39B}" srcId="{FC18CE6A-449B-4A3B-9028-BBFAB655BD7A}" destId="{8F461C9E-8F4E-4168-9F4B-1A83AAA91FD3}" srcOrd="2" destOrd="0" parTransId="{4206FD2B-96A2-475E-9721-1EDF2A33B7AB}" sibTransId="{266A79D2-8C7D-4C0B-BB63-0985079DE3C9}"/>
    <dgm:cxn modelId="{CBE242F7-48BA-491C-9147-9E09D6958587}" type="presOf" srcId="{C456B57E-AAEB-43F4-98E4-340598ED16F3}" destId="{E72C82BC-BB19-4F6A-B55F-9B61E8E5A7E9}" srcOrd="1" destOrd="0" presId="urn:microsoft.com/office/officeart/2005/8/layout/lProcess2"/>
    <dgm:cxn modelId="{B1C6A9EC-A8B8-432F-887D-66C5B66FF7EA}" srcId="{CADE6A3C-0098-4BAF-9975-D9A973030982}" destId="{2CC241A4-A199-477E-9411-E482481D33F9}" srcOrd="2" destOrd="0" parTransId="{11E44B46-BC17-48FB-9B06-5E860BB9CD5C}" sibTransId="{CFF742CF-DCF5-4DBA-84A5-95ED87F959EA}"/>
    <dgm:cxn modelId="{4204D58D-C6F6-4C45-AB65-B0F3FBCE23C4}" type="presOf" srcId="{BBD7B213-F004-4007-B073-BA0AFB9DAE02}" destId="{8237130C-CFC1-458B-B4C8-4DBAF4D22636}" srcOrd="0" destOrd="0" presId="urn:microsoft.com/office/officeart/2005/8/layout/lProcess2"/>
    <dgm:cxn modelId="{12100190-75FE-407A-A216-76CA91F37637}" type="presOf" srcId="{B4B241C2-B24F-44D0-BFE0-497648340376}" destId="{9EE523E2-FD30-4CA9-A6CF-8D8AD8DAA6FD}" srcOrd="0" destOrd="0" presId="urn:microsoft.com/office/officeart/2005/8/layout/lProcess2"/>
    <dgm:cxn modelId="{D4A3403F-B5B7-4048-B404-AD9043F74445}" srcId="{6F68A551-7E43-408A-B317-B66459EA04D9}" destId="{D9F5310C-4511-455F-92A9-00BA44C19991}" srcOrd="2" destOrd="0" parTransId="{F876E5C5-70A4-4EB4-9ACC-9655F9E43614}" sibTransId="{47F70D03-E16E-493E-818D-4523158665EF}"/>
    <dgm:cxn modelId="{67F9E18A-65F0-453F-883F-59CF097395EB}" srcId="{6F68A551-7E43-408A-B317-B66459EA04D9}" destId="{FC18CE6A-449B-4A3B-9028-BBFAB655BD7A}" srcOrd="5" destOrd="0" parTransId="{CED02176-047B-45E3-868A-F9167B277FD7}" sibTransId="{AF3F569A-192E-461F-83F5-6FF9EE1D7250}"/>
    <dgm:cxn modelId="{9C0BE0A1-48BD-48CF-8560-97B45A49CCB1}" type="presOf" srcId="{83393304-4AD9-4C5B-AF48-27D862C55F72}" destId="{75AD852E-355B-420A-B55E-2883E49B2B09}" srcOrd="0" destOrd="0" presId="urn:microsoft.com/office/officeart/2005/8/layout/lProcess2"/>
    <dgm:cxn modelId="{E3B3527F-2194-4D4A-A0FF-D0BED652C1CC}" type="presOf" srcId="{3F3F95B3-9EEB-48B0-9B79-C84406B165FC}" destId="{7A13265C-0B22-4B9D-8A8E-379A78F94C6F}" srcOrd="0" destOrd="0" presId="urn:microsoft.com/office/officeart/2005/8/layout/lProcess2"/>
    <dgm:cxn modelId="{85955585-833C-4E71-AAFB-5CBD652F43F7}" type="presOf" srcId="{10682015-EBE0-4B44-AB48-15838121780D}" destId="{B700054F-913E-424C-92AD-20B85A57C3B1}" srcOrd="0" destOrd="0" presId="urn:microsoft.com/office/officeart/2005/8/layout/lProcess2"/>
    <dgm:cxn modelId="{EA811D5F-7130-4395-8D21-6490F7A82EC5}" type="presOf" srcId="{CADE6A3C-0098-4BAF-9975-D9A973030982}" destId="{13CA8D46-D4CC-4ADF-A576-ED1A5A75012F}" srcOrd="0" destOrd="0" presId="urn:microsoft.com/office/officeart/2005/8/layout/lProcess2"/>
    <dgm:cxn modelId="{405A0106-3F71-4E55-9780-AC5CE8145D9A}" srcId="{3F3F95B3-9EEB-48B0-9B79-C84406B165FC}" destId="{3A7D99EA-A0BE-4ADE-90EB-541506F0DAA8}" srcOrd="2" destOrd="0" parTransId="{702981CB-634E-45F2-82AE-F6C87882C03B}" sibTransId="{0B3EC0EC-DA0A-42C8-9B25-5AE97BE611D5}"/>
    <dgm:cxn modelId="{134AD419-ED5E-43ED-AE7E-A064CA97C61A}" type="presOf" srcId="{B51E2B9D-A705-4703-8AD8-8FF30CB96C43}" destId="{5417DB4D-C77E-4A93-AF87-AD2C0DE9C8E9}" srcOrd="0" destOrd="0" presId="urn:microsoft.com/office/officeart/2005/8/layout/lProcess2"/>
    <dgm:cxn modelId="{98C2C982-F18A-47A6-9905-C99CC1112C03}" type="presParOf" srcId="{84EC9327-8D02-483C-95FF-3DEE6328D1F7}" destId="{7F34ECB2-9676-48A6-9B95-FD62B6168F7D}" srcOrd="0" destOrd="0" presId="urn:microsoft.com/office/officeart/2005/8/layout/lProcess2"/>
    <dgm:cxn modelId="{A84AC950-56B0-4AB5-B48B-A29188D4FB86}" type="presParOf" srcId="{7F34ECB2-9676-48A6-9B95-FD62B6168F7D}" destId="{A1DADEC8-6723-41B1-B1F1-3D41AFE28E85}" srcOrd="0" destOrd="0" presId="urn:microsoft.com/office/officeart/2005/8/layout/lProcess2"/>
    <dgm:cxn modelId="{2DB58226-B69D-4537-A5E0-A5CD9A63E95B}" type="presParOf" srcId="{7F34ECB2-9676-48A6-9B95-FD62B6168F7D}" destId="{E72C82BC-BB19-4F6A-B55F-9B61E8E5A7E9}" srcOrd="1" destOrd="0" presId="urn:microsoft.com/office/officeart/2005/8/layout/lProcess2"/>
    <dgm:cxn modelId="{6FB8F977-8F87-4AA3-9574-58040031DE6D}" type="presParOf" srcId="{7F34ECB2-9676-48A6-9B95-FD62B6168F7D}" destId="{6EFFDF10-4057-407C-ABE7-1144AF6A57A8}" srcOrd="2" destOrd="0" presId="urn:microsoft.com/office/officeart/2005/8/layout/lProcess2"/>
    <dgm:cxn modelId="{4CF81707-8F78-415F-ADFD-974A6CFA57B0}" type="presParOf" srcId="{6EFFDF10-4057-407C-ABE7-1144AF6A57A8}" destId="{581C1164-48DA-462E-939A-092E72233104}" srcOrd="0" destOrd="0" presId="urn:microsoft.com/office/officeart/2005/8/layout/lProcess2"/>
    <dgm:cxn modelId="{DEE0DDDA-4B27-4719-998D-550CC0D24B5B}" type="presParOf" srcId="{581C1164-48DA-462E-939A-092E72233104}" destId="{E268CE7F-2504-4E26-9E98-E5358FB218AC}" srcOrd="0" destOrd="0" presId="urn:microsoft.com/office/officeart/2005/8/layout/lProcess2"/>
    <dgm:cxn modelId="{D850346E-B23D-4FC4-ACE6-36EFCDCF6917}" type="presParOf" srcId="{581C1164-48DA-462E-939A-092E72233104}" destId="{4BA51CE1-FFA8-4007-AEC8-C8E99283A054}" srcOrd="1" destOrd="0" presId="urn:microsoft.com/office/officeart/2005/8/layout/lProcess2"/>
    <dgm:cxn modelId="{FB042B38-E6BD-454A-9C40-C39B97C8066D}" type="presParOf" srcId="{581C1164-48DA-462E-939A-092E72233104}" destId="{63EA0D94-9097-4EDE-892C-36FC13F94BEB}" srcOrd="2" destOrd="0" presId="urn:microsoft.com/office/officeart/2005/8/layout/lProcess2"/>
    <dgm:cxn modelId="{230996E0-2168-456D-BDC2-49C534F04506}" type="presParOf" srcId="{581C1164-48DA-462E-939A-092E72233104}" destId="{017FC313-499D-44CD-94D6-6F046BB5550C}" srcOrd="3" destOrd="0" presId="urn:microsoft.com/office/officeart/2005/8/layout/lProcess2"/>
    <dgm:cxn modelId="{DB0DE2FD-53C1-44EF-98B2-6CA02D7588B6}" type="presParOf" srcId="{581C1164-48DA-462E-939A-092E72233104}" destId="{A94A2A2B-788A-4A51-9C49-E2DE929B5E0C}" srcOrd="4" destOrd="0" presId="urn:microsoft.com/office/officeart/2005/8/layout/lProcess2"/>
    <dgm:cxn modelId="{FC113F73-277B-4266-9BDE-F6AEC6805C70}" type="presParOf" srcId="{581C1164-48DA-462E-939A-092E72233104}" destId="{4C2B94D0-7ABD-4BC7-B743-A15D28B01C48}" srcOrd="5" destOrd="0" presId="urn:microsoft.com/office/officeart/2005/8/layout/lProcess2"/>
    <dgm:cxn modelId="{8E360055-ABBB-47CF-AB84-767B26889CC4}" type="presParOf" srcId="{581C1164-48DA-462E-939A-092E72233104}" destId="{5990C75D-FDDE-40FA-893F-E1342296A7DA}" srcOrd="6" destOrd="0" presId="urn:microsoft.com/office/officeart/2005/8/layout/lProcess2"/>
    <dgm:cxn modelId="{459E4B46-BF40-48DC-B0B5-605A2C84A7E3}" type="presParOf" srcId="{84EC9327-8D02-483C-95FF-3DEE6328D1F7}" destId="{8EE10BC0-895F-42F6-A025-3DFA4DFE2949}" srcOrd="1" destOrd="0" presId="urn:microsoft.com/office/officeart/2005/8/layout/lProcess2"/>
    <dgm:cxn modelId="{F4AEE186-E475-44B0-94CB-001C47E75133}" type="presParOf" srcId="{84EC9327-8D02-483C-95FF-3DEE6328D1F7}" destId="{0DDEB70D-8C46-40BF-A18A-B9D328AE5B3F}" srcOrd="2" destOrd="0" presId="urn:microsoft.com/office/officeart/2005/8/layout/lProcess2"/>
    <dgm:cxn modelId="{3F06A82F-A787-430D-9EF2-F9EBFC35DECA}" type="presParOf" srcId="{0DDEB70D-8C46-40BF-A18A-B9D328AE5B3F}" destId="{7A13265C-0B22-4B9D-8A8E-379A78F94C6F}" srcOrd="0" destOrd="0" presId="urn:microsoft.com/office/officeart/2005/8/layout/lProcess2"/>
    <dgm:cxn modelId="{D2C111CF-8B9C-4912-9CDA-A1FC0F4EED56}" type="presParOf" srcId="{0DDEB70D-8C46-40BF-A18A-B9D328AE5B3F}" destId="{6DE99998-CABC-486B-A196-186C5B7C02D3}" srcOrd="1" destOrd="0" presId="urn:microsoft.com/office/officeart/2005/8/layout/lProcess2"/>
    <dgm:cxn modelId="{E82F9F9C-D44A-4D01-8E66-E2F8C55A1FCD}" type="presParOf" srcId="{0DDEB70D-8C46-40BF-A18A-B9D328AE5B3F}" destId="{00720F54-03BC-4F56-B1BD-DAA94DC5D7AA}" srcOrd="2" destOrd="0" presId="urn:microsoft.com/office/officeart/2005/8/layout/lProcess2"/>
    <dgm:cxn modelId="{1C855E63-AB68-4108-9C9F-6CAFB75C8EFE}" type="presParOf" srcId="{00720F54-03BC-4F56-B1BD-DAA94DC5D7AA}" destId="{771C6DA5-73D0-4DA3-BA4B-B2456BB7977B}" srcOrd="0" destOrd="0" presId="urn:microsoft.com/office/officeart/2005/8/layout/lProcess2"/>
    <dgm:cxn modelId="{8AE1CAF4-DF83-4000-AFC3-4E764906DF8E}" type="presParOf" srcId="{771C6DA5-73D0-4DA3-BA4B-B2456BB7977B}" destId="{A9213B6B-AFD0-418A-845A-56A54BF2F623}" srcOrd="0" destOrd="0" presId="urn:microsoft.com/office/officeart/2005/8/layout/lProcess2"/>
    <dgm:cxn modelId="{059BB7FC-56B0-4DBE-8648-6F336518C6AC}" type="presParOf" srcId="{771C6DA5-73D0-4DA3-BA4B-B2456BB7977B}" destId="{C8ECAB21-9DB5-45F0-8417-F734E22C14FF}" srcOrd="1" destOrd="0" presId="urn:microsoft.com/office/officeart/2005/8/layout/lProcess2"/>
    <dgm:cxn modelId="{3C60B84D-D407-4648-A03D-6695FCD640E9}" type="presParOf" srcId="{771C6DA5-73D0-4DA3-BA4B-B2456BB7977B}" destId="{3F143128-A1C8-4880-8B3D-F45090C60A13}" srcOrd="2" destOrd="0" presId="urn:microsoft.com/office/officeart/2005/8/layout/lProcess2"/>
    <dgm:cxn modelId="{051BA389-BFD8-4DFF-914A-7AEB210FD65D}" type="presParOf" srcId="{771C6DA5-73D0-4DA3-BA4B-B2456BB7977B}" destId="{8549F476-D9F3-4DEC-8787-4DF4FF246546}" srcOrd="3" destOrd="0" presId="urn:microsoft.com/office/officeart/2005/8/layout/lProcess2"/>
    <dgm:cxn modelId="{8C8F0A66-E570-4B63-B494-334CBAC0CB3D}" type="presParOf" srcId="{771C6DA5-73D0-4DA3-BA4B-B2456BB7977B}" destId="{881451FF-C1D5-4857-A043-742F95A09659}" srcOrd="4" destOrd="0" presId="urn:microsoft.com/office/officeart/2005/8/layout/lProcess2"/>
    <dgm:cxn modelId="{0F191590-6D44-46EC-9272-168A32FD9A13}" type="presParOf" srcId="{771C6DA5-73D0-4DA3-BA4B-B2456BB7977B}" destId="{14F4850A-2A83-4AE0-BEE1-338F7C3FF16E}" srcOrd="5" destOrd="0" presId="urn:microsoft.com/office/officeart/2005/8/layout/lProcess2"/>
    <dgm:cxn modelId="{0A53F2C2-5F37-45E0-BC57-6BBC3CAF72F3}" type="presParOf" srcId="{771C6DA5-73D0-4DA3-BA4B-B2456BB7977B}" destId="{6E291A2E-B053-4CEE-B63E-9438110E9374}" srcOrd="6" destOrd="0" presId="urn:microsoft.com/office/officeart/2005/8/layout/lProcess2"/>
    <dgm:cxn modelId="{48D76408-8BAD-4E0C-8993-EAF2F34A58B4}" type="presParOf" srcId="{84EC9327-8D02-483C-95FF-3DEE6328D1F7}" destId="{8604CFFF-6938-4E18-8D06-9C65FFDF936B}" srcOrd="3" destOrd="0" presId="urn:microsoft.com/office/officeart/2005/8/layout/lProcess2"/>
    <dgm:cxn modelId="{050AF506-7975-42DC-8AE0-533419C7A75A}" type="presParOf" srcId="{84EC9327-8D02-483C-95FF-3DEE6328D1F7}" destId="{ACE7A1FF-B061-4A13-917A-89FB23DB6E5F}" srcOrd="4" destOrd="0" presId="urn:microsoft.com/office/officeart/2005/8/layout/lProcess2"/>
    <dgm:cxn modelId="{B79CEB90-FB92-47C7-9AEF-C08C659AFA43}" type="presParOf" srcId="{ACE7A1FF-B061-4A13-917A-89FB23DB6E5F}" destId="{4FD24DDE-7D70-45F0-9ADA-1E12A591D2DA}" srcOrd="0" destOrd="0" presId="urn:microsoft.com/office/officeart/2005/8/layout/lProcess2"/>
    <dgm:cxn modelId="{DAD009A9-76F6-422A-B561-DFDD8946C9EF}" type="presParOf" srcId="{ACE7A1FF-B061-4A13-917A-89FB23DB6E5F}" destId="{08A9C4FC-4A7C-42D3-930E-1BE1C4348D23}" srcOrd="1" destOrd="0" presId="urn:microsoft.com/office/officeart/2005/8/layout/lProcess2"/>
    <dgm:cxn modelId="{BC942E9B-FECD-40F5-96C2-CD2F305EBBDB}" type="presParOf" srcId="{ACE7A1FF-B061-4A13-917A-89FB23DB6E5F}" destId="{7B0F8F4A-7828-4D6B-B6C5-DB1F793AA420}" srcOrd="2" destOrd="0" presId="urn:microsoft.com/office/officeart/2005/8/layout/lProcess2"/>
    <dgm:cxn modelId="{C23B3420-D71A-468A-AD89-A164D1D5DC02}" type="presParOf" srcId="{7B0F8F4A-7828-4D6B-B6C5-DB1F793AA420}" destId="{C1FCAFD4-64FC-400F-9A13-192DF7D4A67F}" srcOrd="0" destOrd="0" presId="urn:microsoft.com/office/officeart/2005/8/layout/lProcess2"/>
    <dgm:cxn modelId="{5EA19C15-80EC-4AFE-87EB-E97447F2D62F}" type="presParOf" srcId="{C1FCAFD4-64FC-400F-9A13-192DF7D4A67F}" destId="{0B493253-197A-401D-A3EC-9EE6D5B1C472}" srcOrd="0" destOrd="0" presId="urn:microsoft.com/office/officeart/2005/8/layout/lProcess2"/>
    <dgm:cxn modelId="{503D85DB-C15A-46BB-BCDE-FE845FD841CE}" type="presParOf" srcId="{C1FCAFD4-64FC-400F-9A13-192DF7D4A67F}" destId="{9473C5B9-C062-49A9-8C2B-ECB463BB3EB9}" srcOrd="1" destOrd="0" presId="urn:microsoft.com/office/officeart/2005/8/layout/lProcess2"/>
    <dgm:cxn modelId="{42EA3146-F426-435C-A5F8-3C97EA011193}" type="presParOf" srcId="{C1FCAFD4-64FC-400F-9A13-192DF7D4A67F}" destId="{75AD852E-355B-420A-B55E-2883E49B2B09}" srcOrd="2" destOrd="0" presId="urn:microsoft.com/office/officeart/2005/8/layout/lProcess2"/>
    <dgm:cxn modelId="{8981EF52-B383-455A-9398-2074269A39E3}" type="presParOf" srcId="{C1FCAFD4-64FC-400F-9A13-192DF7D4A67F}" destId="{8E105F54-9206-4321-A3D2-1D0431364400}" srcOrd="3" destOrd="0" presId="urn:microsoft.com/office/officeart/2005/8/layout/lProcess2"/>
    <dgm:cxn modelId="{B559CFB4-DC0A-4096-9C83-5165A24EDB0A}" type="presParOf" srcId="{C1FCAFD4-64FC-400F-9A13-192DF7D4A67F}" destId="{5417DB4D-C77E-4A93-AF87-AD2C0DE9C8E9}" srcOrd="4" destOrd="0" presId="urn:microsoft.com/office/officeart/2005/8/layout/lProcess2"/>
    <dgm:cxn modelId="{543FC16C-85D4-48A1-8AFA-950FA82D5C4A}" type="presParOf" srcId="{84EC9327-8D02-483C-95FF-3DEE6328D1F7}" destId="{92121FFF-F932-4886-80E2-6C3D1BCBB174}" srcOrd="5" destOrd="0" presId="urn:microsoft.com/office/officeart/2005/8/layout/lProcess2"/>
    <dgm:cxn modelId="{7899A5EE-F7AD-4246-8A36-CBA75537B541}" type="presParOf" srcId="{84EC9327-8D02-483C-95FF-3DEE6328D1F7}" destId="{9F2495BB-17FE-45D1-832F-01FC5A5E2AC0}" srcOrd="6" destOrd="0" presId="urn:microsoft.com/office/officeart/2005/8/layout/lProcess2"/>
    <dgm:cxn modelId="{06851FCD-3595-4417-8975-20E8C942B6AA}" type="presParOf" srcId="{9F2495BB-17FE-45D1-832F-01FC5A5E2AC0}" destId="{427054C7-1136-44E4-866C-A10DB3570D9F}" srcOrd="0" destOrd="0" presId="urn:microsoft.com/office/officeart/2005/8/layout/lProcess2"/>
    <dgm:cxn modelId="{6B151A67-86A5-4CED-8206-3149F9100748}" type="presParOf" srcId="{9F2495BB-17FE-45D1-832F-01FC5A5E2AC0}" destId="{34AC75A0-24E2-48B8-8639-08B485C7FBD3}" srcOrd="1" destOrd="0" presId="urn:microsoft.com/office/officeart/2005/8/layout/lProcess2"/>
    <dgm:cxn modelId="{EA5F403E-839A-4434-8A1E-8881A49B5349}" type="presParOf" srcId="{9F2495BB-17FE-45D1-832F-01FC5A5E2AC0}" destId="{E0E2AC1C-D742-4B3B-8675-8F3552FFBFFC}" srcOrd="2" destOrd="0" presId="urn:microsoft.com/office/officeart/2005/8/layout/lProcess2"/>
    <dgm:cxn modelId="{3E4E98EC-A671-4CB7-833E-E14B9F3FD67A}" type="presParOf" srcId="{E0E2AC1C-D742-4B3B-8675-8F3552FFBFFC}" destId="{472D110E-5211-48FA-A61D-8ADE707E16C8}" srcOrd="0" destOrd="0" presId="urn:microsoft.com/office/officeart/2005/8/layout/lProcess2"/>
    <dgm:cxn modelId="{206BD652-FCB0-4F07-9A83-1804AD0B42A2}" type="presParOf" srcId="{472D110E-5211-48FA-A61D-8ADE707E16C8}" destId="{8237130C-CFC1-458B-B4C8-4DBAF4D22636}" srcOrd="0" destOrd="0" presId="urn:microsoft.com/office/officeart/2005/8/layout/lProcess2"/>
    <dgm:cxn modelId="{8743F89E-E5C1-4A2B-B9C5-10A4274469B4}" type="presParOf" srcId="{472D110E-5211-48FA-A61D-8ADE707E16C8}" destId="{6DA114C9-7265-4280-B2D3-277C623C54F7}" srcOrd="1" destOrd="0" presId="urn:microsoft.com/office/officeart/2005/8/layout/lProcess2"/>
    <dgm:cxn modelId="{01287D7B-92CC-4DFA-9D27-0E5EC06E5871}" type="presParOf" srcId="{472D110E-5211-48FA-A61D-8ADE707E16C8}" destId="{25770E3C-D575-434C-9FA3-9B4B4E5F51D3}" srcOrd="2" destOrd="0" presId="urn:microsoft.com/office/officeart/2005/8/layout/lProcess2"/>
    <dgm:cxn modelId="{59BD2F61-04C5-408A-B908-A09B9059028F}" type="presParOf" srcId="{472D110E-5211-48FA-A61D-8ADE707E16C8}" destId="{AD4F079E-489D-4A4C-852A-6DDEC878E4BF}" srcOrd="3" destOrd="0" presId="urn:microsoft.com/office/officeart/2005/8/layout/lProcess2"/>
    <dgm:cxn modelId="{4533EFF8-AC16-433A-AE27-DEDC7C1C3625}" type="presParOf" srcId="{472D110E-5211-48FA-A61D-8ADE707E16C8}" destId="{FEBDB620-9732-485A-BF23-75777F50BF53}" srcOrd="4" destOrd="0" presId="urn:microsoft.com/office/officeart/2005/8/layout/lProcess2"/>
    <dgm:cxn modelId="{72C4B00F-1D60-43BD-B466-D61BB82D63B0}" type="presParOf" srcId="{84EC9327-8D02-483C-95FF-3DEE6328D1F7}" destId="{288E52B6-0211-4BE9-8DD2-1EF7D6A09A76}" srcOrd="7" destOrd="0" presId="urn:microsoft.com/office/officeart/2005/8/layout/lProcess2"/>
    <dgm:cxn modelId="{59FD0DC0-740E-4E88-B08F-397ED5BF345C}" type="presParOf" srcId="{84EC9327-8D02-483C-95FF-3DEE6328D1F7}" destId="{5F5CD2E7-715F-49CD-9749-774C77F722A3}" srcOrd="8" destOrd="0" presId="urn:microsoft.com/office/officeart/2005/8/layout/lProcess2"/>
    <dgm:cxn modelId="{67866347-8D63-4B04-A0AF-86298E9AA962}" type="presParOf" srcId="{5F5CD2E7-715F-49CD-9749-774C77F722A3}" destId="{13CA8D46-D4CC-4ADF-A576-ED1A5A75012F}" srcOrd="0" destOrd="0" presId="urn:microsoft.com/office/officeart/2005/8/layout/lProcess2"/>
    <dgm:cxn modelId="{371ABDBB-8469-4350-8BD6-A67CB0FE3B7C}" type="presParOf" srcId="{5F5CD2E7-715F-49CD-9749-774C77F722A3}" destId="{042F6B52-6D19-4493-A3E1-3F82594D8C49}" srcOrd="1" destOrd="0" presId="urn:microsoft.com/office/officeart/2005/8/layout/lProcess2"/>
    <dgm:cxn modelId="{28CC94C9-5910-44E6-990B-0C03D1565CAA}" type="presParOf" srcId="{5F5CD2E7-715F-49CD-9749-774C77F722A3}" destId="{5A6011DF-B550-4184-939F-3D003C714FE6}" srcOrd="2" destOrd="0" presId="urn:microsoft.com/office/officeart/2005/8/layout/lProcess2"/>
    <dgm:cxn modelId="{D9BC9529-4A45-4C67-B0D9-FF58D589BDAE}" type="presParOf" srcId="{5A6011DF-B550-4184-939F-3D003C714FE6}" destId="{22C4B52D-9150-433E-B058-EF9A8BBF92C1}" srcOrd="0" destOrd="0" presId="urn:microsoft.com/office/officeart/2005/8/layout/lProcess2"/>
    <dgm:cxn modelId="{9580EA97-3E88-4937-9EE3-457BDC386495}" type="presParOf" srcId="{22C4B52D-9150-433E-B058-EF9A8BBF92C1}" destId="{2D9E9755-6C19-4D9F-8697-2A78908BB979}" srcOrd="0" destOrd="0" presId="urn:microsoft.com/office/officeart/2005/8/layout/lProcess2"/>
    <dgm:cxn modelId="{0641B643-D452-4D69-99C2-284A8B813DC7}" type="presParOf" srcId="{22C4B52D-9150-433E-B058-EF9A8BBF92C1}" destId="{83A16FC1-88CF-45A8-A519-925BEFFAF23D}" srcOrd="1" destOrd="0" presId="urn:microsoft.com/office/officeart/2005/8/layout/lProcess2"/>
    <dgm:cxn modelId="{B8790E6A-7FF2-4A4F-8A8C-A51893599333}" type="presParOf" srcId="{22C4B52D-9150-433E-B058-EF9A8BBF92C1}" destId="{4AE5FFDD-1BF1-4B95-82F9-DE99E74A98AF}" srcOrd="2" destOrd="0" presId="urn:microsoft.com/office/officeart/2005/8/layout/lProcess2"/>
    <dgm:cxn modelId="{7E90C452-6C24-4D8E-A170-86B36FFF3C8F}" type="presParOf" srcId="{22C4B52D-9150-433E-B058-EF9A8BBF92C1}" destId="{6E051FFB-F5F5-4D6F-A315-A81F7946DE2E}" srcOrd="3" destOrd="0" presId="urn:microsoft.com/office/officeart/2005/8/layout/lProcess2"/>
    <dgm:cxn modelId="{838E4173-99D9-4E8D-A834-887951F9B228}" type="presParOf" srcId="{22C4B52D-9150-433E-B058-EF9A8BBF92C1}" destId="{0E8CD5D9-1964-4D84-84BA-638805FD3C5D}" srcOrd="4" destOrd="0" presId="urn:microsoft.com/office/officeart/2005/8/layout/lProcess2"/>
    <dgm:cxn modelId="{EFA93176-3031-4880-BEF7-DD0B0E3FF8C8}" type="presParOf" srcId="{84EC9327-8D02-483C-95FF-3DEE6328D1F7}" destId="{1ED1064A-3008-4BFF-A3D6-2F557052F8DF}" srcOrd="9" destOrd="0" presId="urn:microsoft.com/office/officeart/2005/8/layout/lProcess2"/>
    <dgm:cxn modelId="{FB3549EF-2E3D-4447-A4FF-FCC2F8A5F230}" type="presParOf" srcId="{84EC9327-8D02-483C-95FF-3DEE6328D1F7}" destId="{D87899A3-631F-422F-81CC-BD2030F2B0A4}" srcOrd="10" destOrd="0" presId="urn:microsoft.com/office/officeart/2005/8/layout/lProcess2"/>
    <dgm:cxn modelId="{8F453D7E-33F6-4E0E-B8EF-598B04A03710}" type="presParOf" srcId="{D87899A3-631F-422F-81CC-BD2030F2B0A4}" destId="{F815CDEA-0AA5-43C5-A026-EF6AF9E53E6A}" srcOrd="0" destOrd="0" presId="urn:microsoft.com/office/officeart/2005/8/layout/lProcess2"/>
    <dgm:cxn modelId="{A6EDC7BA-C5D3-4EE6-973C-0D238433BADF}" type="presParOf" srcId="{D87899A3-631F-422F-81CC-BD2030F2B0A4}" destId="{B8309575-A7CD-478F-9174-48E6129236B5}" srcOrd="1" destOrd="0" presId="urn:microsoft.com/office/officeart/2005/8/layout/lProcess2"/>
    <dgm:cxn modelId="{A6E785CC-A700-44E9-A769-DE2B209052FC}" type="presParOf" srcId="{D87899A3-631F-422F-81CC-BD2030F2B0A4}" destId="{24FA5F6E-E4AA-444A-B6C6-E098FF648CA2}" srcOrd="2" destOrd="0" presId="urn:microsoft.com/office/officeart/2005/8/layout/lProcess2"/>
    <dgm:cxn modelId="{BE8243EA-220B-4906-9955-24121C93A213}" type="presParOf" srcId="{24FA5F6E-E4AA-444A-B6C6-E098FF648CA2}" destId="{2F19ACED-D1A5-4E06-B6BA-F1CB879BD726}" srcOrd="0" destOrd="0" presId="urn:microsoft.com/office/officeart/2005/8/layout/lProcess2"/>
    <dgm:cxn modelId="{1DCA18C7-1F6C-487A-B034-3F8BC78B13D5}" type="presParOf" srcId="{2F19ACED-D1A5-4E06-B6BA-F1CB879BD726}" destId="{9EE523E2-FD30-4CA9-A6CF-8D8AD8DAA6FD}" srcOrd="0" destOrd="0" presId="urn:microsoft.com/office/officeart/2005/8/layout/lProcess2"/>
    <dgm:cxn modelId="{E988E56A-C554-4551-BA96-A467510AB88A}" type="presParOf" srcId="{2F19ACED-D1A5-4E06-B6BA-F1CB879BD726}" destId="{D11814AC-9646-461C-BE0D-F5DE3D9ACF06}" srcOrd="1" destOrd="0" presId="urn:microsoft.com/office/officeart/2005/8/layout/lProcess2"/>
    <dgm:cxn modelId="{289C25A4-BFD9-4A49-9292-FBB85ED0AFCC}" type="presParOf" srcId="{2F19ACED-D1A5-4E06-B6BA-F1CB879BD726}" destId="{B959EA7D-9F0B-4E45-9F93-18B7D37621CE}" srcOrd="2" destOrd="0" presId="urn:microsoft.com/office/officeart/2005/8/layout/lProcess2"/>
    <dgm:cxn modelId="{3A7263DA-9BF6-452F-A343-2D360F4CBC85}" type="presParOf" srcId="{2F19ACED-D1A5-4E06-B6BA-F1CB879BD726}" destId="{2C8885D1-EC0D-4E29-80B8-E364FA1FAA6C}" srcOrd="3" destOrd="0" presId="urn:microsoft.com/office/officeart/2005/8/layout/lProcess2"/>
    <dgm:cxn modelId="{64FF0DE9-2C2C-4DF1-84EF-014EF50C696E}" type="presParOf" srcId="{2F19ACED-D1A5-4E06-B6BA-F1CB879BD726}" destId="{2055B05D-2F2A-46C0-B0BC-321668FD386E}" srcOrd="4" destOrd="0" presId="urn:microsoft.com/office/officeart/2005/8/layout/lProcess2"/>
    <dgm:cxn modelId="{0B12F5FC-877A-4596-B5C4-A3AD2D5488A0}" type="presParOf" srcId="{2F19ACED-D1A5-4E06-B6BA-F1CB879BD726}" destId="{339D5960-095F-44B2-823D-458F8E9186B0}" srcOrd="5" destOrd="0" presId="urn:microsoft.com/office/officeart/2005/8/layout/lProcess2"/>
    <dgm:cxn modelId="{3B622C7B-C68D-4657-84C0-862700FB6407}" type="presParOf" srcId="{2F19ACED-D1A5-4E06-B6BA-F1CB879BD726}" destId="{B700054F-913E-424C-92AD-20B85A57C3B1}" srcOrd="6" destOrd="0" presId="urn:microsoft.com/office/officeart/2005/8/layout/lProcess2"/>
    <dgm:cxn modelId="{076A69A4-DD47-404C-8B9F-7F4BE7861D0D}" type="presParOf" srcId="{2F19ACED-D1A5-4E06-B6BA-F1CB879BD726}" destId="{5A1C4D94-0E9F-461C-863F-E8CFE5116DD1}" srcOrd="7" destOrd="0" presId="urn:microsoft.com/office/officeart/2005/8/layout/lProcess2"/>
    <dgm:cxn modelId="{AC596FFF-F209-4831-BFD8-405F12B6B681}" type="presParOf" srcId="{2F19ACED-D1A5-4E06-B6BA-F1CB879BD726}" destId="{308D8A1A-57F1-4FA9-9AD2-61C8BF38D849}" srcOrd="8" destOrd="0" presId="urn:microsoft.com/office/officeart/2005/8/layout/l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0F14E18D-3E13-4806-A9B2-7025ACB7B03B}" type="doc">
      <dgm:prSet loTypeId="urn:microsoft.com/office/officeart/2008/layout/IncreasingCircleProcess" loCatId="list" qsTypeId="urn:microsoft.com/office/officeart/2005/8/quickstyle/simple1" qsCatId="simple" csTypeId="urn:microsoft.com/office/officeart/2005/8/colors/accent2_3" csCatId="accent2" phldr="1"/>
      <dgm:spPr/>
      <dgm:t>
        <a:bodyPr/>
        <a:lstStyle/>
        <a:p>
          <a:endParaRPr lang="en-US"/>
        </a:p>
      </dgm:t>
    </dgm:pt>
    <dgm:pt modelId="{C50512E8-027C-4E82-8735-5E1C15000530}">
      <dgm:prSet phldrT="[Text]"/>
      <dgm:spPr/>
      <dgm:t>
        <a:bodyPr/>
        <a:lstStyle/>
        <a:p>
          <a:r>
            <a:rPr lang="en-US"/>
            <a:t>1</a:t>
          </a:r>
        </a:p>
      </dgm:t>
    </dgm:pt>
    <dgm:pt modelId="{937B232C-BC25-4EC7-A6D9-D26E4A5855CD}" type="parTrans" cxnId="{F524AD0D-BA95-4DE9-9859-0220953833D0}">
      <dgm:prSet/>
      <dgm:spPr/>
      <dgm:t>
        <a:bodyPr/>
        <a:lstStyle/>
        <a:p>
          <a:endParaRPr lang="en-US"/>
        </a:p>
      </dgm:t>
    </dgm:pt>
    <dgm:pt modelId="{9A48D134-D77D-4803-8A36-15827FB89AE3}" type="sibTrans" cxnId="{F524AD0D-BA95-4DE9-9859-0220953833D0}">
      <dgm:prSet/>
      <dgm:spPr/>
      <dgm:t>
        <a:bodyPr/>
        <a:lstStyle/>
        <a:p>
          <a:endParaRPr lang="en-US"/>
        </a:p>
      </dgm:t>
    </dgm:pt>
    <dgm:pt modelId="{489D8CDF-632A-4D96-996F-9FC3BE97DF4D}">
      <dgm:prSet phldrT="[Text]"/>
      <dgm:spPr/>
      <dgm:t>
        <a:bodyPr/>
        <a:lstStyle/>
        <a:p>
          <a:r>
            <a:rPr lang="en-US"/>
            <a:t>5</a:t>
          </a:r>
        </a:p>
      </dgm:t>
    </dgm:pt>
    <dgm:pt modelId="{99CA9036-0A13-47B3-904F-AF121DD58DBD}" type="parTrans" cxnId="{5D48E0B5-A1E3-42EF-A8A3-0A4EBBFCEA1D}">
      <dgm:prSet/>
      <dgm:spPr/>
      <dgm:t>
        <a:bodyPr/>
        <a:lstStyle/>
        <a:p>
          <a:endParaRPr lang="en-US"/>
        </a:p>
      </dgm:t>
    </dgm:pt>
    <dgm:pt modelId="{7DB279AD-33B8-4CFE-A3D4-253227999CD8}" type="sibTrans" cxnId="{5D48E0B5-A1E3-42EF-A8A3-0A4EBBFCEA1D}">
      <dgm:prSet/>
      <dgm:spPr/>
      <dgm:t>
        <a:bodyPr/>
        <a:lstStyle/>
        <a:p>
          <a:endParaRPr lang="en-US"/>
        </a:p>
      </dgm:t>
    </dgm:pt>
    <dgm:pt modelId="{F0AB9DF9-48CA-4FC6-9BA2-1885A4FA7396}">
      <dgm:prSet phldrT="[Text]" custT="1"/>
      <dgm:spPr/>
      <dgm:t>
        <a:bodyPr/>
        <a:lstStyle/>
        <a:p>
          <a:r>
            <a:rPr lang="en-US" sz="1800" b="1" dirty="0"/>
            <a:t>Extend Investment Periods</a:t>
          </a:r>
          <a:r>
            <a:rPr lang="en-US" sz="1800" dirty="0"/>
            <a:t> </a:t>
          </a:r>
        </a:p>
      </dgm:t>
    </dgm:pt>
    <dgm:pt modelId="{7B1B60E3-1036-4F99-9CA7-B9AE29ABB895}" type="parTrans" cxnId="{A4BA37B6-73A4-4F9F-9E88-281FC3F216CF}">
      <dgm:prSet/>
      <dgm:spPr/>
      <dgm:t>
        <a:bodyPr/>
        <a:lstStyle/>
        <a:p>
          <a:endParaRPr lang="en-US"/>
        </a:p>
      </dgm:t>
    </dgm:pt>
    <dgm:pt modelId="{82CA504F-20DA-4E1A-A981-D2A071C70B40}" type="sibTrans" cxnId="{A4BA37B6-73A4-4F9F-9E88-281FC3F216CF}">
      <dgm:prSet/>
      <dgm:spPr/>
      <dgm:t>
        <a:bodyPr/>
        <a:lstStyle/>
        <a:p>
          <a:endParaRPr lang="en-US"/>
        </a:p>
      </dgm:t>
    </dgm:pt>
    <dgm:pt modelId="{12ADFB16-B940-4481-966C-C064EA84BE34}">
      <dgm:prSet phldrT="[Text]"/>
      <dgm:spPr/>
      <dgm:t>
        <a:bodyPr/>
        <a:lstStyle/>
        <a:p>
          <a:r>
            <a:rPr lang="en-US"/>
            <a:t>2</a:t>
          </a:r>
        </a:p>
      </dgm:t>
    </dgm:pt>
    <dgm:pt modelId="{3376744F-ECD5-438B-B9D6-5A0DE9486FE8}" type="parTrans" cxnId="{309DF404-235A-4C74-93FB-E68B12A8BD5A}">
      <dgm:prSet/>
      <dgm:spPr/>
      <dgm:t>
        <a:bodyPr/>
        <a:lstStyle/>
        <a:p>
          <a:endParaRPr lang="en-US"/>
        </a:p>
      </dgm:t>
    </dgm:pt>
    <dgm:pt modelId="{37F91CDE-7901-4027-888E-CB699CB72FC2}" type="sibTrans" cxnId="{309DF404-235A-4C74-93FB-E68B12A8BD5A}">
      <dgm:prSet/>
      <dgm:spPr/>
      <dgm:t>
        <a:bodyPr/>
        <a:lstStyle/>
        <a:p>
          <a:endParaRPr lang="en-US"/>
        </a:p>
      </dgm:t>
    </dgm:pt>
    <dgm:pt modelId="{691CC009-E5E8-402B-BF1D-CE14075D9498}">
      <dgm:prSet phldrT="[Text]" custT="1"/>
      <dgm:spPr/>
      <dgm:t>
        <a:bodyPr/>
        <a:lstStyle/>
        <a:p>
          <a:r>
            <a:rPr lang="en-US" sz="1800" dirty="0"/>
            <a:t>Lack of awareness or understanding of how risk exposure threatens investments leads to a de-prioritization of risk mitigation.</a:t>
          </a:r>
        </a:p>
      </dgm:t>
    </dgm:pt>
    <dgm:pt modelId="{E243AE05-55E4-440E-A79D-E7A4086FA9CD}" type="parTrans" cxnId="{91C9EFE9-B87B-43CE-A562-0A793FB897B3}">
      <dgm:prSet/>
      <dgm:spPr/>
      <dgm:t>
        <a:bodyPr/>
        <a:lstStyle/>
        <a:p>
          <a:endParaRPr lang="en-US"/>
        </a:p>
      </dgm:t>
    </dgm:pt>
    <dgm:pt modelId="{2E363CD8-D282-4F2A-A354-17C2398D0DD7}" type="sibTrans" cxnId="{91C9EFE9-B87B-43CE-A562-0A793FB897B3}">
      <dgm:prSet/>
      <dgm:spPr/>
      <dgm:t>
        <a:bodyPr/>
        <a:lstStyle/>
        <a:p>
          <a:endParaRPr lang="en-US"/>
        </a:p>
      </dgm:t>
    </dgm:pt>
    <dgm:pt modelId="{B1E0CFF3-D730-4016-90CD-7923619AB067}">
      <dgm:prSet phldrT="[Text]"/>
      <dgm:spPr/>
      <dgm:t>
        <a:bodyPr/>
        <a:lstStyle/>
        <a:p>
          <a:r>
            <a:rPr lang="en-US"/>
            <a:t>3</a:t>
          </a:r>
        </a:p>
      </dgm:t>
    </dgm:pt>
    <dgm:pt modelId="{8D72EBF3-AE1E-40D6-8E2D-79342B9B930A}" type="parTrans" cxnId="{A4AC450F-78DF-4BA9-82BC-ACC543EC3932}">
      <dgm:prSet/>
      <dgm:spPr/>
      <dgm:t>
        <a:bodyPr/>
        <a:lstStyle/>
        <a:p>
          <a:endParaRPr lang="en-US"/>
        </a:p>
      </dgm:t>
    </dgm:pt>
    <dgm:pt modelId="{7D497367-38DB-4443-A4A1-7D607AA0BFB0}" type="sibTrans" cxnId="{A4AC450F-78DF-4BA9-82BC-ACC543EC3932}">
      <dgm:prSet/>
      <dgm:spPr/>
      <dgm:t>
        <a:bodyPr/>
        <a:lstStyle/>
        <a:p>
          <a:endParaRPr lang="en-US"/>
        </a:p>
      </dgm:t>
    </dgm:pt>
    <dgm:pt modelId="{702EBB30-22E0-4B63-ABEA-A491DB0C29D6}">
      <dgm:prSet phldrT="[Text]" custT="1"/>
      <dgm:spPr/>
      <dgm:t>
        <a:bodyPr/>
        <a:lstStyle/>
        <a:p>
          <a:r>
            <a:rPr lang="en-US" sz="1800" b="1" dirty="0"/>
            <a:t>Consider Return on Resilience Investment </a:t>
          </a:r>
          <a:endParaRPr lang="en-US" sz="1800" dirty="0"/>
        </a:p>
      </dgm:t>
    </dgm:pt>
    <dgm:pt modelId="{50646B63-8FE3-4DF0-A51B-F45289CD5D0C}" type="parTrans" cxnId="{7F756A43-AB35-43FE-A160-7826AFE1C961}">
      <dgm:prSet/>
      <dgm:spPr/>
      <dgm:t>
        <a:bodyPr/>
        <a:lstStyle/>
        <a:p>
          <a:endParaRPr lang="en-US"/>
        </a:p>
      </dgm:t>
    </dgm:pt>
    <dgm:pt modelId="{9E233CAB-EC7B-4136-B445-119615FF9560}" type="sibTrans" cxnId="{7F756A43-AB35-43FE-A160-7826AFE1C961}">
      <dgm:prSet/>
      <dgm:spPr/>
      <dgm:t>
        <a:bodyPr/>
        <a:lstStyle/>
        <a:p>
          <a:endParaRPr lang="en-US"/>
        </a:p>
      </dgm:t>
    </dgm:pt>
    <dgm:pt modelId="{A0EA5140-D549-46A8-B263-702FBD0F634F}">
      <dgm:prSet phldrT="[Text]" custT="1"/>
      <dgm:spPr/>
      <dgm:t>
        <a:bodyPr/>
        <a:lstStyle/>
        <a:p>
          <a:r>
            <a:rPr lang="en-US" sz="1800" dirty="0"/>
            <a:t>Conservative global climate models with long range time horizons result in cost prohibitive design and construction estimates for risk adaptation measures.</a:t>
          </a:r>
        </a:p>
      </dgm:t>
    </dgm:pt>
    <dgm:pt modelId="{F41BD107-7C80-4DE7-981F-3461A5D8F9C1}" type="parTrans" cxnId="{B9DB799D-5238-4073-B9CF-6E37F269E683}">
      <dgm:prSet/>
      <dgm:spPr/>
      <dgm:t>
        <a:bodyPr/>
        <a:lstStyle/>
        <a:p>
          <a:endParaRPr lang="en-US"/>
        </a:p>
      </dgm:t>
    </dgm:pt>
    <dgm:pt modelId="{98BBD927-244F-4855-A666-51669A3CBCFB}" type="sibTrans" cxnId="{B9DB799D-5238-4073-B9CF-6E37F269E683}">
      <dgm:prSet/>
      <dgm:spPr/>
      <dgm:t>
        <a:bodyPr/>
        <a:lstStyle/>
        <a:p>
          <a:endParaRPr lang="en-US"/>
        </a:p>
      </dgm:t>
    </dgm:pt>
    <dgm:pt modelId="{FFC705A5-848B-484B-A6F4-E17DBD5FC5D4}">
      <dgm:prSet phldrT="[Text]" custT="1"/>
      <dgm:spPr/>
      <dgm:t>
        <a:bodyPr/>
        <a:lstStyle/>
        <a:p>
          <a:r>
            <a:rPr lang="en-US" sz="1800" b="1" dirty="0"/>
            <a:t>Educate Governments and Asset Owners</a:t>
          </a:r>
          <a:r>
            <a:rPr lang="en-US" sz="1800" dirty="0"/>
            <a:t> </a:t>
          </a:r>
        </a:p>
      </dgm:t>
    </dgm:pt>
    <dgm:pt modelId="{CB09FA7A-F6AB-4F43-BEFC-6CDE88508531}" type="sibTrans" cxnId="{FF3C1186-27C1-4B1A-8159-40B430203053}">
      <dgm:prSet/>
      <dgm:spPr/>
      <dgm:t>
        <a:bodyPr/>
        <a:lstStyle/>
        <a:p>
          <a:endParaRPr lang="en-US"/>
        </a:p>
      </dgm:t>
    </dgm:pt>
    <dgm:pt modelId="{F1D4D445-27DC-462A-BA00-6B9595EC3097}" type="parTrans" cxnId="{FF3C1186-27C1-4B1A-8159-40B430203053}">
      <dgm:prSet/>
      <dgm:spPr/>
      <dgm:t>
        <a:bodyPr/>
        <a:lstStyle/>
        <a:p>
          <a:endParaRPr lang="en-US"/>
        </a:p>
      </dgm:t>
    </dgm:pt>
    <dgm:pt modelId="{F7FD4D00-C2D9-4E7F-8835-B33203170137}">
      <dgm:prSet phldrT="[Text]" custT="1"/>
      <dgm:spPr/>
      <dgm:t>
        <a:bodyPr/>
        <a:lstStyle/>
        <a:p>
          <a:r>
            <a:rPr lang="en-US" sz="1800" b="1" dirty="0"/>
            <a:t>Include Climate Risk in Credit Rating </a:t>
          </a:r>
          <a:endParaRPr lang="en-US" sz="1800" dirty="0"/>
        </a:p>
      </dgm:t>
    </dgm:pt>
    <dgm:pt modelId="{C945F5E9-8538-447E-A199-5815B3182727}" type="parTrans" cxnId="{8D99710F-F952-4E18-B015-40CD320C7833}">
      <dgm:prSet/>
      <dgm:spPr/>
      <dgm:t>
        <a:bodyPr/>
        <a:lstStyle/>
        <a:p>
          <a:endParaRPr lang="en-US"/>
        </a:p>
      </dgm:t>
    </dgm:pt>
    <dgm:pt modelId="{45A6C790-C350-4128-916E-9D7051F4AFC2}" type="sibTrans" cxnId="{8D99710F-F952-4E18-B015-40CD320C7833}">
      <dgm:prSet/>
      <dgm:spPr/>
      <dgm:t>
        <a:bodyPr/>
        <a:lstStyle/>
        <a:p>
          <a:endParaRPr lang="en-US"/>
        </a:p>
      </dgm:t>
    </dgm:pt>
    <dgm:pt modelId="{291DB3DA-B822-4710-90D4-B9E541B2A011}">
      <dgm:prSet phldrT="[Text]" custT="1"/>
      <dgm:spPr/>
      <dgm:t>
        <a:bodyPr/>
        <a:lstStyle/>
        <a:p>
          <a:r>
            <a:rPr lang="en-US" sz="1800" dirty="0"/>
            <a:t>Credit and insurance ratings undervalue climate risk exposure and consequently give little consideration to the effectiveness of adaptation efforts.</a:t>
          </a:r>
        </a:p>
      </dgm:t>
    </dgm:pt>
    <dgm:pt modelId="{D0525F7D-17C8-4872-97D8-A8C09208A1AC}" type="parTrans" cxnId="{B0421C41-2063-4202-942E-EE54BAB29940}">
      <dgm:prSet/>
      <dgm:spPr/>
      <dgm:t>
        <a:bodyPr/>
        <a:lstStyle/>
        <a:p>
          <a:endParaRPr lang="en-US"/>
        </a:p>
      </dgm:t>
    </dgm:pt>
    <dgm:pt modelId="{15B92E2E-63F4-419F-B68F-CBCE8D05D397}" type="sibTrans" cxnId="{B0421C41-2063-4202-942E-EE54BAB29940}">
      <dgm:prSet/>
      <dgm:spPr/>
      <dgm:t>
        <a:bodyPr/>
        <a:lstStyle/>
        <a:p>
          <a:endParaRPr lang="en-US"/>
        </a:p>
      </dgm:t>
    </dgm:pt>
    <dgm:pt modelId="{DCAA2AE5-9D60-44F9-8425-C929D52ED803}">
      <dgm:prSet phldrT="[Text]"/>
      <dgm:spPr/>
      <dgm:t>
        <a:bodyPr/>
        <a:lstStyle/>
        <a:p>
          <a:r>
            <a:rPr lang="en-US"/>
            <a:t>4</a:t>
          </a:r>
        </a:p>
      </dgm:t>
    </dgm:pt>
    <dgm:pt modelId="{C2D96764-7611-4659-AB68-B6603F7E07AB}" type="parTrans" cxnId="{2A6FC313-1644-47B3-94E7-7B2E69049A40}">
      <dgm:prSet/>
      <dgm:spPr/>
      <dgm:t>
        <a:bodyPr/>
        <a:lstStyle/>
        <a:p>
          <a:endParaRPr lang="en-US"/>
        </a:p>
      </dgm:t>
    </dgm:pt>
    <dgm:pt modelId="{8EF161E3-3B47-4B74-AABA-E033BCE2AF07}" type="sibTrans" cxnId="{2A6FC313-1644-47B3-94E7-7B2E69049A40}">
      <dgm:prSet/>
      <dgm:spPr/>
      <dgm:t>
        <a:bodyPr/>
        <a:lstStyle/>
        <a:p>
          <a:endParaRPr lang="en-US"/>
        </a:p>
      </dgm:t>
    </dgm:pt>
    <dgm:pt modelId="{BDED34A6-19B0-4C15-9563-B6D6BB5AF348}">
      <dgm:prSet phldrT="[Text]" custT="1"/>
      <dgm:spPr/>
      <dgm:t>
        <a:bodyPr/>
        <a:lstStyle/>
        <a:p>
          <a:r>
            <a:rPr lang="en-US" sz="1800" b="1" dirty="0"/>
            <a:t>Prioritize High Risk Assets </a:t>
          </a:r>
          <a:endParaRPr lang="en-US" sz="1800" dirty="0"/>
        </a:p>
      </dgm:t>
    </dgm:pt>
    <dgm:pt modelId="{DA8CD9DB-60E6-4669-BB0A-71FC40CB8C48}" type="parTrans" cxnId="{0384CF8F-80F6-41E2-9062-E1097E3B1DCC}">
      <dgm:prSet/>
      <dgm:spPr/>
      <dgm:t>
        <a:bodyPr/>
        <a:lstStyle/>
        <a:p>
          <a:endParaRPr lang="en-US"/>
        </a:p>
      </dgm:t>
    </dgm:pt>
    <dgm:pt modelId="{814A55A4-16E5-4414-9A05-5929A8326C7E}" type="sibTrans" cxnId="{0384CF8F-80F6-41E2-9062-E1097E3B1DCC}">
      <dgm:prSet/>
      <dgm:spPr/>
      <dgm:t>
        <a:bodyPr/>
        <a:lstStyle/>
        <a:p>
          <a:endParaRPr lang="en-US"/>
        </a:p>
      </dgm:t>
    </dgm:pt>
    <dgm:pt modelId="{777CDF5E-A1B8-47C7-83C3-1FB76C1C8DF9}">
      <dgm:prSet phldrT="[Text]" custT="1"/>
      <dgm:spPr/>
      <dgm:t>
        <a:bodyPr/>
        <a:lstStyle/>
        <a:p>
          <a:r>
            <a:rPr lang="en-US" sz="1800" dirty="0"/>
            <a:t>Urgent concerns, such as immediate threats to investments from 5-year flooding, will continue to outweigh adaptation efforts to mitigate risks that are 30 years in the future.</a:t>
          </a:r>
        </a:p>
      </dgm:t>
    </dgm:pt>
    <dgm:pt modelId="{F4A594C7-9F41-45F3-B9C3-54980D776AFA}" type="parTrans" cxnId="{E286FC0E-D546-4E8B-A33B-6B1D22FE4854}">
      <dgm:prSet/>
      <dgm:spPr/>
      <dgm:t>
        <a:bodyPr/>
        <a:lstStyle/>
        <a:p>
          <a:endParaRPr lang="en-US"/>
        </a:p>
      </dgm:t>
    </dgm:pt>
    <dgm:pt modelId="{FF6FCA54-9585-48DC-AE9C-4D9505019FB9}" type="sibTrans" cxnId="{E286FC0E-D546-4E8B-A33B-6B1D22FE4854}">
      <dgm:prSet/>
      <dgm:spPr/>
      <dgm:t>
        <a:bodyPr/>
        <a:lstStyle/>
        <a:p>
          <a:endParaRPr lang="en-US"/>
        </a:p>
      </dgm:t>
    </dgm:pt>
    <dgm:pt modelId="{4DB57400-31B7-491F-9F63-9AAF7F652F2E}">
      <dgm:prSet phldrT="[Text]" custT="1"/>
      <dgm:spPr/>
      <dgm:t>
        <a:bodyPr/>
        <a:lstStyle/>
        <a:p>
          <a:r>
            <a:rPr lang="en-US" sz="1800" dirty="0"/>
            <a:t>Contracts with shorter terms of 7 years or less do not incentivize long term risk mitigation and adaptation.</a:t>
          </a:r>
        </a:p>
      </dgm:t>
    </dgm:pt>
    <dgm:pt modelId="{DAA95553-4617-44A7-841C-9053F961100A}" type="parTrans" cxnId="{6A871804-9F3D-4F5A-8A62-35FF5FB709A5}">
      <dgm:prSet/>
      <dgm:spPr/>
      <dgm:t>
        <a:bodyPr/>
        <a:lstStyle/>
        <a:p>
          <a:endParaRPr lang="en-US"/>
        </a:p>
      </dgm:t>
    </dgm:pt>
    <dgm:pt modelId="{16DD06DC-CFA8-42F2-A3C5-6A874E7E6EAF}" type="sibTrans" cxnId="{6A871804-9F3D-4F5A-8A62-35FF5FB709A5}">
      <dgm:prSet/>
      <dgm:spPr/>
      <dgm:t>
        <a:bodyPr/>
        <a:lstStyle/>
        <a:p>
          <a:endParaRPr lang="en-US"/>
        </a:p>
      </dgm:t>
    </dgm:pt>
    <dgm:pt modelId="{1DE6A1F5-8B6A-4349-BD61-2B364E776B50}" type="pres">
      <dgm:prSet presAssocID="{0F14E18D-3E13-4806-A9B2-7025ACB7B03B}" presName="Name0" presStyleCnt="0">
        <dgm:presLayoutVars>
          <dgm:chMax val="7"/>
          <dgm:chPref val="7"/>
          <dgm:dir/>
          <dgm:animOne val="branch"/>
          <dgm:animLvl val="lvl"/>
        </dgm:presLayoutVars>
      </dgm:prSet>
      <dgm:spPr/>
      <dgm:t>
        <a:bodyPr/>
        <a:lstStyle/>
        <a:p>
          <a:endParaRPr lang="en-US"/>
        </a:p>
      </dgm:t>
    </dgm:pt>
    <dgm:pt modelId="{6639C866-E3FA-46FA-8865-4AFE9C999D19}" type="pres">
      <dgm:prSet presAssocID="{C50512E8-027C-4E82-8735-5E1C15000530}" presName="composite" presStyleCnt="0"/>
      <dgm:spPr/>
    </dgm:pt>
    <dgm:pt modelId="{49B1F5AC-3E12-418F-8988-A09569167387}" type="pres">
      <dgm:prSet presAssocID="{C50512E8-027C-4E82-8735-5E1C15000530}" presName="BackAccent" presStyleLbl="bgShp" presStyleIdx="0" presStyleCnt="5"/>
      <dgm:spPr/>
    </dgm:pt>
    <dgm:pt modelId="{BE2B2499-4082-411B-9BF5-6F706A08122F}" type="pres">
      <dgm:prSet presAssocID="{C50512E8-027C-4E82-8735-5E1C15000530}" presName="Accent" presStyleLbl="alignNode1" presStyleIdx="0" presStyleCnt="5"/>
      <dgm:spPr/>
    </dgm:pt>
    <dgm:pt modelId="{3DDD1CF2-4A42-420E-A6A3-26F1FAF7A2A2}" type="pres">
      <dgm:prSet presAssocID="{C50512E8-027C-4E82-8735-5E1C15000530}" presName="Child" presStyleLbl="revTx" presStyleIdx="0" presStyleCnt="10">
        <dgm:presLayoutVars>
          <dgm:chMax val="0"/>
          <dgm:chPref val="0"/>
          <dgm:bulletEnabled val="1"/>
        </dgm:presLayoutVars>
      </dgm:prSet>
      <dgm:spPr/>
      <dgm:t>
        <a:bodyPr/>
        <a:lstStyle/>
        <a:p>
          <a:endParaRPr lang="en-US"/>
        </a:p>
      </dgm:t>
    </dgm:pt>
    <dgm:pt modelId="{B2A60077-08D6-45C2-942A-2B47A9735A94}" type="pres">
      <dgm:prSet presAssocID="{C50512E8-027C-4E82-8735-5E1C15000530}" presName="Parent" presStyleLbl="revTx" presStyleIdx="1" presStyleCnt="10">
        <dgm:presLayoutVars>
          <dgm:chMax val="1"/>
          <dgm:chPref val="1"/>
          <dgm:bulletEnabled val="1"/>
        </dgm:presLayoutVars>
      </dgm:prSet>
      <dgm:spPr/>
      <dgm:t>
        <a:bodyPr/>
        <a:lstStyle/>
        <a:p>
          <a:endParaRPr lang="en-US"/>
        </a:p>
      </dgm:t>
    </dgm:pt>
    <dgm:pt modelId="{E8B69136-F93A-458B-8436-2F98DBD59D85}" type="pres">
      <dgm:prSet presAssocID="{9A48D134-D77D-4803-8A36-15827FB89AE3}" presName="sibTrans" presStyleCnt="0"/>
      <dgm:spPr/>
    </dgm:pt>
    <dgm:pt modelId="{A4362C77-53AE-4CB6-BB24-D54F174774B0}" type="pres">
      <dgm:prSet presAssocID="{12ADFB16-B940-4481-966C-C064EA84BE34}" presName="composite" presStyleCnt="0"/>
      <dgm:spPr/>
    </dgm:pt>
    <dgm:pt modelId="{3AD62DFB-2850-4D76-83BA-35B40CBFB525}" type="pres">
      <dgm:prSet presAssocID="{12ADFB16-B940-4481-966C-C064EA84BE34}" presName="BackAccent" presStyleLbl="bgShp" presStyleIdx="1" presStyleCnt="5"/>
      <dgm:spPr/>
    </dgm:pt>
    <dgm:pt modelId="{D4D3425A-8451-4F96-BB81-5469908CC236}" type="pres">
      <dgm:prSet presAssocID="{12ADFB16-B940-4481-966C-C064EA84BE34}" presName="Accent" presStyleLbl="alignNode1" presStyleIdx="1" presStyleCnt="5"/>
      <dgm:spPr/>
    </dgm:pt>
    <dgm:pt modelId="{98477FEE-FF57-4E08-B916-DE49BA7C8BA5}" type="pres">
      <dgm:prSet presAssocID="{12ADFB16-B940-4481-966C-C064EA84BE34}" presName="Child" presStyleLbl="revTx" presStyleIdx="2" presStyleCnt="10">
        <dgm:presLayoutVars>
          <dgm:chMax val="0"/>
          <dgm:chPref val="0"/>
          <dgm:bulletEnabled val="1"/>
        </dgm:presLayoutVars>
      </dgm:prSet>
      <dgm:spPr/>
      <dgm:t>
        <a:bodyPr/>
        <a:lstStyle/>
        <a:p>
          <a:endParaRPr lang="en-US"/>
        </a:p>
      </dgm:t>
    </dgm:pt>
    <dgm:pt modelId="{9250FD63-3E1B-41CF-93F6-55A37B61D2F0}" type="pres">
      <dgm:prSet presAssocID="{12ADFB16-B940-4481-966C-C064EA84BE34}" presName="Parent" presStyleLbl="revTx" presStyleIdx="3" presStyleCnt="10">
        <dgm:presLayoutVars>
          <dgm:chMax val="1"/>
          <dgm:chPref val="1"/>
          <dgm:bulletEnabled val="1"/>
        </dgm:presLayoutVars>
      </dgm:prSet>
      <dgm:spPr/>
      <dgm:t>
        <a:bodyPr/>
        <a:lstStyle/>
        <a:p>
          <a:endParaRPr lang="en-US"/>
        </a:p>
      </dgm:t>
    </dgm:pt>
    <dgm:pt modelId="{D4F6A92E-964D-4CD2-ADC4-DEA50A0BD837}" type="pres">
      <dgm:prSet presAssocID="{37F91CDE-7901-4027-888E-CB699CB72FC2}" presName="sibTrans" presStyleCnt="0"/>
      <dgm:spPr/>
    </dgm:pt>
    <dgm:pt modelId="{7646C17B-A07D-4D53-94F5-0159D2128595}" type="pres">
      <dgm:prSet presAssocID="{B1E0CFF3-D730-4016-90CD-7923619AB067}" presName="composite" presStyleCnt="0"/>
      <dgm:spPr/>
    </dgm:pt>
    <dgm:pt modelId="{7D34B5EE-E259-418F-8A95-56E716B11DCA}" type="pres">
      <dgm:prSet presAssocID="{B1E0CFF3-D730-4016-90CD-7923619AB067}" presName="BackAccent" presStyleLbl="bgShp" presStyleIdx="2" presStyleCnt="5"/>
      <dgm:spPr/>
    </dgm:pt>
    <dgm:pt modelId="{69EA3F87-E1A6-408C-A501-325AEA4600D1}" type="pres">
      <dgm:prSet presAssocID="{B1E0CFF3-D730-4016-90CD-7923619AB067}" presName="Accent" presStyleLbl="alignNode1" presStyleIdx="2" presStyleCnt="5"/>
      <dgm:spPr/>
    </dgm:pt>
    <dgm:pt modelId="{178754B1-AA39-457F-8530-447F0655DAC3}" type="pres">
      <dgm:prSet presAssocID="{B1E0CFF3-D730-4016-90CD-7923619AB067}" presName="Child" presStyleLbl="revTx" presStyleIdx="4" presStyleCnt="10">
        <dgm:presLayoutVars>
          <dgm:chMax val="0"/>
          <dgm:chPref val="0"/>
          <dgm:bulletEnabled val="1"/>
        </dgm:presLayoutVars>
      </dgm:prSet>
      <dgm:spPr/>
      <dgm:t>
        <a:bodyPr/>
        <a:lstStyle/>
        <a:p>
          <a:endParaRPr lang="en-US"/>
        </a:p>
      </dgm:t>
    </dgm:pt>
    <dgm:pt modelId="{B2896591-2BF9-456A-8C7D-24DA96C43457}" type="pres">
      <dgm:prSet presAssocID="{B1E0CFF3-D730-4016-90CD-7923619AB067}" presName="Parent" presStyleLbl="revTx" presStyleIdx="5" presStyleCnt="10">
        <dgm:presLayoutVars>
          <dgm:chMax val="1"/>
          <dgm:chPref val="1"/>
          <dgm:bulletEnabled val="1"/>
        </dgm:presLayoutVars>
      </dgm:prSet>
      <dgm:spPr/>
      <dgm:t>
        <a:bodyPr/>
        <a:lstStyle/>
        <a:p>
          <a:endParaRPr lang="en-US"/>
        </a:p>
      </dgm:t>
    </dgm:pt>
    <dgm:pt modelId="{789342EB-A0E1-4888-988F-8F1E0A0D4314}" type="pres">
      <dgm:prSet presAssocID="{7D497367-38DB-4443-A4A1-7D607AA0BFB0}" presName="sibTrans" presStyleCnt="0"/>
      <dgm:spPr/>
    </dgm:pt>
    <dgm:pt modelId="{2AA125EF-51CA-48D5-A992-595DFDF9C61D}" type="pres">
      <dgm:prSet presAssocID="{DCAA2AE5-9D60-44F9-8425-C929D52ED803}" presName="composite" presStyleCnt="0"/>
      <dgm:spPr/>
    </dgm:pt>
    <dgm:pt modelId="{967D002A-C5CD-4B80-9FF8-4BA211CD2EA1}" type="pres">
      <dgm:prSet presAssocID="{DCAA2AE5-9D60-44F9-8425-C929D52ED803}" presName="BackAccent" presStyleLbl="bgShp" presStyleIdx="3" presStyleCnt="5"/>
      <dgm:spPr/>
    </dgm:pt>
    <dgm:pt modelId="{99F17BE6-BAC1-4AF6-83D2-DAC61FBDDA60}" type="pres">
      <dgm:prSet presAssocID="{DCAA2AE5-9D60-44F9-8425-C929D52ED803}" presName="Accent" presStyleLbl="alignNode1" presStyleIdx="3" presStyleCnt="5"/>
      <dgm:spPr/>
    </dgm:pt>
    <dgm:pt modelId="{6DE95A57-8188-483F-9936-0E0A8AC59D8D}" type="pres">
      <dgm:prSet presAssocID="{DCAA2AE5-9D60-44F9-8425-C929D52ED803}" presName="Child" presStyleLbl="revTx" presStyleIdx="6" presStyleCnt="10">
        <dgm:presLayoutVars>
          <dgm:chMax val="0"/>
          <dgm:chPref val="0"/>
          <dgm:bulletEnabled val="1"/>
        </dgm:presLayoutVars>
      </dgm:prSet>
      <dgm:spPr/>
      <dgm:t>
        <a:bodyPr/>
        <a:lstStyle/>
        <a:p>
          <a:endParaRPr lang="en-US"/>
        </a:p>
      </dgm:t>
    </dgm:pt>
    <dgm:pt modelId="{44A0EEF6-97EA-4A44-B651-08937ABEC62E}" type="pres">
      <dgm:prSet presAssocID="{DCAA2AE5-9D60-44F9-8425-C929D52ED803}" presName="Parent" presStyleLbl="revTx" presStyleIdx="7" presStyleCnt="10">
        <dgm:presLayoutVars>
          <dgm:chMax val="1"/>
          <dgm:chPref val="1"/>
          <dgm:bulletEnabled val="1"/>
        </dgm:presLayoutVars>
      </dgm:prSet>
      <dgm:spPr/>
      <dgm:t>
        <a:bodyPr/>
        <a:lstStyle/>
        <a:p>
          <a:endParaRPr lang="en-US"/>
        </a:p>
      </dgm:t>
    </dgm:pt>
    <dgm:pt modelId="{CF56B6FE-7C50-43D8-9D0E-10A99BA52DCE}" type="pres">
      <dgm:prSet presAssocID="{8EF161E3-3B47-4B74-AABA-E033BCE2AF07}" presName="sibTrans" presStyleCnt="0"/>
      <dgm:spPr/>
    </dgm:pt>
    <dgm:pt modelId="{1F1E0E5E-57C0-455F-806E-6833BFC7AC41}" type="pres">
      <dgm:prSet presAssocID="{489D8CDF-632A-4D96-996F-9FC3BE97DF4D}" presName="composite" presStyleCnt="0"/>
      <dgm:spPr/>
    </dgm:pt>
    <dgm:pt modelId="{20EA1CAC-F7C6-4F0B-ACCF-25774449891D}" type="pres">
      <dgm:prSet presAssocID="{489D8CDF-632A-4D96-996F-9FC3BE97DF4D}" presName="BackAccent" presStyleLbl="bgShp" presStyleIdx="4" presStyleCnt="5"/>
      <dgm:spPr/>
    </dgm:pt>
    <dgm:pt modelId="{CD30BD3C-56A4-430A-8D5A-523139A9FDA2}" type="pres">
      <dgm:prSet presAssocID="{489D8CDF-632A-4D96-996F-9FC3BE97DF4D}" presName="Accent" presStyleLbl="alignNode1" presStyleIdx="4" presStyleCnt="5"/>
      <dgm:spPr/>
    </dgm:pt>
    <dgm:pt modelId="{DA9948FA-6810-4A44-A982-618A78EE63C8}" type="pres">
      <dgm:prSet presAssocID="{489D8CDF-632A-4D96-996F-9FC3BE97DF4D}" presName="Child" presStyleLbl="revTx" presStyleIdx="8" presStyleCnt="10">
        <dgm:presLayoutVars>
          <dgm:chMax val="0"/>
          <dgm:chPref val="0"/>
          <dgm:bulletEnabled val="1"/>
        </dgm:presLayoutVars>
      </dgm:prSet>
      <dgm:spPr/>
      <dgm:t>
        <a:bodyPr/>
        <a:lstStyle/>
        <a:p>
          <a:endParaRPr lang="en-US"/>
        </a:p>
      </dgm:t>
    </dgm:pt>
    <dgm:pt modelId="{EECE094F-02D6-40EB-92DB-EABA03C1763C}" type="pres">
      <dgm:prSet presAssocID="{489D8CDF-632A-4D96-996F-9FC3BE97DF4D}" presName="Parent" presStyleLbl="revTx" presStyleIdx="9" presStyleCnt="10">
        <dgm:presLayoutVars>
          <dgm:chMax val="1"/>
          <dgm:chPref val="1"/>
          <dgm:bulletEnabled val="1"/>
        </dgm:presLayoutVars>
      </dgm:prSet>
      <dgm:spPr/>
      <dgm:t>
        <a:bodyPr/>
        <a:lstStyle/>
        <a:p>
          <a:endParaRPr lang="en-US"/>
        </a:p>
      </dgm:t>
    </dgm:pt>
  </dgm:ptLst>
  <dgm:cxnLst>
    <dgm:cxn modelId="{FF3C1186-27C1-4B1A-8159-40B430203053}" srcId="{C50512E8-027C-4E82-8735-5E1C15000530}" destId="{FFC705A5-848B-484B-A6F4-E17DBD5FC5D4}" srcOrd="0" destOrd="0" parTransId="{F1D4D445-27DC-462A-BA00-6B9595EC3097}" sibTransId="{CB09FA7A-F6AB-4F43-BEFC-6CDE88508531}"/>
    <dgm:cxn modelId="{BB0A1553-6827-4AEA-8BF8-EBC039F45052}" type="presOf" srcId="{F0AB9DF9-48CA-4FC6-9BA2-1885A4FA7396}" destId="{DA9948FA-6810-4A44-A982-618A78EE63C8}" srcOrd="0" destOrd="0" presId="urn:microsoft.com/office/officeart/2008/layout/IncreasingCircleProcess"/>
    <dgm:cxn modelId="{E286FC0E-D546-4E8B-A33B-6B1D22FE4854}" srcId="{DCAA2AE5-9D60-44F9-8425-C929D52ED803}" destId="{777CDF5E-A1B8-47C7-83C3-1FB76C1C8DF9}" srcOrd="1" destOrd="0" parTransId="{F4A594C7-9F41-45F3-B9C3-54980D776AFA}" sibTransId="{FF6FCA54-9585-48DC-AE9C-4D9505019FB9}"/>
    <dgm:cxn modelId="{52A0D756-FC38-43EC-B7A8-1713C6441A5B}" type="presOf" srcId="{4DB57400-31B7-491F-9F63-9AAF7F652F2E}" destId="{DA9948FA-6810-4A44-A982-618A78EE63C8}" srcOrd="0" destOrd="1" presId="urn:microsoft.com/office/officeart/2008/layout/IncreasingCircleProcess"/>
    <dgm:cxn modelId="{A0AA6979-2C17-40F7-8F65-E5CA03A193A9}" type="presOf" srcId="{DCAA2AE5-9D60-44F9-8425-C929D52ED803}" destId="{44A0EEF6-97EA-4A44-B651-08937ABEC62E}" srcOrd="0" destOrd="0" presId="urn:microsoft.com/office/officeart/2008/layout/IncreasingCircleProcess"/>
    <dgm:cxn modelId="{5211E41E-FD4F-4B14-9A16-7251C64293C4}" type="presOf" srcId="{291DB3DA-B822-4710-90D4-B9E541B2A011}" destId="{178754B1-AA39-457F-8530-447F0655DAC3}" srcOrd="0" destOrd="1" presId="urn:microsoft.com/office/officeart/2008/layout/IncreasingCircleProcess"/>
    <dgm:cxn modelId="{5D48E0B5-A1E3-42EF-A8A3-0A4EBBFCEA1D}" srcId="{0F14E18D-3E13-4806-A9B2-7025ACB7B03B}" destId="{489D8CDF-632A-4D96-996F-9FC3BE97DF4D}" srcOrd="4" destOrd="0" parTransId="{99CA9036-0A13-47B3-904F-AF121DD58DBD}" sibTransId="{7DB279AD-33B8-4CFE-A3D4-253227999CD8}"/>
    <dgm:cxn modelId="{A4AC450F-78DF-4BA9-82BC-ACC543EC3932}" srcId="{0F14E18D-3E13-4806-A9B2-7025ACB7B03B}" destId="{B1E0CFF3-D730-4016-90CD-7923619AB067}" srcOrd="2" destOrd="0" parTransId="{8D72EBF3-AE1E-40D6-8E2D-79342B9B930A}" sibTransId="{7D497367-38DB-4443-A4A1-7D607AA0BFB0}"/>
    <dgm:cxn modelId="{8D99710F-F952-4E18-B015-40CD320C7833}" srcId="{B1E0CFF3-D730-4016-90CD-7923619AB067}" destId="{F7FD4D00-C2D9-4E7F-8835-B33203170137}" srcOrd="0" destOrd="0" parTransId="{C945F5E9-8538-447E-A199-5815B3182727}" sibTransId="{45A6C790-C350-4128-916E-9D7051F4AFC2}"/>
    <dgm:cxn modelId="{183FD3E7-3F27-418E-8009-796D49BEA195}" type="presOf" srcId="{12ADFB16-B940-4481-966C-C064EA84BE34}" destId="{9250FD63-3E1B-41CF-93F6-55A37B61D2F0}" srcOrd="0" destOrd="0" presId="urn:microsoft.com/office/officeart/2008/layout/IncreasingCircleProcess"/>
    <dgm:cxn modelId="{5E93AF5F-8775-4B05-A730-6BB3E76739FB}" type="presOf" srcId="{702EBB30-22E0-4B63-ABEA-A491DB0C29D6}" destId="{98477FEE-FF57-4E08-B916-DE49BA7C8BA5}" srcOrd="0" destOrd="0" presId="urn:microsoft.com/office/officeart/2008/layout/IncreasingCircleProcess"/>
    <dgm:cxn modelId="{2A6FC313-1644-47B3-94E7-7B2E69049A40}" srcId="{0F14E18D-3E13-4806-A9B2-7025ACB7B03B}" destId="{DCAA2AE5-9D60-44F9-8425-C929D52ED803}" srcOrd="3" destOrd="0" parTransId="{C2D96764-7611-4659-AB68-B6603F7E07AB}" sibTransId="{8EF161E3-3B47-4B74-AABA-E033BCE2AF07}"/>
    <dgm:cxn modelId="{0384CF8F-80F6-41E2-9062-E1097E3B1DCC}" srcId="{DCAA2AE5-9D60-44F9-8425-C929D52ED803}" destId="{BDED34A6-19B0-4C15-9563-B6D6BB5AF348}" srcOrd="0" destOrd="0" parTransId="{DA8CD9DB-60E6-4669-BB0A-71FC40CB8C48}" sibTransId="{814A55A4-16E5-4414-9A05-5929A8326C7E}"/>
    <dgm:cxn modelId="{B0421C41-2063-4202-942E-EE54BAB29940}" srcId="{B1E0CFF3-D730-4016-90CD-7923619AB067}" destId="{291DB3DA-B822-4710-90D4-B9E541B2A011}" srcOrd="1" destOrd="0" parTransId="{D0525F7D-17C8-4872-97D8-A8C09208A1AC}" sibTransId="{15B92E2E-63F4-419F-B68F-CBCE8D05D397}"/>
    <dgm:cxn modelId="{81102FD2-6357-4B39-ACB8-D9311F815B39}" type="presOf" srcId="{BDED34A6-19B0-4C15-9563-B6D6BB5AF348}" destId="{6DE95A57-8188-483F-9936-0E0A8AC59D8D}" srcOrd="0" destOrd="0" presId="urn:microsoft.com/office/officeart/2008/layout/IncreasingCircleProcess"/>
    <dgm:cxn modelId="{A4B8A72B-1498-4B1D-AB67-60831E42BF56}" type="presOf" srcId="{F7FD4D00-C2D9-4E7F-8835-B33203170137}" destId="{178754B1-AA39-457F-8530-447F0655DAC3}" srcOrd="0" destOrd="0" presId="urn:microsoft.com/office/officeart/2008/layout/IncreasingCircleProcess"/>
    <dgm:cxn modelId="{62A13C16-7BF5-4ABB-A086-8DBF83EB5337}" type="presOf" srcId="{777CDF5E-A1B8-47C7-83C3-1FB76C1C8DF9}" destId="{6DE95A57-8188-483F-9936-0E0A8AC59D8D}" srcOrd="0" destOrd="1" presId="urn:microsoft.com/office/officeart/2008/layout/IncreasingCircleProcess"/>
    <dgm:cxn modelId="{8443A77A-4DBE-4D30-8576-47740BCB3319}" type="presOf" srcId="{B1E0CFF3-D730-4016-90CD-7923619AB067}" destId="{B2896591-2BF9-456A-8C7D-24DA96C43457}" srcOrd="0" destOrd="0" presId="urn:microsoft.com/office/officeart/2008/layout/IncreasingCircleProcess"/>
    <dgm:cxn modelId="{F524AD0D-BA95-4DE9-9859-0220953833D0}" srcId="{0F14E18D-3E13-4806-A9B2-7025ACB7B03B}" destId="{C50512E8-027C-4E82-8735-5E1C15000530}" srcOrd="0" destOrd="0" parTransId="{937B232C-BC25-4EC7-A6D9-D26E4A5855CD}" sibTransId="{9A48D134-D77D-4803-8A36-15827FB89AE3}"/>
    <dgm:cxn modelId="{309DF404-235A-4C74-93FB-E68B12A8BD5A}" srcId="{0F14E18D-3E13-4806-A9B2-7025ACB7B03B}" destId="{12ADFB16-B940-4481-966C-C064EA84BE34}" srcOrd="1" destOrd="0" parTransId="{3376744F-ECD5-438B-B9D6-5A0DE9486FE8}" sibTransId="{37F91CDE-7901-4027-888E-CB699CB72FC2}"/>
    <dgm:cxn modelId="{A4BA37B6-73A4-4F9F-9E88-281FC3F216CF}" srcId="{489D8CDF-632A-4D96-996F-9FC3BE97DF4D}" destId="{F0AB9DF9-48CA-4FC6-9BA2-1885A4FA7396}" srcOrd="0" destOrd="0" parTransId="{7B1B60E3-1036-4F99-9CA7-B9AE29ABB895}" sibTransId="{82CA504F-20DA-4E1A-A981-D2A071C70B40}"/>
    <dgm:cxn modelId="{59962989-1D6F-49F7-889B-DBC941AD88D7}" type="presOf" srcId="{0F14E18D-3E13-4806-A9B2-7025ACB7B03B}" destId="{1DE6A1F5-8B6A-4349-BD61-2B364E776B50}" srcOrd="0" destOrd="0" presId="urn:microsoft.com/office/officeart/2008/layout/IncreasingCircleProcess"/>
    <dgm:cxn modelId="{7F756A43-AB35-43FE-A160-7826AFE1C961}" srcId="{12ADFB16-B940-4481-966C-C064EA84BE34}" destId="{702EBB30-22E0-4B63-ABEA-A491DB0C29D6}" srcOrd="0" destOrd="0" parTransId="{50646B63-8FE3-4DF0-A51B-F45289CD5D0C}" sibTransId="{9E233CAB-EC7B-4136-B445-119615FF9560}"/>
    <dgm:cxn modelId="{83ACE586-9A73-4324-A5A7-19A34173FFE4}" type="presOf" srcId="{C50512E8-027C-4E82-8735-5E1C15000530}" destId="{B2A60077-08D6-45C2-942A-2B47A9735A94}" srcOrd="0" destOrd="0" presId="urn:microsoft.com/office/officeart/2008/layout/IncreasingCircleProcess"/>
    <dgm:cxn modelId="{5501A0B0-D506-49DC-ADBF-E0646CDCE3EF}" type="presOf" srcId="{489D8CDF-632A-4D96-996F-9FC3BE97DF4D}" destId="{EECE094F-02D6-40EB-92DB-EABA03C1763C}" srcOrd="0" destOrd="0" presId="urn:microsoft.com/office/officeart/2008/layout/IncreasingCircleProcess"/>
    <dgm:cxn modelId="{33F097BA-D263-4E97-8EDE-B001923BCE86}" type="presOf" srcId="{A0EA5140-D549-46A8-B263-702FBD0F634F}" destId="{98477FEE-FF57-4E08-B916-DE49BA7C8BA5}" srcOrd="0" destOrd="1" presId="urn:microsoft.com/office/officeart/2008/layout/IncreasingCircleProcess"/>
    <dgm:cxn modelId="{B9DB799D-5238-4073-B9CF-6E37F269E683}" srcId="{12ADFB16-B940-4481-966C-C064EA84BE34}" destId="{A0EA5140-D549-46A8-B263-702FBD0F634F}" srcOrd="1" destOrd="0" parTransId="{F41BD107-7C80-4DE7-981F-3461A5D8F9C1}" sibTransId="{98BBD927-244F-4855-A666-51669A3CBCFB}"/>
    <dgm:cxn modelId="{6A871804-9F3D-4F5A-8A62-35FF5FB709A5}" srcId="{489D8CDF-632A-4D96-996F-9FC3BE97DF4D}" destId="{4DB57400-31B7-491F-9F63-9AAF7F652F2E}" srcOrd="1" destOrd="0" parTransId="{DAA95553-4617-44A7-841C-9053F961100A}" sibTransId="{16DD06DC-CFA8-42F2-A3C5-6A874E7E6EAF}"/>
    <dgm:cxn modelId="{43FD0B84-438C-42C1-8AAE-4C70E08F75C9}" type="presOf" srcId="{691CC009-E5E8-402B-BF1D-CE14075D9498}" destId="{3DDD1CF2-4A42-420E-A6A3-26F1FAF7A2A2}" srcOrd="0" destOrd="1" presId="urn:microsoft.com/office/officeart/2008/layout/IncreasingCircleProcess"/>
    <dgm:cxn modelId="{91C9EFE9-B87B-43CE-A562-0A793FB897B3}" srcId="{C50512E8-027C-4E82-8735-5E1C15000530}" destId="{691CC009-E5E8-402B-BF1D-CE14075D9498}" srcOrd="1" destOrd="0" parTransId="{E243AE05-55E4-440E-A79D-E7A4086FA9CD}" sibTransId="{2E363CD8-D282-4F2A-A354-17C2398D0DD7}"/>
    <dgm:cxn modelId="{0535F24D-E44B-4933-81F6-4E15B3D3114F}" type="presOf" srcId="{FFC705A5-848B-484B-A6F4-E17DBD5FC5D4}" destId="{3DDD1CF2-4A42-420E-A6A3-26F1FAF7A2A2}" srcOrd="0" destOrd="0" presId="urn:microsoft.com/office/officeart/2008/layout/IncreasingCircleProcess"/>
    <dgm:cxn modelId="{3EA9C2C6-36BF-4E79-BCCE-4C779ED7DF4E}" type="presParOf" srcId="{1DE6A1F5-8B6A-4349-BD61-2B364E776B50}" destId="{6639C866-E3FA-46FA-8865-4AFE9C999D19}" srcOrd="0" destOrd="0" presId="urn:microsoft.com/office/officeart/2008/layout/IncreasingCircleProcess"/>
    <dgm:cxn modelId="{BAD68772-922E-419C-AB53-06A94BB65CC8}" type="presParOf" srcId="{6639C866-E3FA-46FA-8865-4AFE9C999D19}" destId="{49B1F5AC-3E12-418F-8988-A09569167387}" srcOrd="0" destOrd="0" presId="urn:microsoft.com/office/officeart/2008/layout/IncreasingCircleProcess"/>
    <dgm:cxn modelId="{9C80604B-25BA-4362-8AD9-DA1F561BF317}" type="presParOf" srcId="{6639C866-E3FA-46FA-8865-4AFE9C999D19}" destId="{BE2B2499-4082-411B-9BF5-6F706A08122F}" srcOrd="1" destOrd="0" presId="urn:microsoft.com/office/officeart/2008/layout/IncreasingCircleProcess"/>
    <dgm:cxn modelId="{7BDF1FE7-92FF-424B-8A2A-348F65AEFAAF}" type="presParOf" srcId="{6639C866-E3FA-46FA-8865-4AFE9C999D19}" destId="{3DDD1CF2-4A42-420E-A6A3-26F1FAF7A2A2}" srcOrd="2" destOrd="0" presId="urn:microsoft.com/office/officeart/2008/layout/IncreasingCircleProcess"/>
    <dgm:cxn modelId="{3F03B78C-EFAF-4773-9C56-3FED3E9E3E09}" type="presParOf" srcId="{6639C866-E3FA-46FA-8865-4AFE9C999D19}" destId="{B2A60077-08D6-45C2-942A-2B47A9735A94}" srcOrd="3" destOrd="0" presId="urn:microsoft.com/office/officeart/2008/layout/IncreasingCircleProcess"/>
    <dgm:cxn modelId="{51061E98-22F4-410E-8F97-9B435AB26487}" type="presParOf" srcId="{1DE6A1F5-8B6A-4349-BD61-2B364E776B50}" destId="{E8B69136-F93A-458B-8436-2F98DBD59D85}" srcOrd="1" destOrd="0" presId="urn:microsoft.com/office/officeart/2008/layout/IncreasingCircleProcess"/>
    <dgm:cxn modelId="{087E7E59-6EAD-4BDD-8EB9-285ECC874F26}" type="presParOf" srcId="{1DE6A1F5-8B6A-4349-BD61-2B364E776B50}" destId="{A4362C77-53AE-4CB6-BB24-D54F174774B0}" srcOrd="2" destOrd="0" presId="urn:microsoft.com/office/officeart/2008/layout/IncreasingCircleProcess"/>
    <dgm:cxn modelId="{22AE7955-7CC0-4336-9FBF-64C5D7C3CE1E}" type="presParOf" srcId="{A4362C77-53AE-4CB6-BB24-D54F174774B0}" destId="{3AD62DFB-2850-4D76-83BA-35B40CBFB525}" srcOrd="0" destOrd="0" presId="urn:microsoft.com/office/officeart/2008/layout/IncreasingCircleProcess"/>
    <dgm:cxn modelId="{B8A657E7-FB3E-4F4F-89D9-58074F7A9F11}" type="presParOf" srcId="{A4362C77-53AE-4CB6-BB24-D54F174774B0}" destId="{D4D3425A-8451-4F96-BB81-5469908CC236}" srcOrd="1" destOrd="0" presId="urn:microsoft.com/office/officeart/2008/layout/IncreasingCircleProcess"/>
    <dgm:cxn modelId="{986A1385-1390-472B-A770-B9CC91FBE7AE}" type="presParOf" srcId="{A4362C77-53AE-4CB6-BB24-D54F174774B0}" destId="{98477FEE-FF57-4E08-B916-DE49BA7C8BA5}" srcOrd="2" destOrd="0" presId="urn:microsoft.com/office/officeart/2008/layout/IncreasingCircleProcess"/>
    <dgm:cxn modelId="{3F6616C6-3A7F-41C4-B268-6FC273EB25D2}" type="presParOf" srcId="{A4362C77-53AE-4CB6-BB24-D54F174774B0}" destId="{9250FD63-3E1B-41CF-93F6-55A37B61D2F0}" srcOrd="3" destOrd="0" presId="urn:microsoft.com/office/officeart/2008/layout/IncreasingCircleProcess"/>
    <dgm:cxn modelId="{7708FCFA-42EB-41E0-9F5C-5FDDB7002680}" type="presParOf" srcId="{1DE6A1F5-8B6A-4349-BD61-2B364E776B50}" destId="{D4F6A92E-964D-4CD2-ADC4-DEA50A0BD837}" srcOrd="3" destOrd="0" presId="urn:microsoft.com/office/officeart/2008/layout/IncreasingCircleProcess"/>
    <dgm:cxn modelId="{562AA427-1D88-4649-9662-C533B0315357}" type="presParOf" srcId="{1DE6A1F5-8B6A-4349-BD61-2B364E776B50}" destId="{7646C17B-A07D-4D53-94F5-0159D2128595}" srcOrd="4" destOrd="0" presId="urn:microsoft.com/office/officeart/2008/layout/IncreasingCircleProcess"/>
    <dgm:cxn modelId="{EA12F734-7F95-4830-91A0-920D49CF2D58}" type="presParOf" srcId="{7646C17B-A07D-4D53-94F5-0159D2128595}" destId="{7D34B5EE-E259-418F-8A95-56E716B11DCA}" srcOrd="0" destOrd="0" presId="urn:microsoft.com/office/officeart/2008/layout/IncreasingCircleProcess"/>
    <dgm:cxn modelId="{F4173516-15BF-49C7-B78E-227CCDEFF009}" type="presParOf" srcId="{7646C17B-A07D-4D53-94F5-0159D2128595}" destId="{69EA3F87-E1A6-408C-A501-325AEA4600D1}" srcOrd="1" destOrd="0" presId="urn:microsoft.com/office/officeart/2008/layout/IncreasingCircleProcess"/>
    <dgm:cxn modelId="{941F1B8C-6E74-44BB-B299-B1B59815BCAD}" type="presParOf" srcId="{7646C17B-A07D-4D53-94F5-0159D2128595}" destId="{178754B1-AA39-457F-8530-447F0655DAC3}" srcOrd="2" destOrd="0" presId="urn:microsoft.com/office/officeart/2008/layout/IncreasingCircleProcess"/>
    <dgm:cxn modelId="{F1D48793-0588-42A3-A926-A61DDAC8499B}" type="presParOf" srcId="{7646C17B-A07D-4D53-94F5-0159D2128595}" destId="{B2896591-2BF9-456A-8C7D-24DA96C43457}" srcOrd="3" destOrd="0" presId="urn:microsoft.com/office/officeart/2008/layout/IncreasingCircleProcess"/>
    <dgm:cxn modelId="{1D138998-0BA4-4E25-BE8C-BF0407D4BF68}" type="presParOf" srcId="{1DE6A1F5-8B6A-4349-BD61-2B364E776B50}" destId="{789342EB-A0E1-4888-988F-8F1E0A0D4314}" srcOrd="5" destOrd="0" presId="urn:microsoft.com/office/officeart/2008/layout/IncreasingCircleProcess"/>
    <dgm:cxn modelId="{DD10F80B-DD8E-414F-88A4-7C48E73F4C72}" type="presParOf" srcId="{1DE6A1F5-8B6A-4349-BD61-2B364E776B50}" destId="{2AA125EF-51CA-48D5-A992-595DFDF9C61D}" srcOrd="6" destOrd="0" presId="urn:microsoft.com/office/officeart/2008/layout/IncreasingCircleProcess"/>
    <dgm:cxn modelId="{8E3F7A4E-706C-48CE-BA93-3163A8398509}" type="presParOf" srcId="{2AA125EF-51CA-48D5-A992-595DFDF9C61D}" destId="{967D002A-C5CD-4B80-9FF8-4BA211CD2EA1}" srcOrd="0" destOrd="0" presId="urn:microsoft.com/office/officeart/2008/layout/IncreasingCircleProcess"/>
    <dgm:cxn modelId="{1C1F1872-013C-4F10-A071-D4E9D65E1E81}" type="presParOf" srcId="{2AA125EF-51CA-48D5-A992-595DFDF9C61D}" destId="{99F17BE6-BAC1-4AF6-83D2-DAC61FBDDA60}" srcOrd="1" destOrd="0" presId="urn:microsoft.com/office/officeart/2008/layout/IncreasingCircleProcess"/>
    <dgm:cxn modelId="{30FFBF6C-9223-4540-B403-DA549CF02F98}" type="presParOf" srcId="{2AA125EF-51CA-48D5-A992-595DFDF9C61D}" destId="{6DE95A57-8188-483F-9936-0E0A8AC59D8D}" srcOrd="2" destOrd="0" presId="urn:microsoft.com/office/officeart/2008/layout/IncreasingCircleProcess"/>
    <dgm:cxn modelId="{651F1F00-D422-464C-A3C8-3C94C2B09B1F}" type="presParOf" srcId="{2AA125EF-51CA-48D5-A992-595DFDF9C61D}" destId="{44A0EEF6-97EA-4A44-B651-08937ABEC62E}" srcOrd="3" destOrd="0" presId="urn:microsoft.com/office/officeart/2008/layout/IncreasingCircleProcess"/>
    <dgm:cxn modelId="{33F4D8FD-9363-431E-B84D-4CE693A22955}" type="presParOf" srcId="{1DE6A1F5-8B6A-4349-BD61-2B364E776B50}" destId="{CF56B6FE-7C50-43D8-9D0E-10A99BA52DCE}" srcOrd="7" destOrd="0" presId="urn:microsoft.com/office/officeart/2008/layout/IncreasingCircleProcess"/>
    <dgm:cxn modelId="{26639EA3-53B0-4A68-8452-B7DCBC125E6E}" type="presParOf" srcId="{1DE6A1F5-8B6A-4349-BD61-2B364E776B50}" destId="{1F1E0E5E-57C0-455F-806E-6833BFC7AC41}" srcOrd="8" destOrd="0" presId="urn:microsoft.com/office/officeart/2008/layout/IncreasingCircleProcess"/>
    <dgm:cxn modelId="{75043E1A-6787-44F5-AD6A-2B4EDB534FE1}" type="presParOf" srcId="{1F1E0E5E-57C0-455F-806E-6833BFC7AC41}" destId="{20EA1CAC-F7C6-4F0B-ACCF-25774449891D}" srcOrd="0" destOrd="0" presId="urn:microsoft.com/office/officeart/2008/layout/IncreasingCircleProcess"/>
    <dgm:cxn modelId="{FA930EB2-6573-4157-8E8E-6C0EFC635115}" type="presParOf" srcId="{1F1E0E5E-57C0-455F-806E-6833BFC7AC41}" destId="{CD30BD3C-56A4-430A-8D5A-523139A9FDA2}" srcOrd="1" destOrd="0" presId="urn:microsoft.com/office/officeart/2008/layout/IncreasingCircleProcess"/>
    <dgm:cxn modelId="{B6FD14AA-6759-450A-80EA-10F743019316}" type="presParOf" srcId="{1F1E0E5E-57C0-455F-806E-6833BFC7AC41}" destId="{DA9948FA-6810-4A44-A982-618A78EE63C8}" srcOrd="2" destOrd="0" presId="urn:microsoft.com/office/officeart/2008/layout/IncreasingCircleProcess"/>
    <dgm:cxn modelId="{4758584B-169B-4B2A-80EA-5737807C4A47}" type="presParOf" srcId="{1F1E0E5E-57C0-455F-806E-6833BFC7AC41}" destId="{EECE094F-02D6-40EB-92DB-EABA03C1763C}" srcOrd="3" destOrd="0" presId="urn:microsoft.com/office/officeart/2008/layout/Increasing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9E8E4E4-C675-4920-BFB4-24DA2BDCBE63}" type="doc">
      <dgm:prSet loTypeId="urn:microsoft.com/office/officeart/2005/8/layout/hierarchy2" loCatId="hierarchy" qsTypeId="urn:microsoft.com/office/officeart/2005/8/quickstyle/simple1" qsCatId="simple" csTypeId="urn:microsoft.com/office/officeart/2005/8/colors/colorful1" csCatId="colorful" phldr="1"/>
      <dgm:spPr/>
      <dgm:t>
        <a:bodyPr/>
        <a:lstStyle/>
        <a:p>
          <a:endParaRPr lang="en-US"/>
        </a:p>
      </dgm:t>
    </dgm:pt>
    <dgm:pt modelId="{F197D403-7955-44B1-BD6F-33BC1637FE03}">
      <dgm:prSet phldrT="[Text]">
        <dgm:style>
          <a:lnRef idx="2">
            <a:schemeClr val="dk1"/>
          </a:lnRef>
          <a:fillRef idx="1">
            <a:schemeClr val="lt1"/>
          </a:fillRef>
          <a:effectRef idx="0">
            <a:schemeClr val="dk1"/>
          </a:effectRef>
          <a:fontRef idx="minor">
            <a:schemeClr val="dk1"/>
          </a:fontRef>
        </dgm:style>
      </dgm:prSet>
      <dgm:spPr/>
      <dgm:t>
        <a:bodyPr/>
        <a:lstStyle/>
        <a:p>
          <a:r>
            <a:rPr lang="en-US"/>
            <a:t>Asset</a:t>
          </a:r>
        </a:p>
      </dgm:t>
    </dgm:pt>
    <dgm:pt modelId="{384E92BA-C38C-4049-A125-884A2BB98CC5}" type="parTrans" cxnId="{1B69CEC0-EC7D-4127-BD82-9504CFE49FC8}">
      <dgm:prSet/>
      <dgm:spPr/>
      <dgm:t>
        <a:bodyPr/>
        <a:lstStyle/>
        <a:p>
          <a:endParaRPr lang="en-US"/>
        </a:p>
      </dgm:t>
    </dgm:pt>
    <dgm:pt modelId="{F020EA9B-A0C2-4060-A1CD-26FB0E7C98E5}" type="sibTrans" cxnId="{1B69CEC0-EC7D-4127-BD82-9504CFE49FC8}">
      <dgm:prSet/>
      <dgm:spPr/>
      <dgm:t>
        <a:bodyPr/>
        <a:lstStyle/>
        <a:p>
          <a:endParaRPr lang="en-US"/>
        </a:p>
      </dgm:t>
    </dgm:pt>
    <dgm:pt modelId="{61BC2C8A-9A11-4072-B568-8CB18DEC7F8F}">
      <dgm:prSet phldrT="[Text]">
        <dgm:style>
          <a:lnRef idx="2">
            <a:schemeClr val="accent3"/>
          </a:lnRef>
          <a:fillRef idx="1">
            <a:schemeClr val="lt1"/>
          </a:fillRef>
          <a:effectRef idx="0">
            <a:schemeClr val="accent3"/>
          </a:effectRef>
          <a:fontRef idx="minor">
            <a:schemeClr val="dk1"/>
          </a:fontRef>
        </dgm:style>
      </dgm:prSet>
      <dgm:spPr/>
      <dgm:t>
        <a:bodyPr/>
        <a:lstStyle/>
        <a:p>
          <a:r>
            <a:rPr lang="en-US"/>
            <a:t>Vital</a:t>
          </a:r>
        </a:p>
      </dgm:t>
    </dgm:pt>
    <dgm:pt modelId="{B9BEA9C7-D948-426C-AC8D-F9FDD412972E}" type="parTrans" cxnId="{2C2D816A-32D2-4915-8773-299ECA8DD26A}">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D7EFF2DC-8483-4489-A699-D5F469491630}" type="sibTrans" cxnId="{2C2D816A-32D2-4915-8773-299ECA8DD26A}">
      <dgm:prSet/>
      <dgm:spPr/>
      <dgm:t>
        <a:bodyPr/>
        <a:lstStyle/>
        <a:p>
          <a:endParaRPr lang="en-US"/>
        </a:p>
      </dgm:t>
    </dgm:pt>
    <dgm:pt modelId="{E1C0B63F-4A3F-4EC8-B210-F7839B2FECE2}">
      <dgm:prSet phldrT="[Text]">
        <dgm:style>
          <a:lnRef idx="2">
            <a:schemeClr val="accent1"/>
          </a:lnRef>
          <a:fillRef idx="1">
            <a:schemeClr val="lt1"/>
          </a:fillRef>
          <a:effectRef idx="0">
            <a:schemeClr val="accent1"/>
          </a:effectRef>
          <a:fontRef idx="minor">
            <a:schemeClr val="dk1"/>
          </a:fontRef>
        </dgm:style>
      </dgm:prSet>
      <dgm:spPr>
        <a:solidFill>
          <a:srgbClr val="FF0000"/>
        </a:solidFill>
      </dgm:spPr>
      <dgm:t>
        <a:bodyPr/>
        <a:lstStyle/>
        <a:p>
          <a:r>
            <a:rPr lang="en-US"/>
            <a:t>Sensitive</a:t>
          </a:r>
        </a:p>
      </dgm:t>
    </dgm:pt>
    <dgm:pt modelId="{D150FC47-6525-48FF-A76E-D4922610D20D}" type="parTrans" cxnId="{BBDD0FAB-A148-4E08-A907-EE4AC0209FC5}">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7113EDB9-1885-4230-942A-699968E7EA88}" type="sibTrans" cxnId="{BBDD0FAB-A148-4E08-A907-EE4AC0209FC5}">
      <dgm:prSet/>
      <dgm:spPr/>
      <dgm:t>
        <a:bodyPr/>
        <a:lstStyle/>
        <a:p>
          <a:endParaRPr lang="en-US"/>
        </a:p>
      </dgm:t>
    </dgm:pt>
    <dgm:pt modelId="{E4712C24-9285-473B-83C7-5A329605262B}">
      <dgm:prSet phldrT="[Text]">
        <dgm:style>
          <a:lnRef idx="2">
            <a:schemeClr val="accent1"/>
          </a:lnRef>
          <a:fillRef idx="1">
            <a:schemeClr val="lt1"/>
          </a:fillRef>
          <a:effectRef idx="0">
            <a:schemeClr val="accent1"/>
          </a:effectRef>
          <a:fontRef idx="minor">
            <a:schemeClr val="dk1"/>
          </a:fontRef>
        </dgm:style>
      </dgm:prSet>
      <dgm:spPr>
        <a:solidFill>
          <a:srgbClr val="FFFF00"/>
        </a:solidFill>
      </dgm:spPr>
      <dgm:t>
        <a:bodyPr/>
        <a:lstStyle/>
        <a:p>
          <a:r>
            <a:rPr lang="en-US"/>
            <a:t>Exposed</a:t>
          </a:r>
        </a:p>
      </dgm:t>
    </dgm:pt>
    <dgm:pt modelId="{35CE56EA-113C-4B0F-8789-F3AE3F0EEFE5}" type="parTrans" cxnId="{DE211FBF-0A61-44CB-B96B-1C4C8FDE9662}">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2150FEFD-FB6B-44A5-AD7C-C136C3EADCCE}" type="sibTrans" cxnId="{DE211FBF-0A61-44CB-B96B-1C4C8FDE9662}">
      <dgm:prSet/>
      <dgm:spPr/>
      <dgm:t>
        <a:bodyPr/>
        <a:lstStyle/>
        <a:p>
          <a:endParaRPr lang="en-US"/>
        </a:p>
      </dgm:t>
    </dgm:pt>
    <dgm:pt modelId="{257CBB86-C053-4002-B088-C2CE2CB2130E}">
      <dgm:prSet phldrT="[Text]">
        <dgm:style>
          <a:lnRef idx="2">
            <a:schemeClr val="accent3"/>
          </a:lnRef>
          <a:fillRef idx="1">
            <a:schemeClr val="lt1"/>
          </a:fillRef>
          <a:effectRef idx="0">
            <a:schemeClr val="accent3"/>
          </a:effectRef>
          <a:fontRef idx="minor">
            <a:schemeClr val="dk1"/>
          </a:fontRef>
        </dgm:style>
      </dgm:prSet>
      <dgm:spPr/>
      <dgm:t>
        <a:bodyPr/>
        <a:lstStyle/>
        <a:p>
          <a:r>
            <a:rPr lang="en-US"/>
            <a:t>Minor</a:t>
          </a:r>
        </a:p>
      </dgm:t>
    </dgm:pt>
    <dgm:pt modelId="{C0DCF726-FFD3-459D-811E-56252EDA2888}" type="parTrans" cxnId="{F4E4F004-F0C1-4E37-9233-9744AD0B331F}">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0F98D7C8-9478-44A2-BD76-ABBA35D81322}" type="sibTrans" cxnId="{F4E4F004-F0C1-4E37-9233-9744AD0B331F}">
      <dgm:prSet/>
      <dgm:spPr/>
      <dgm:t>
        <a:bodyPr/>
        <a:lstStyle/>
        <a:p>
          <a:endParaRPr lang="en-US"/>
        </a:p>
      </dgm:t>
    </dgm:pt>
    <dgm:pt modelId="{637EB484-7E84-4442-9EBA-923FDDFCB8DC}">
      <dgm:prSet phldrT="[Text]">
        <dgm:style>
          <a:lnRef idx="2">
            <a:schemeClr val="accent1"/>
          </a:lnRef>
          <a:fillRef idx="1">
            <a:schemeClr val="lt1"/>
          </a:fillRef>
          <a:effectRef idx="0">
            <a:schemeClr val="accent1"/>
          </a:effectRef>
          <a:fontRef idx="minor">
            <a:schemeClr val="dk1"/>
          </a:fontRef>
        </dgm:style>
      </dgm:prSet>
      <dgm:spPr>
        <a:solidFill>
          <a:srgbClr val="FFFF00"/>
        </a:solidFill>
      </dgm:spPr>
      <dgm:t>
        <a:bodyPr/>
        <a:lstStyle/>
        <a:p>
          <a:r>
            <a:rPr lang="en-US"/>
            <a:t>Exposed</a:t>
          </a:r>
        </a:p>
      </dgm:t>
    </dgm:pt>
    <dgm:pt modelId="{41F54619-B334-4666-BC49-6BDA2B26C33B}" type="parTrans" cxnId="{6008DF10-7C4A-4851-BAA9-9B7D16BB6BE6}">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FEC68BD1-4B54-4C10-A1BB-CEAD6E72C7D9}" type="sibTrans" cxnId="{6008DF10-7C4A-4851-BAA9-9B7D16BB6BE6}">
      <dgm:prSet/>
      <dgm:spPr/>
      <dgm:t>
        <a:bodyPr/>
        <a:lstStyle/>
        <a:p>
          <a:endParaRPr lang="en-US"/>
        </a:p>
      </dgm:t>
    </dgm:pt>
    <dgm:pt modelId="{21DDC5DE-9B99-4E97-B766-ECB455617711}">
      <dgm:prSet phldrT="[Text]">
        <dgm:style>
          <a:lnRef idx="2">
            <a:schemeClr val="accent1"/>
          </a:lnRef>
          <a:fillRef idx="1">
            <a:schemeClr val="lt1"/>
          </a:fillRef>
          <a:effectRef idx="0">
            <a:schemeClr val="accent1"/>
          </a:effectRef>
          <a:fontRef idx="minor">
            <a:schemeClr val="dk1"/>
          </a:fontRef>
        </dgm:style>
      </dgm:prSet>
      <dgm:spPr>
        <a:solidFill>
          <a:srgbClr val="92D050"/>
        </a:solidFill>
      </dgm:spPr>
      <dgm:t>
        <a:bodyPr/>
        <a:lstStyle/>
        <a:p>
          <a:r>
            <a:rPr lang="en-US"/>
            <a:t>Robust</a:t>
          </a:r>
        </a:p>
      </dgm:t>
    </dgm:pt>
    <dgm:pt modelId="{C53C0B86-5B34-4117-9974-4879ADEF23FD}" type="parTrans" cxnId="{D03C44B7-6317-46F9-962A-D987BB79E73F}">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5B6CDA3A-AD47-4026-9D25-0A227CD078BC}" type="sibTrans" cxnId="{D03C44B7-6317-46F9-962A-D987BB79E73F}">
      <dgm:prSet/>
      <dgm:spPr/>
      <dgm:t>
        <a:bodyPr/>
        <a:lstStyle/>
        <a:p>
          <a:endParaRPr lang="en-US"/>
        </a:p>
      </dgm:t>
    </dgm:pt>
    <dgm:pt modelId="{52A139F3-4B9B-4125-8EB6-6B94313949BE}">
      <dgm:prSet phldrT="[Text]">
        <dgm:style>
          <a:lnRef idx="2">
            <a:schemeClr val="accent4"/>
          </a:lnRef>
          <a:fillRef idx="1">
            <a:schemeClr val="lt1"/>
          </a:fillRef>
          <a:effectRef idx="0">
            <a:schemeClr val="accent4"/>
          </a:effectRef>
          <a:fontRef idx="minor">
            <a:schemeClr val="dk1"/>
          </a:fontRef>
        </dgm:style>
      </dgm:prSet>
      <dgm:spPr>
        <a:solidFill>
          <a:srgbClr val="FF0000"/>
        </a:solidFill>
      </dgm:spPr>
      <dgm:t>
        <a:bodyPr/>
        <a:lstStyle/>
        <a:p>
          <a:r>
            <a:rPr lang="en-US"/>
            <a:t>Likely</a:t>
          </a:r>
        </a:p>
      </dgm:t>
    </dgm:pt>
    <dgm:pt modelId="{EAC11B33-D2F0-4438-811E-F13B90A6403B}" type="parTrans" cxnId="{32E04A59-E093-4917-89E2-A30450C3F9BC}">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CDF603EF-1968-4157-8786-64F1BFABD6F1}" type="sibTrans" cxnId="{32E04A59-E093-4917-89E2-A30450C3F9BC}">
      <dgm:prSet/>
      <dgm:spPr/>
      <dgm:t>
        <a:bodyPr/>
        <a:lstStyle/>
        <a:p>
          <a:endParaRPr lang="en-US"/>
        </a:p>
      </dgm:t>
    </dgm:pt>
    <dgm:pt modelId="{44507B4B-9266-486A-8E7D-E1A4D9F074D9}">
      <dgm:prSet phldrT="[Text]">
        <dgm:style>
          <a:lnRef idx="2">
            <a:schemeClr val="accent4"/>
          </a:lnRef>
          <a:fillRef idx="1">
            <a:schemeClr val="lt1"/>
          </a:fillRef>
          <a:effectRef idx="0">
            <a:schemeClr val="accent4"/>
          </a:effectRef>
          <a:fontRef idx="minor">
            <a:schemeClr val="dk1"/>
          </a:fontRef>
        </dgm:style>
      </dgm:prSet>
      <dgm:spPr>
        <a:solidFill>
          <a:srgbClr val="92D050"/>
        </a:solidFill>
      </dgm:spPr>
      <dgm:t>
        <a:bodyPr/>
        <a:lstStyle/>
        <a:p>
          <a:r>
            <a:rPr lang="en-US"/>
            <a:t>Potential</a:t>
          </a:r>
        </a:p>
      </dgm:t>
    </dgm:pt>
    <dgm:pt modelId="{C3FC119E-CA58-43CF-BAD1-D04466E6D769}" type="parTrans" cxnId="{C9D264FD-0BF6-4D57-9DFA-401DF3B2E40F}">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F0AC80BB-D115-43A2-8D77-75CBCB7AE6AB}" type="sibTrans" cxnId="{C9D264FD-0BF6-4D57-9DFA-401DF3B2E40F}">
      <dgm:prSet/>
      <dgm:spPr/>
      <dgm:t>
        <a:bodyPr/>
        <a:lstStyle/>
        <a:p>
          <a:endParaRPr lang="en-US"/>
        </a:p>
      </dgm:t>
    </dgm:pt>
    <dgm:pt modelId="{DA7964E5-2361-4C35-9A20-9E82738DAFBF}">
      <dgm:prSet phldrT="[Text]">
        <dgm:style>
          <a:lnRef idx="2">
            <a:schemeClr val="accent6"/>
          </a:lnRef>
          <a:fillRef idx="1">
            <a:schemeClr val="lt1"/>
          </a:fillRef>
          <a:effectRef idx="0">
            <a:schemeClr val="accent6"/>
          </a:effectRef>
          <a:fontRef idx="minor">
            <a:schemeClr val="dk1"/>
          </a:fontRef>
        </dgm:style>
      </dgm:prSet>
      <dgm:spPr/>
      <dgm:t>
        <a:bodyPr/>
        <a:lstStyle/>
        <a:p>
          <a:r>
            <a:rPr lang="en-US"/>
            <a:t>Thresholds</a:t>
          </a:r>
        </a:p>
      </dgm:t>
    </dgm:pt>
    <dgm:pt modelId="{2D5241D9-E151-4233-A7B2-DDCA1BAB91F7}" type="parTrans" cxnId="{BCAA7645-C7AB-4D7D-AAA3-1348BB1D4A0C}">
      <dgm:prSet>
        <dgm:style>
          <a:lnRef idx="2">
            <a:schemeClr val="accent2"/>
          </a:lnRef>
          <a:fillRef idx="0">
            <a:schemeClr val="accent2"/>
          </a:fillRef>
          <a:effectRef idx="1">
            <a:schemeClr val="accent2"/>
          </a:effectRef>
          <a:fontRef idx="minor">
            <a:schemeClr val="tx1"/>
          </a:fontRef>
        </dgm:style>
      </dgm:prSet>
      <dgm:spPr/>
      <dgm:t>
        <a:bodyPr/>
        <a:lstStyle/>
        <a:p>
          <a:endParaRPr lang="en-US"/>
        </a:p>
      </dgm:t>
    </dgm:pt>
    <dgm:pt modelId="{4BBDC002-B512-4634-9C26-1E032E6CAFAB}" type="sibTrans" cxnId="{BCAA7645-C7AB-4D7D-AAA3-1348BB1D4A0C}">
      <dgm:prSet/>
      <dgm:spPr/>
      <dgm:t>
        <a:bodyPr/>
        <a:lstStyle/>
        <a:p>
          <a:endParaRPr lang="en-US"/>
        </a:p>
      </dgm:t>
    </dgm:pt>
    <dgm:pt modelId="{A1262C4C-AEFA-48D7-A018-46347234E2AB}">
      <dgm:prSet phldrT="[Text]">
        <dgm:style>
          <a:lnRef idx="2">
            <a:schemeClr val="accent1"/>
          </a:lnRef>
          <a:fillRef idx="1">
            <a:schemeClr val="lt1"/>
          </a:fillRef>
          <a:effectRef idx="0">
            <a:schemeClr val="accent1"/>
          </a:effectRef>
          <a:fontRef idx="minor">
            <a:schemeClr val="dk1"/>
          </a:fontRef>
        </dgm:style>
      </dgm:prSet>
      <dgm:spPr>
        <a:solidFill>
          <a:srgbClr val="92D050"/>
        </a:solidFill>
      </dgm:spPr>
      <dgm:t>
        <a:bodyPr/>
        <a:lstStyle/>
        <a:p>
          <a:r>
            <a:rPr lang="en-US"/>
            <a:t>Robust</a:t>
          </a:r>
        </a:p>
      </dgm:t>
    </dgm:pt>
    <dgm:pt modelId="{B07B2124-D362-408B-BD97-0A3DD6B0B63C}" type="parTrans" cxnId="{A43AFFC3-6EF0-4EAB-98D8-A5865EA47298}">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3795DE77-30F6-4AB6-B2A5-FEC34FE9A9C6}" type="sibTrans" cxnId="{A43AFFC3-6EF0-4EAB-98D8-A5865EA47298}">
      <dgm:prSet/>
      <dgm:spPr/>
      <dgm:t>
        <a:bodyPr/>
        <a:lstStyle/>
        <a:p>
          <a:endParaRPr lang="en-US"/>
        </a:p>
      </dgm:t>
    </dgm:pt>
    <dgm:pt modelId="{856B431B-3763-4ACE-AC3E-B834922EF9A3}">
      <dgm:prSet phldrT="[Text]">
        <dgm:style>
          <a:lnRef idx="2">
            <a:schemeClr val="accent4"/>
          </a:lnRef>
          <a:fillRef idx="1">
            <a:schemeClr val="lt1"/>
          </a:fillRef>
          <a:effectRef idx="0">
            <a:schemeClr val="accent4"/>
          </a:effectRef>
          <a:fontRef idx="minor">
            <a:schemeClr val="dk1"/>
          </a:fontRef>
        </dgm:style>
      </dgm:prSet>
      <dgm:spPr>
        <a:solidFill>
          <a:srgbClr val="FFFF00"/>
        </a:solidFill>
      </dgm:spPr>
      <dgm:t>
        <a:bodyPr/>
        <a:lstStyle/>
        <a:p>
          <a:r>
            <a:rPr lang="en-US"/>
            <a:t>Possible</a:t>
          </a:r>
        </a:p>
      </dgm:t>
    </dgm:pt>
    <dgm:pt modelId="{6364268D-CB2B-42D8-9944-4023890DA0B5}" type="parTrans" cxnId="{E065F6BB-A402-455C-BD0C-E5AD428AACD1}">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56DB99DC-DAD9-424D-9329-CE3621D90411}" type="sibTrans" cxnId="{E065F6BB-A402-455C-BD0C-E5AD428AACD1}">
      <dgm:prSet/>
      <dgm:spPr/>
      <dgm:t>
        <a:bodyPr/>
        <a:lstStyle/>
        <a:p>
          <a:endParaRPr lang="en-US"/>
        </a:p>
      </dgm:t>
    </dgm:pt>
    <dgm:pt modelId="{1953F410-8066-4EDA-8090-5EFA2D382761}">
      <dgm:prSet phldrT="[Text]">
        <dgm:style>
          <a:lnRef idx="2">
            <a:schemeClr val="accent2"/>
          </a:lnRef>
          <a:fillRef idx="1">
            <a:schemeClr val="lt1"/>
          </a:fillRef>
          <a:effectRef idx="0">
            <a:schemeClr val="accent2"/>
          </a:effectRef>
          <a:fontRef idx="minor">
            <a:schemeClr val="dk1"/>
          </a:fontRef>
        </dgm:style>
      </dgm:prSet>
      <dgm:spPr>
        <a:solidFill>
          <a:srgbClr val="FF0000"/>
        </a:solidFill>
      </dgm:spPr>
      <dgm:t>
        <a:bodyPr/>
        <a:lstStyle/>
        <a:p>
          <a:r>
            <a:rPr lang="en-US"/>
            <a:t>High - </a:t>
          </a:r>
        </a:p>
        <a:p>
          <a:r>
            <a:rPr lang="en-US"/>
            <a:t>O&amp;M Costs</a:t>
          </a:r>
        </a:p>
      </dgm:t>
    </dgm:pt>
    <dgm:pt modelId="{44DAB497-14C7-496D-AAF3-CF3DC2C9BA77}" type="parTrans" cxnId="{12EDD6B3-E215-43D5-9989-203939EA26C5}">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DED95C07-975C-4526-B218-8A08500DDC55}" type="sibTrans" cxnId="{12EDD6B3-E215-43D5-9989-203939EA26C5}">
      <dgm:prSet/>
      <dgm:spPr/>
      <dgm:t>
        <a:bodyPr/>
        <a:lstStyle/>
        <a:p>
          <a:endParaRPr lang="en-US"/>
        </a:p>
      </dgm:t>
    </dgm:pt>
    <dgm:pt modelId="{8E0C410E-6E05-4517-86B0-02964E82419C}">
      <dgm:prSet phldrT="[Text]">
        <dgm:style>
          <a:lnRef idx="2">
            <a:schemeClr val="accent2"/>
          </a:lnRef>
          <a:fillRef idx="1">
            <a:schemeClr val="lt1"/>
          </a:fillRef>
          <a:effectRef idx="0">
            <a:schemeClr val="accent2"/>
          </a:effectRef>
          <a:fontRef idx="minor">
            <a:schemeClr val="dk1"/>
          </a:fontRef>
        </dgm:style>
      </dgm:prSet>
      <dgm:spPr>
        <a:solidFill>
          <a:srgbClr val="FFFF00"/>
        </a:solidFill>
      </dgm:spPr>
      <dgm:t>
        <a:bodyPr/>
        <a:lstStyle/>
        <a:p>
          <a:r>
            <a:rPr lang="en-US"/>
            <a:t>Medium - O&amp;M Costs</a:t>
          </a:r>
        </a:p>
      </dgm:t>
    </dgm:pt>
    <dgm:pt modelId="{7024CFD8-1AA2-415B-928B-06D639E89E18}" type="parTrans" cxnId="{608A254D-58D7-473D-946A-898BE976D1B7}">
      <dgm:prSet/>
      <dgm:spPr/>
      <dgm:t>
        <a:bodyPr/>
        <a:lstStyle/>
        <a:p>
          <a:endParaRPr lang="en-US"/>
        </a:p>
      </dgm:t>
    </dgm:pt>
    <dgm:pt modelId="{B07E1DD8-95F3-47C3-B2A8-BC7A20545490}" type="sibTrans" cxnId="{608A254D-58D7-473D-946A-898BE976D1B7}">
      <dgm:prSet/>
      <dgm:spPr/>
      <dgm:t>
        <a:bodyPr/>
        <a:lstStyle/>
        <a:p>
          <a:endParaRPr lang="en-US"/>
        </a:p>
      </dgm:t>
    </dgm:pt>
    <dgm:pt modelId="{DF9A9F5F-8DE8-4DB7-810D-051ED7BBDBF2}">
      <dgm:prSet phldrT="[Text]">
        <dgm:style>
          <a:lnRef idx="2">
            <a:schemeClr val="accent6"/>
          </a:lnRef>
          <a:fillRef idx="1">
            <a:schemeClr val="lt1"/>
          </a:fillRef>
          <a:effectRef idx="0">
            <a:schemeClr val="accent6"/>
          </a:effectRef>
          <a:fontRef idx="minor">
            <a:schemeClr val="dk1"/>
          </a:fontRef>
        </dgm:style>
      </dgm:prSet>
      <dgm:spPr/>
      <dgm:t>
        <a:bodyPr/>
        <a:lstStyle/>
        <a:p>
          <a:r>
            <a:rPr lang="en-US"/>
            <a:t>Ownership</a:t>
          </a:r>
        </a:p>
      </dgm:t>
    </dgm:pt>
    <dgm:pt modelId="{6669D5B3-A9D1-4706-8DDA-1D872E29C16C}" type="parTrans" cxnId="{2644DC1B-5E52-47F8-A87A-6F608F4936B3}">
      <dgm:prSet/>
      <dgm:spPr/>
      <dgm:t>
        <a:bodyPr/>
        <a:lstStyle/>
        <a:p>
          <a:endParaRPr lang="en-US"/>
        </a:p>
      </dgm:t>
    </dgm:pt>
    <dgm:pt modelId="{8D98901E-516E-4B22-9FAF-1190360C0039}" type="sibTrans" cxnId="{2644DC1B-5E52-47F8-A87A-6F608F4936B3}">
      <dgm:prSet/>
      <dgm:spPr/>
      <dgm:t>
        <a:bodyPr/>
        <a:lstStyle/>
        <a:p>
          <a:endParaRPr lang="en-US"/>
        </a:p>
      </dgm:t>
    </dgm:pt>
    <dgm:pt modelId="{047ADF52-CFB2-47E7-B0CD-9C95AA74429E}">
      <dgm:prSet phldrT="[Text]">
        <dgm:style>
          <a:lnRef idx="2">
            <a:schemeClr val="accent6"/>
          </a:lnRef>
          <a:fillRef idx="1">
            <a:schemeClr val="lt1"/>
          </a:fillRef>
          <a:effectRef idx="0">
            <a:schemeClr val="accent6"/>
          </a:effectRef>
          <a:fontRef idx="minor">
            <a:schemeClr val="dk1"/>
          </a:fontRef>
        </dgm:style>
      </dgm:prSet>
      <dgm:spPr/>
      <dgm:t>
        <a:bodyPr/>
        <a:lstStyle/>
        <a:p>
          <a:r>
            <a:rPr lang="en-US"/>
            <a:t>Thresholds</a:t>
          </a:r>
        </a:p>
      </dgm:t>
    </dgm:pt>
    <dgm:pt modelId="{4CBA450D-DD1E-49BA-8B98-368DD345F9E1}" type="parTrans" cxnId="{6DEDF19B-C0FC-4618-95A4-6A6DC5060AB0}">
      <dgm:prSet/>
      <dgm:spPr/>
      <dgm:t>
        <a:bodyPr/>
        <a:lstStyle/>
        <a:p>
          <a:endParaRPr lang="en-US"/>
        </a:p>
      </dgm:t>
    </dgm:pt>
    <dgm:pt modelId="{141064A8-6377-47AB-942B-B57C80D4BDCA}" type="sibTrans" cxnId="{6DEDF19B-C0FC-4618-95A4-6A6DC5060AB0}">
      <dgm:prSet/>
      <dgm:spPr/>
      <dgm:t>
        <a:bodyPr/>
        <a:lstStyle/>
        <a:p>
          <a:endParaRPr lang="en-US"/>
        </a:p>
      </dgm:t>
    </dgm:pt>
    <dgm:pt modelId="{7D3ACB0A-5200-4E01-86F6-E431CB857895}">
      <dgm:prSet phldrT="[Text]">
        <dgm:style>
          <a:lnRef idx="2">
            <a:schemeClr val="accent4"/>
          </a:lnRef>
          <a:fillRef idx="1">
            <a:schemeClr val="lt1"/>
          </a:fillRef>
          <a:effectRef idx="0">
            <a:schemeClr val="accent4"/>
          </a:effectRef>
          <a:fontRef idx="minor">
            <a:schemeClr val="dk1"/>
          </a:fontRef>
        </dgm:style>
      </dgm:prSet>
      <dgm:spPr>
        <a:solidFill>
          <a:srgbClr val="FF0000"/>
        </a:solidFill>
      </dgm:spPr>
      <dgm:t>
        <a:bodyPr/>
        <a:lstStyle/>
        <a:p>
          <a:r>
            <a:rPr lang="en-US"/>
            <a:t>Likely</a:t>
          </a:r>
        </a:p>
      </dgm:t>
    </dgm:pt>
    <dgm:pt modelId="{8EF98D60-2523-44AD-8D40-DCB6D36AE829}" type="parTrans" cxnId="{E998DA0A-AA5A-4D30-AAB4-BC7063F9D8FB}">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2AEA2C45-7192-428E-8AF1-6CDA34840DD1}" type="sibTrans" cxnId="{E998DA0A-AA5A-4D30-AAB4-BC7063F9D8FB}">
      <dgm:prSet/>
      <dgm:spPr/>
      <dgm:t>
        <a:bodyPr/>
        <a:lstStyle/>
        <a:p>
          <a:endParaRPr lang="en-US"/>
        </a:p>
      </dgm:t>
    </dgm:pt>
    <dgm:pt modelId="{56BAEE52-C4B0-4CFC-AC22-640DBDBB8CCC}">
      <dgm:prSet phldrT="[Text]">
        <dgm:style>
          <a:lnRef idx="2">
            <a:schemeClr val="accent4"/>
          </a:lnRef>
          <a:fillRef idx="1">
            <a:schemeClr val="lt1"/>
          </a:fillRef>
          <a:effectRef idx="0">
            <a:schemeClr val="accent4"/>
          </a:effectRef>
          <a:fontRef idx="minor">
            <a:schemeClr val="dk1"/>
          </a:fontRef>
        </dgm:style>
      </dgm:prSet>
      <dgm:spPr>
        <a:solidFill>
          <a:srgbClr val="FF0000"/>
        </a:solidFill>
      </dgm:spPr>
      <dgm:t>
        <a:bodyPr/>
        <a:lstStyle/>
        <a:p>
          <a:r>
            <a:rPr lang="en-US"/>
            <a:t>Likely</a:t>
          </a:r>
        </a:p>
      </dgm:t>
    </dgm:pt>
    <dgm:pt modelId="{870C8AC8-5267-49FD-99DD-105236136913}" type="parTrans" cxnId="{E9A0DEBD-ADB9-46FD-BFA3-824C19E5DB49}">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03A0AF70-D90B-4CF5-B284-60103C4CDAE6}" type="sibTrans" cxnId="{E9A0DEBD-ADB9-46FD-BFA3-824C19E5DB49}">
      <dgm:prSet/>
      <dgm:spPr/>
      <dgm:t>
        <a:bodyPr/>
        <a:lstStyle/>
        <a:p>
          <a:endParaRPr lang="en-US"/>
        </a:p>
      </dgm:t>
    </dgm:pt>
    <dgm:pt modelId="{9135DB42-F7C1-4A90-AFE6-A31C2F78FA74}">
      <dgm:prSet phldrT="[Text]">
        <dgm:style>
          <a:lnRef idx="2">
            <a:schemeClr val="accent2"/>
          </a:lnRef>
          <a:fillRef idx="1">
            <a:schemeClr val="lt1"/>
          </a:fillRef>
          <a:effectRef idx="0">
            <a:schemeClr val="accent2"/>
          </a:effectRef>
          <a:fontRef idx="minor">
            <a:schemeClr val="dk1"/>
          </a:fontRef>
        </dgm:style>
      </dgm:prSet>
      <dgm:spPr>
        <a:solidFill>
          <a:srgbClr val="FF0000"/>
        </a:solidFill>
      </dgm:spPr>
      <dgm:t>
        <a:bodyPr/>
        <a:lstStyle/>
        <a:p>
          <a:r>
            <a:rPr lang="en-US"/>
            <a:t>High -Replace</a:t>
          </a:r>
        </a:p>
      </dgm:t>
    </dgm:pt>
    <dgm:pt modelId="{A7D5C2C3-5C17-44AB-B388-191B53D92BD4}" type="parTrans" cxnId="{D3A97097-D851-4C52-8E70-12BB782B43D8}">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95B40C1F-EB33-4EDA-9745-3E0F199346AE}" type="sibTrans" cxnId="{D3A97097-D851-4C52-8E70-12BB782B43D8}">
      <dgm:prSet/>
      <dgm:spPr/>
      <dgm:t>
        <a:bodyPr/>
        <a:lstStyle/>
        <a:p>
          <a:endParaRPr lang="en-US"/>
        </a:p>
      </dgm:t>
    </dgm:pt>
    <dgm:pt modelId="{5885CC4E-441D-4905-8162-061D248007E8}">
      <dgm:prSet phldrT="[Text]">
        <dgm:style>
          <a:lnRef idx="2">
            <a:schemeClr val="accent4"/>
          </a:lnRef>
          <a:fillRef idx="1">
            <a:schemeClr val="lt1"/>
          </a:fillRef>
          <a:effectRef idx="0">
            <a:schemeClr val="accent4"/>
          </a:effectRef>
          <a:fontRef idx="minor">
            <a:schemeClr val="dk1"/>
          </a:fontRef>
        </dgm:style>
      </dgm:prSet>
      <dgm:spPr>
        <a:solidFill>
          <a:srgbClr val="FFFF00"/>
        </a:solidFill>
      </dgm:spPr>
      <dgm:t>
        <a:bodyPr/>
        <a:lstStyle/>
        <a:p>
          <a:r>
            <a:rPr lang="en-US" dirty="0"/>
            <a:t>Possible</a:t>
          </a:r>
        </a:p>
      </dgm:t>
    </dgm:pt>
    <dgm:pt modelId="{DF138C95-44A0-4F89-8879-3C575078E77D}" type="parTrans" cxnId="{44E3F4B9-1372-4803-91FB-2A0E5C60C7B8}">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418711CF-0497-4A5F-A723-A8FF7D0784D0}" type="sibTrans" cxnId="{44E3F4B9-1372-4803-91FB-2A0E5C60C7B8}">
      <dgm:prSet/>
      <dgm:spPr/>
      <dgm:t>
        <a:bodyPr/>
        <a:lstStyle/>
        <a:p>
          <a:endParaRPr lang="en-US"/>
        </a:p>
      </dgm:t>
    </dgm:pt>
    <dgm:pt modelId="{D9ECCF8F-C216-4445-BBEA-74588892542B}">
      <dgm:prSet phldrT="[Text]">
        <dgm:style>
          <a:lnRef idx="2">
            <a:schemeClr val="accent4"/>
          </a:lnRef>
          <a:fillRef idx="1">
            <a:schemeClr val="lt1"/>
          </a:fillRef>
          <a:effectRef idx="0">
            <a:schemeClr val="accent4"/>
          </a:effectRef>
          <a:fontRef idx="minor">
            <a:schemeClr val="dk1"/>
          </a:fontRef>
        </dgm:style>
      </dgm:prSet>
      <dgm:spPr>
        <a:solidFill>
          <a:srgbClr val="92D050"/>
        </a:solidFill>
      </dgm:spPr>
      <dgm:t>
        <a:bodyPr/>
        <a:lstStyle/>
        <a:p>
          <a:r>
            <a:rPr lang="en-US"/>
            <a:t>Potential</a:t>
          </a:r>
        </a:p>
      </dgm:t>
    </dgm:pt>
    <dgm:pt modelId="{132DD7D3-47DF-4E15-AECB-9D690779C64A}" type="parTrans" cxnId="{2682839E-3C89-457D-BDE1-B043019B90B0}">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C922616A-F81D-4446-93B1-BAB562C587BD}" type="sibTrans" cxnId="{2682839E-3C89-457D-BDE1-B043019B90B0}">
      <dgm:prSet/>
      <dgm:spPr/>
      <dgm:t>
        <a:bodyPr/>
        <a:lstStyle/>
        <a:p>
          <a:endParaRPr lang="en-US"/>
        </a:p>
      </dgm:t>
    </dgm:pt>
    <dgm:pt modelId="{E5CF2587-25FD-468D-8F34-9171FA20A895}">
      <dgm:prSet phldrT="[Text]">
        <dgm:style>
          <a:lnRef idx="2">
            <a:schemeClr val="accent4"/>
          </a:lnRef>
          <a:fillRef idx="1">
            <a:schemeClr val="lt1"/>
          </a:fillRef>
          <a:effectRef idx="0">
            <a:schemeClr val="accent4"/>
          </a:effectRef>
          <a:fontRef idx="minor">
            <a:schemeClr val="dk1"/>
          </a:fontRef>
        </dgm:style>
      </dgm:prSet>
      <dgm:spPr>
        <a:solidFill>
          <a:srgbClr val="FF0000"/>
        </a:solidFill>
      </dgm:spPr>
      <dgm:t>
        <a:bodyPr/>
        <a:lstStyle/>
        <a:p>
          <a:r>
            <a:rPr lang="en-US"/>
            <a:t>Likely</a:t>
          </a:r>
        </a:p>
      </dgm:t>
    </dgm:pt>
    <dgm:pt modelId="{4D0AD6E8-2286-43F6-8FBB-0BD623CD643D}" type="parTrans" cxnId="{871A6613-337A-478C-AD2D-925E2840ABB5}">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EFC4171F-BC48-4556-837F-35F9D19E11C9}" type="sibTrans" cxnId="{871A6613-337A-478C-AD2D-925E2840ABB5}">
      <dgm:prSet/>
      <dgm:spPr/>
      <dgm:t>
        <a:bodyPr/>
        <a:lstStyle/>
        <a:p>
          <a:endParaRPr lang="en-US"/>
        </a:p>
      </dgm:t>
    </dgm:pt>
    <dgm:pt modelId="{BD84F896-3391-4A7E-BCE1-86E7301F1728}">
      <dgm:prSet phldrT="[Text]">
        <dgm:style>
          <a:lnRef idx="2">
            <a:schemeClr val="accent4"/>
          </a:lnRef>
          <a:fillRef idx="1">
            <a:schemeClr val="lt1"/>
          </a:fillRef>
          <a:effectRef idx="0">
            <a:schemeClr val="accent4"/>
          </a:effectRef>
          <a:fontRef idx="minor">
            <a:schemeClr val="dk1"/>
          </a:fontRef>
        </dgm:style>
      </dgm:prSet>
      <dgm:spPr>
        <a:solidFill>
          <a:srgbClr val="FFFF00"/>
        </a:solidFill>
      </dgm:spPr>
      <dgm:t>
        <a:bodyPr/>
        <a:lstStyle/>
        <a:p>
          <a:r>
            <a:rPr lang="en-US"/>
            <a:t>Possible</a:t>
          </a:r>
        </a:p>
      </dgm:t>
    </dgm:pt>
    <dgm:pt modelId="{6DC37D20-7256-43A0-A6E3-91B03340EA7F}" type="parTrans" cxnId="{C93D1A4C-8D25-4D47-8D54-F31103B24B96}">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761E89D8-BF0E-4D5F-8DAD-25F71C79440F}" type="sibTrans" cxnId="{C93D1A4C-8D25-4D47-8D54-F31103B24B96}">
      <dgm:prSet/>
      <dgm:spPr/>
      <dgm:t>
        <a:bodyPr/>
        <a:lstStyle/>
        <a:p>
          <a:endParaRPr lang="en-US"/>
        </a:p>
      </dgm:t>
    </dgm:pt>
    <dgm:pt modelId="{BBB33E5B-0101-4F6A-BCBF-F16326938656}">
      <dgm:prSet phldrT="[Text]">
        <dgm:style>
          <a:lnRef idx="2">
            <a:schemeClr val="accent4"/>
          </a:lnRef>
          <a:fillRef idx="1">
            <a:schemeClr val="lt1"/>
          </a:fillRef>
          <a:effectRef idx="0">
            <a:schemeClr val="accent4"/>
          </a:effectRef>
          <a:fontRef idx="minor">
            <a:schemeClr val="dk1"/>
          </a:fontRef>
        </dgm:style>
      </dgm:prSet>
      <dgm:spPr>
        <a:solidFill>
          <a:srgbClr val="92D050"/>
        </a:solidFill>
      </dgm:spPr>
      <dgm:t>
        <a:bodyPr/>
        <a:lstStyle/>
        <a:p>
          <a:r>
            <a:rPr lang="en-US"/>
            <a:t>Potential</a:t>
          </a:r>
        </a:p>
      </dgm:t>
    </dgm:pt>
    <dgm:pt modelId="{1504C198-6E25-43AC-AA3B-E4FFAB042CB6}" type="parTrans" cxnId="{D4C37634-596F-47F0-98B0-E4625D718E25}">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E261F51D-8532-4829-AF9C-1637583B8BCC}" type="sibTrans" cxnId="{D4C37634-596F-47F0-98B0-E4625D718E25}">
      <dgm:prSet/>
      <dgm:spPr/>
      <dgm:t>
        <a:bodyPr/>
        <a:lstStyle/>
        <a:p>
          <a:endParaRPr lang="en-US"/>
        </a:p>
      </dgm:t>
    </dgm:pt>
    <dgm:pt modelId="{3C5A5C58-89D2-47B3-8119-22F2F35519DB}">
      <dgm:prSet phldrT="[Text]">
        <dgm:style>
          <a:lnRef idx="2">
            <a:schemeClr val="accent2"/>
          </a:lnRef>
          <a:fillRef idx="1">
            <a:schemeClr val="lt1"/>
          </a:fillRef>
          <a:effectRef idx="0">
            <a:schemeClr val="accent2"/>
          </a:effectRef>
          <a:fontRef idx="minor">
            <a:schemeClr val="dk1"/>
          </a:fontRef>
        </dgm:style>
      </dgm:prSet>
      <dgm:spPr>
        <a:solidFill>
          <a:srgbClr val="92D050"/>
        </a:solidFill>
      </dgm:spPr>
      <dgm:t>
        <a:bodyPr/>
        <a:lstStyle/>
        <a:p>
          <a:r>
            <a:rPr lang="en-US"/>
            <a:t>Low - OK</a:t>
          </a:r>
        </a:p>
      </dgm:t>
    </dgm:pt>
    <dgm:pt modelId="{2308B16D-767F-46BF-A890-4D7D885F512F}" type="parTrans" cxnId="{F3703FDF-0737-4A40-9384-DA904D057DAD}">
      <dgm:prSet/>
      <dgm:spPr/>
      <dgm:t>
        <a:bodyPr/>
        <a:lstStyle/>
        <a:p>
          <a:endParaRPr lang="en-US"/>
        </a:p>
      </dgm:t>
    </dgm:pt>
    <dgm:pt modelId="{75C1272E-E378-4DAE-91BE-023110B794A7}" type="sibTrans" cxnId="{F3703FDF-0737-4A40-9384-DA904D057DAD}">
      <dgm:prSet/>
      <dgm:spPr/>
      <dgm:t>
        <a:bodyPr/>
        <a:lstStyle/>
        <a:p>
          <a:endParaRPr lang="en-US"/>
        </a:p>
      </dgm:t>
    </dgm:pt>
    <dgm:pt modelId="{1E1D4233-C2A7-48BD-97BC-183FC81F2273}">
      <dgm:prSet phldrT="[Text]">
        <dgm:style>
          <a:lnRef idx="2">
            <a:schemeClr val="accent6"/>
          </a:lnRef>
          <a:fillRef idx="1">
            <a:schemeClr val="lt1"/>
          </a:fillRef>
          <a:effectRef idx="0">
            <a:schemeClr val="accent6"/>
          </a:effectRef>
          <a:fontRef idx="minor">
            <a:schemeClr val="dk1"/>
          </a:fontRef>
        </dgm:style>
      </dgm:prSet>
      <dgm:spPr/>
      <dgm:t>
        <a:bodyPr/>
        <a:lstStyle/>
        <a:p>
          <a:r>
            <a:rPr lang="en-US"/>
            <a:t>Ownership</a:t>
          </a:r>
        </a:p>
      </dgm:t>
    </dgm:pt>
    <dgm:pt modelId="{741FD50D-3953-4FC8-B5A7-C955AD187B9C}" type="parTrans" cxnId="{5C041023-6BB5-42C6-8BB6-0D6B1563BA37}">
      <dgm:prSet/>
      <dgm:spPr/>
      <dgm:t>
        <a:bodyPr/>
        <a:lstStyle/>
        <a:p>
          <a:endParaRPr lang="en-US"/>
        </a:p>
      </dgm:t>
    </dgm:pt>
    <dgm:pt modelId="{0AB119DC-E30B-4C71-A5C3-ACEB53B028D5}" type="sibTrans" cxnId="{5C041023-6BB5-42C6-8BB6-0D6B1563BA37}">
      <dgm:prSet/>
      <dgm:spPr/>
      <dgm:t>
        <a:bodyPr/>
        <a:lstStyle/>
        <a:p>
          <a:endParaRPr lang="en-US"/>
        </a:p>
      </dgm:t>
    </dgm:pt>
    <dgm:pt modelId="{D3215F3E-CA0C-495B-AF6C-B5D3E643AB08}">
      <dgm:prSet phldrT="[Text]">
        <dgm:style>
          <a:lnRef idx="2">
            <a:schemeClr val="accent6"/>
          </a:lnRef>
          <a:fillRef idx="1">
            <a:schemeClr val="lt1"/>
          </a:fillRef>
          <a:effectRef idx="0">
            <a:schemeClr val="accent6"/>
          </a:effectRef>
          <a:fontRef idx="minor">
            <a:schemeClr val="dk1"/>
          </a:fontRef>
        </dgm:style>
      </dgm:prSet>
      <dgm:spPr/>
      <dgm:t>
        <a:bodyPr/>
        <a:lstStyle/>
        <a:p>
          <a:r>
            <a:rPr lang="en-US"/>
            <a:t>Terms</a:t>
          </a:r>
        </a:p>
      </dgm:t>
    </dgm:pt>
    <dgm:pt modelId="{CB864823-CA9A-405A-944A-FD0A8CE4DF60}" type="parTrans" cxnId="{B366EF46-1E41-4470-BC6D-E972F93A1DA4}">
      <dgm:prSet/>
      <dgm:spPr/>
      <dgm:t>
        <a:bodyPr/>
        <a:lstStyle/>
        <a:p>
          <a:endParaRPr lang="en-US"/>
        </a:p>
      </dgm:t>
    </dgm:pt>
    <dgm:pt modelId="{5B772310-00E3-4238-A2B6-0D79F8617992}" type="sibTrans" cxnId="{B366EF46-1E41-4470-BC6D-E972F93A1DA4}">
      <dgm:prSet/>
      <dgm:spPr/>
      <dgm:t>
        <a:bodyPr/>
        <a:lstStyle/>
        <a:p>
          <a:endParaRPr lang="en-US"/>
        </a:p>
      </dgm:t>
    </dgm:pt>
    <dgm:pt modelId="{01945074-8BDE-4E12-9D1A-72532A706419}">
      <dgm:prSet phldrT="[Text]">
        <dgm:style>
          <a:lnRef idx="2">
            <a:schemeClr val="accent6"/>
          </a:lnRef>
          <a:fillRef idx="1">
            <a:schemeClr val="lt1"/>
          </a:fillRef>
          <a:effectRef idx="0">
            <a:schemeClr val="accent6"/>
          </a:effectRef>
          <a:fontRef idx="minor">
            <a:schemeClr val="dk1"/>
          </a:fontRef>
        </dgm:style>
      </dgm:prSet>
      <dgm:spPr/>
      <dgm:t>
        <a:bodyPr/>
        <a:lstStyle/>
        <a:p>
          <a:r>
            <a:rPr lang="en-US"/>
            <a:t>Standards</a:t>
          </a:r>
        </a:p>
      </dgm:t>
    </dgm:pt>
    <dgm:pt modelId="{241DBA89-71F7-4897-BB11-CA8317B451A9}" type="parTrans" cxnId="{EEB6A073-9514-4587-9697-6003BB52572D}">
      <dgm:prSet/>
      <dgm:spPr/>
      <dgm:t>
        <a:bodyPr/>
        <a:lstStyle/>
        <a:p>
          <a:endParaRPr lang="en-US"/>
        </a:p>
      </dgm:t>
    </dgm:pt>
    <dgm:pt modelId="{4946A70C-2839-4CFF-A12D-9987F294C492}" type="sibTrans" cxnId="{EEB6A073-9514-4587-9697-6003BB52572D}">
      <dgm:prSet/>
      <dgm:spPr/>
      <dgm:t>
        <a:bodyPr/>
        <a:lstStyle/>
        <a:p>
          <a:endParaRPr lang="en-US"/>
        </a:p>
      </dgm:t>
    </dgm:pt>
    <dgm:pt modelId="{BD8D4506-E274-45FA-A27D-B67781094E43}">
      <dgm:prSet phldrT="[Text]">
        <dgm:style>
          <a:lnRef idx="2">
            <a:schemeClr val="accent6"/>
          </a:lnRef>
          <a:fillRef idx="1">
            <a:schemeClr val="lt1"/>
          </a:fillRef>
          <a:effectRef idx="0">
            <a:schemeClr val="accent6"/>
          </a:effectRef>
          <a:fontRef idx="minor">
            <a:schemeClr val="dk1"/>
          </a:fontRef>
        </dgm:style>
      </dgm:prSet>
      <dgm:spPr/>
      <dgm:t>
        <a:bodyPr/>
        <a:lstStyle/>
        <a:p>
          <a:r>
            <a:rPr lang="en-US"/>
            <a:t>Thresholds</a:t>
          </a:r>
        </a:p>
      </dgm:t>
    </dgm:pt>
    <dgm:pt modelId="{53FE0367-7FC1-491E-BA94-67A1090DA523}" type="parTrans" cxnId="{E93FFBD6-79F4-49E1-AF82-351E000EDC23}">
      <dgm:prSet/>
      <dgm:spPr/>
      <dgm:t>
        <a:bodyPr/>
        <a:lstStyle/>
        <a:p>
          <a:endParaRPr lang="en-US"/>
        </a:p>
      </dgm:t>
    </dgm:pt>
    <dgm:pt modelId="{F160AA68-FA40-4BF7-AF91-D6327B5F1C98}" type="sibTrans" cxnId="{E93FFBD6-79F4-49E1-AF82-351E000EDC23}">
      <dgm:prSet/>
      <dgm:spPr/>
      <dgm:t>
        <a:bodyPr/>
        <a:lstStyle/>
        <a:p>
          <a:endParaRPr lang="en-US"/>
        </a:p>
      </dgm:t>
    </dgm:pt>
    <dgm:pt modelId="{CD06216A-2545-4F88-8EAA-73304E730F0A}">
      <dgm:prSet phldrT="[Text]">
        <dgm:style>
          <a:lnRef idx="2">
            <a:schemeClr val="accent6"/>
          </a:lnRef>
          <a:fillRef idx="1">
            <a:schemeClr val="lt1"/>
          </a:fillRef>
          <a:effectRef idx="0">
            <a:schemeClr val="accent6"/>
          </a:effectRef>
          <a:fontRef idx="minor">
            <a:schemeClr val="dk1"/>
          </a:fontRef>
        </dgm:style>
      </dgm:prSet>
      <dgm:spPr/>
      <dgm:t>
        <a:bodyPr/>
        <a:lstStyle/>
        <a:p>
          <a:r>
            <a:rPr lang="en-US"/>
            <a:t>Terms</a:t>
          </a:r>
        </a:p>
      </dgm:t>
    </dgm:pt>
    <dgm:pt modelId="{F016D453-A6DD-4165-BBF9-3EF77E40AED9}" type="parTrans" cxnId="{BEBA4277-B844-4B43-B3DA-D909CA0CEE6E}">
      <dgm:prSet/>
      <dgm:spPr/>
      <dgm:t>
        <a:bodyPr/>
        <a:lstStyle/>
        <a:p>
          <a:endParaRPr lang="en-US"/>
        </a:p>
      </dgm:t>
    </dgm:pt>
    <dgm:pt modelId="{DE53562A-4BB6-4267-B4C6-BAFAEE99D08E}" type="sibTrans" cxnId="{BEBA4277-B844-4B43-B3DA-D909CA0CEE6E}">
      <dgm:prSet/>
      <dgm:spPr/>
      <dgm:t>
        <a:bodyPr/>
        <a:lstStyle/>
        <a:p>
          <a:endParaRPr lang="en-US"/>
        </a:p>
      </dgm:t>
    </dgm:pt>
    <dgm:pt modelId="{95A9E3F6-5EA5-4D0D-9C98-F7C91F1DE932}">
      <dgm:prSet phldrT="[Text]">
        <dgm:style>
          <a:lnRef idx="2">
            <a:schemeClr val="accent6"/>
          </a:lnRef>
          <a:fillRef idx="1">
            <a:schemeClr val="lt1"/>
          </a:fillRef>
          <a:effectRef idx="0">
            <a:schemeClr val="accent6"/>
          </a:effectRef>
          <a:fontRef idx="minor">
            <a:schemeClr val="dk1"/>
          </a:fontRef>
        </dgm:style>
      </dgm:prSet>
      <dgm:spPr/>
      <dgm:t>
        <a:bodyPr/>
        <a:lstStyle/>
        <a:p>
          <a:r>
            <a:rPr lang="en-US"/>
            <a:t>Standards</a:t>
          </a:r>
        </a:p>
      </dgm:t>
    </dgm:pt>
    <dgm:pt modelId="{9D8D8D59-706F-4E19-9242-A6C821A46330}" type="parTrans" cxnId="{F45BB1DF-A2C6-42AC-92A6-72DA42CE99E2}">
      <dgm:prSet/>
      <dgm:spPr/>
      <dgm:t>
        <a:bodyPr/>
        <a:lstStyle/>
        <a:p>
          <a:endParaRPr lang="en-US"/>
        </a:p>
      </dgm:t>
    </dgm:pt>
    <dgm:pt modelId="{FA2F7C66-412C-4C28-9315-00A54DA8FB02}" type="sibTrans" cxnId="{F45BB1DF-A2C6-42AC-92A6-72DA42CE99E2}">
      <dgm:prSet/>
      <dgm:spPr/>
      <dgm:t>
        <a:bodyPr/>
        <a:lstStyle/>
        <a:p>
          <a:endParaRPr lang="en-US"/>
        </a:p>
      </dgm:t>
    </dgm:pt>
    <dgm:pt modelId="{DD9A32D6-3A1C-40B9-8533-E53F4E7404F7}">
      <dgm:prSet phldrT="[Text]">
        <dgm:style>
          <a:lnRef idx="2">
            <a:schemeClr val="accent2"/>
          </a:lnRef>
          <a:fillRef idx="1">
            <a:schemeClr val="lt1"/>
          </a:fillRef>
          <a:effectRef idx="0">
            <a:schemeClr val="accent2"/>
          </a:effectRef>
          <a:fontRef idx="minor">
            <a:schemeClr val="dk1"/>
          </a:fontRef>
        </dgm:style>
      </dgm:prSet>
      <dgm:spPr>
        <a:solidFill>
          <a:srgbClr val="FF0000"/>
        </a:solidFill>
      </dgm:spPr>
      <dgm:t>
        <a:bodyPr/>
        <a:lstStyle/>
        <a:p>
          <a:r>
            <a:rPr lang="en-US"/>
            <a:t>High - Deductions</a:t>
          </a:r>
        </a:p>
      </dgm:t>
    </dgm:pt>
    <dgm:pt modelId="{FCDB5946-F89C-4AF3-8668-F34E75389066}" type="parTrans" cxnId="{F1640CD7-9EB1-4232-A949-50AC11F65799}">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AF61784F-0A65-4F25-B5C7-5D5932E41F08}" type="sibTrans" cxnId="{F1640CD7-9EB1-4232-A949-50AC11F65799}">
      <dgm:prSet/>
      <dgm:spPr/>
      <dgm:t>
        <a:bodyPr/>
        <a:lstStyle/>
        <a:p>
          <a:endParaRPr lang="en-US"/>
        </a:p>
      </dgm:t>
    </dgm:pt>
    <dgm:pt modelId="{502E039B-2341-4CE0-9858-DB2E05CB8708}">
      <dgm:prSet phldrT="[Text]">
        <dgm:style>
          <a:lnRef idx="2">
            <a:schemeClr val="accent2"/>
          </a:lnRef>
          <a:fillRef idx="1">
            <a:schemeClr val="lt1"/>
          </a:fillRef>
          <a:effectRef idx="0">
            <a:schemeClr val="accent2"/>
          </a:effectRef>
          <a:fontRef idx="minor">
            <a:schemeClr val="dk1"/>
          </a:fontRef>
        </dgm:style>
      </dgm:prSet>
      <dgm:spPr>
        <a:solidFill>
          <a:srgbClr val="FF0000"/>
        </a:solidFill>
      </dgm:spPr>
      <dgm:t>
        <a:bodyPr/>
        <a:lstStyle/>
        <a:p>
          <a:r>
            <a:rPr lang="en-US"/>
            <a:t>High - Repair</a:t>
          </a:r>
        </a:p>
      </dgm:t>
    </dgm:pt>
    <dgm:pt modelId="{0796C562-7B15-4DC9-91C3-EE7DD156E04C}" type="parTrans" cxnId="{FE9CA49B-9210-4BDF-BC07-EA378AC23BCA}">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C1D8147B-647C-4C2D-A86D-DBEA6F5D3E70}" type="sibTrans" cxnId="{FE9CA49B-9210-4BDF-BC07-EA378AC23BCA}">
      <dgm:prSet/>
      <dgm:spPr/>
      <dgm:t>
        <a:bodyPr/>
        <a:lstStyle/>
        <a:p>
          <a:endParaRPr lang="en-US"/>
        </a:p>
      </dgm:t>
    </dgm:pt>
    <dgm:pt modelId="{B7DA79A8-4168-47F9-BC50-DE3ECAC2F7BA}">
      <dgm:prSet phldrT="[Text]">
        <dgm:style>
          <a:lnRef idx="2">
            <a:schemeClr val="accent2"/>
          </a:lnRef>
          <a:fillRef idx="1">
            <a:schemeClr val="lt1"/>
          </a:fillRef>
          <a:effectRef idx="0">
            <a:schemeClr val="accent2"/>
          </a:effectRef>
          <a:fontRef idx="minor">
            <a:schemeClr val="dk1"/>
          </a:fontRef>
        </dgm:style>
      </dgm:prSet>
      <dgm:spPr>
        <a:solidFill>
          <a:srgbClr val="FFFF00"/>
        </a:solidFill>
      </dgm:spPr>
      <dgm:t>
        <a:bodyPr/>
        <a:lstStyle/>
        <a:p>
          <a:r>
            <a:rPr lang="en-US"/>
            <a:t>Medium -Deductions</a:t>
          </a:r>
        </a:p>
      </dgm:t>
    </dgm:pt>
    <dgm:pt modelId="{CACE0FA0-AD5C-4691-A96C-9BAD7FD2858D}" type="parTrans" cxnId="{1D284630-B2E0-4382-851B-86CB7221E9F4}">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63E9E6F0-D665-4946-BD4E-FEA6FACF7421}" type="sibTrans" cxnId="{1D284630-B2E0-4382-851B-86CB7221E9F4}">
      <dgm:prSet/>
      <dgm:spPr/>
      <dgm:t>
        <a:bodyPr/>
        <a:lstStyle/>
        <a:p>
          <a:endParaRPr lang="en-US"/>
        </a:p>
      </dgm:t>
    </dgm:pt>
    <dgm:pt modelId="{7BC04EE6-3F87-4FEC-9DDD-E70C474C57C3}">
      <dgm:prSet phldrT="[Text]">
        <dgm:style>
          <a:lnRef idx="2">
            <a:schemeClr val="accent2"/>
          </a:lnRef>
          <a:fillRef idx="1">
            <a:schemeClr val="lt1"/>
          </a:fillRef>
          <a:effectRef idx="0">
            <a:schemeClr val="accent2"/>
          </a:effectRef>
          <a:fontRef idx="minor">
            <a:schemeClr val="dk1"/>
          </a:fontRef>
        </dgm:style>
      </dgm:prSet>
      <dgm:spPr>
        <a:solidFill>
          <a:srgbClr val="FFFF00"/>
        </a:solidFill>
      </dgm:spPr>
      <dgm:t>
        <a:bodyPr/>
        <a:lstStyle/>
        <a:p>
          <a:r>
            <a:rPr lang="en-US"/>
            <a:t>Medium - Replace</a:t>
          </a:r>
        </a:p>
      </dgm:t>
    </dgm:pt>
    <dgm:pt modelId="{CAB56581-55F3-48D5-A9D1-F901044A0A1F}" type="parTrans" cxnId="{0EDD8D7F-EABC-48C6-9E88-3F088DA99E43}">
      <dgm:prSet/>
      <dgm:spPr/>
      <dgm:t>
        <a:bodyPr/>
        <a:lstStyle/>
        <a:p>
          <a:endParaRPr lang="en-US"/>
        </a:p>
      </dgm:t>
    </dgm:pt>
    <dgm:pt modelId="{A7BA0041-395D-4686-81F9-3A1BC2ADC057}" type="sibTrans" cxnId="{0EDD8D7F-EABC-48C6-9E88-3F088DA99E43}">
      <dgm:prSet/>
      <dgm:spPr/>
      <dgm:t>
        <a:bodyPr/>
        <a:lstStyle/>
        <a:p>
          <a:endParaRPr lang="en-US"/>
        </a:p>
      </dgm:t>
    </dgm:pt>
    <dgm:pt modelId="{0A583A8A-E187-4393-A517-70F353C11C93}">
      <dgm:prSet phldrT="[Text]">
        <dgm:style>
          <a:lnRef idx="2">
            <a:schemeClr val="accent2"/>
          </a:lnRef>
          <a:fillRef idx="1">
            <a:schemeClr val="lt1"/>
          </a:fillRef>
          <a:effectRef idx="0">
            <a:schemeClr val="accent2"/>
          </a:effectRef>
          <a:fontRef idx="minor">
            <a:schemeClr val="dk1"/>
          </a:fontRef>
        </dgm:style>
      </dgm:prSet>
      <dgm:spPr>
        <a:solidFill>
          <a:srgbClr val="FFFF00"/>
        </a:solidFill>
      </dgm:spPr>
      <dgm:t>
        <a:bodyPr/>
        <a:lstStyle/>
        <a:p>
          <a:r>
            <a:rPr lang="en-US"/>
            <a:t>Medium - Deductions</a:t>
          </a:r>
        </a:p>
      </dgm:t>
    </dgm:pt>
    <dgm:pt modelId="{A09D0F6B-0941-4BCA-B5A9-E5F90351ABEC}" type="parTrans" cxnId="{B7133B07-9E94-4EE2-834F-CC46A45A306A}">
      <dgm:prSet/>
      <dgm:spPr/>
      <dgm:t>
        <a:bodyPr/>
        <a:lstStyle/>
        <a:p>
          <a:endParaRPr lang="en-US"/>
        </a:p>
      </dgm:t>
    </dgm:pt>
    <dgm:pt modelId="{2F60D934-97F7-4568-911E-E72EB9200A17}" type="sibTrans" cxnId="{B7133B07-9E94-4EE2-834F-CC46A45A306A}">
      <dgm:prSet/>
      <dgm:spPr/>
      <dgm:t>
        <a:bodyPr/>
        <a:lstStyle/>
        <a:p>
          <a:endParaRPr lang="en-US"/>
        </a:p>
      </dgm:t>
    </dgm:pt>
    <dgm:pt modelId="{9301E62A-8A33-45D4-A08F-AC14FD353960}">
      <dgm:prSet phldrT="[Text]">
        <dgm:style>
          <a:lnRef idx="2">
            <a:schemeClr val="accent3"/>
          </a:lnRef>
          <a:fillRef idx="1">
            <a:schemeClr val="lt1"/>
          </a:fillRef>
          <a:effectRef idx="0">
            <a:schemeClr val="accent3"/>
          </a:effectRef>
          <a:fontRef idx="minor">
            <a:schemeClr val="dk1"/>
          </a:fontRef>
        </dgm:style>
      </dgm:prSet>
      <dgm:spPr/>
      <dgm:t>
        <a:bodyPr/>
        <a:lstStyle/>
        <a:p>
          <a:r>
            <a:rPr lang="en-US"/>
            <a:t>Major</a:t>
          </a:r>
        </a:p>
      </dgm:t>
    </dgm:pt>
    <dgm:pt modelId="{B0344F78-9A1D-4A20-8CEC-A73255DC426C}" type="parTrans" cxnId="{9AFC9C14-5F60-40AC-BC4E-A07AF61133EE}">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94974E13-E895-4DF4-8B54-33402402856D}" type="sibTrans" cxnId="{9AFC9C14-5F60-40AC-BC4E-A07AF61133EE}">
      <dgm:prSet/>
      <dgm:spPr/>
      <dgm:t>
        <a:bodyPr/>
        <a:lstStyle/>
        <a:p>
          <a:endParaRPr lang="en-US"/>
        </a:p>
      </dgm:t>
    </dgm:pt>
    <dgm:pt modelId="{DC5B0490-33C2-447D-B481-BCE8726F8C67}">
      <dgm:prSet phldrT="[Text]">
        <dgm:style>
          <a:lnRef idx="2">
            <a:schemeClr val="accent3"/>
          </a:lnRef>
          <a:fillRef idx="1">
            <a:schemeClr val="lt1"/>
          </a:fillRef>
          <a:effectRef idx="0">
            <a:schemeClr val="accent3"/>
          </a:effectRef>
          <a:fontRef idx="minor">
            <a:schemeClr val="dk1"/>
          </a:fontRef>
        </dgm:style>
      </dgm:prSet>
      <dgm:spPr/>
      <dgm:t>
        <a:bodyPr/>
        <a:lstStyle/>
        <a:p>
          <a:r>
            <a:rPr lang="en-US"/>
            <a:t>Important</a:t>
          </a:r>
        </a:p>
      </dgm:t>
    </dgm:pt>
    <dgm:pt modelId="{19D17BC3-DE47-46E8-B9FC-28EE0309AE1E}" type="parTrans" cxnId="{1B62D7A0-849B-4A82-A291-D140A82F24B0}">
      <dgm:prSet>
        <dgm:style>
          <a:lnRef idx="1">
            <a:schemeClr val="dk1"/>
          </a:lnRef>
          <a:fillRef idx="0">
            <a:schemeClr val="dk1"/>
          </a:fillRef>
          <a:effectRef idx="0">
            <a:schemeClr val="dk1"/>
          </a:effectRef>
          <a:fontRef idx="minor">
            <a:schemeClr val="tx1"/>
          </a:fontRef>
        </dgm:style>
      </dgm:prSet>
      <dgm:spPr/>
      <dgm:t>
        <a:bodyPr/>
        <a:lstStyle/>
        <a:p>
          <a:endParaRPr lang="en-US"/>
        </a:p>
      </dgm:t>
    </dgm:pt>
    <dgm:pt modelId="{D21CFF0C-8E42-4EDC-8F68-1EF8310E7F2E}" type="sibTrans" cxnId="{1B62D7A0-849B-4A82-A291-D140A82F24B0}">
      <dgm:prSet/>
      <dgm:spPr/>
      <dgm:t>
        <a:bodyPr/>
        <a:lstStyle/>
        <a:p>
          <a:endParaRPr lang="en-US"/>
        </a:p>
      </dgm:t>
    </dgm:pt>
    <dgm:pt modelId="{28046F73-54AA-4C6A-9E54-A7D52AACE52C}">
      <dgm:prSet phldrT="[Text]">
        <dgm:style>
          <a:lnRef idx="2">
            <a:schemeClr val="accent2"/>
          </a:lnRef>
          <a:fillRef idx="1">
            <a:schemeClr val="lt1"/>
          </a:fillRef>
          <a:effectRef idx="0">
            <a:schemeClr val="accent2"/>
          </a:effectRef>
          <a:fontRef idx="minor">
            <a:schemeClr val="dk1"/>
          </a:fontRef>
        </dgm:style>
      </dgm:prSet>
      <dgm:spPr>
        <a:solidFill>
          <a:srgbClr val="FFFF00"/>
        </a:solidFill>
      </dgm:spPr>
      <dgm:t>
        <a:bodyPr/>
        <a:lstStyle/>
        <a:p>
          <a:r>
            <a:rPr lang="en-US"/>
            <a:t>Medium - Repair</a:t>
          </a:r>
        </a:p>
      </dgm:t>
    </dgm:pt>
    <dgm:pt modelId="{DFB52FFE-AB54-4146-98BF-4F950EEBF055}" type="sibTrans" cxnId="{E5071817-11BC-4A99-9A62-A6D1F4B138E5}">
      <dgm:prSet/>
      <dgm:spPr/>
      <dgm:t>
        <a:bodyPr/>
        <a:lstStyle/>
        <a:p>
          <a:endParaRPr lang="en-US"/>
        </a:p>
      </dgm:t>
    </dgm:pt>
    <dgm:pt modelId="{2CCF186E-DFA8-4EAE-8A5A-B48CCB7C7B5F}" type="parTrans" cxnId="{E5071817-11BC-4A99-9A62-A6D1F4B138E5}">
      <dgm:prSet/>
      <dgm:spPr/>
      <dgm:t>
        <a:bodyPr/>
        <a:lstStyle/>
        <a:p>
          <a:endParaRPr lang="en-US"/>
        </a:p>
      </dgm:t>
    </dgm:pt>
    <dgm:pt modelId="{32D9E3BE-2C09-46ED-8CC5-C0644F1FC105}" type="pres">
      <dgm:prSet presAssocID="{79E8E4E4-C675-4920-BFB4-24DA2BDCBE63}" presName="diagram" presStyleCnt="0">
        <dgm:presLayoutVars>
          <dgm:chPref val="1"/>
          <dgm:dir/>
          <dgm:animOne val="branch"/>
          <dgm:animLvl val="lvl"/>
          <dgm:resizeHandles val="exact"/>
        </dgm:presLayoutVars>
      </dgm:prSet>
      <dgm:spPr/>
      <dgm:t>
        <a:bodyPr/>
        <a:lstStyle/>
        <a:p>
          <a:endParaRPr lang="en-US"/>
        </a:p>
      </dgm:t>
    </dgm:pt>
    <dgm:pt modelId="{FEB30220-49CF-4CB6-ACCC-B1C650F4EB16}" type="pres">
      <dgm:prSet presAssocID="{F197D403-7955-44B1-BD6F-33BC1637FE03}" presName="root1" presStyleCnt="0"/>
      <dgm:spPr/>
    </dgm:pt>
    <dgm:pt modelId="{9BA9F55D-52FF-4A25-890F-C3FE226830D0}" type="pres">
      <dgm:prSet presAssocID="{F197D403-7955-44B1-BD6F-33BC1637FE03}" presName="LevelOneTextNode" presStyleLbl="node0" presStyleIdx="0" presStyleCnt="1">
        <dgm:presLayoutVars>
          <dgm:chPref val="3"/>
        </dgm:presLayoutVars>
      </dgm:prSet>
      <dgm:spPr/>
      <dgm:t>
        <a:bodyPr/>
        <a:lstStyle/>
        <a:p>
          <a:endParaRPr lang="en-US"/>
        </a:p>
      </dgm:t>
    </dgm:pt>
    <dgm:pt modelId="{F87F221F-F78F-492F-BDD7-B936F7836852}" type="pres">
      <dgm:prSet presAssocID="{F197D403-7955-44B1-BD6F-33BC1637FE03}" presName="level2hierChild" presStyleCnt="0"/>
      <dgm:spPr/>
    </dgm:pt>
    <dgm:pt modelId="{EB3094ED-1AAC-4C13-A2A2-9AA90DD7894D}" type="pres">
      <dgm:prSet presAssocID="{B9BEA9C7-D948-426C-AC8D-F9FDD412972E}" presName="conn2-1" presStyleLbl="parChTrans1D2" presStyleIdx="0" presStyleCnt="4"/>
      <dgm:spPr/>
      <dgm:t>
        <a:bodyPr/>
        <a:lstStyle/>
        <a:p>
          <a:endParaRPr lang="en-US"/>
        </a:p>
      </dgm:t>
    </dgm:pt>
    <dgm:pt modelId="{DE1CD99C-6FFA-43D7-9386-BB0AE993CF57}" type="pres">
      <dgm:prSet presAssocID="{B9BEA9C7-D948-426C-AC8D-F9FDD412972E}" presName="connTx" presStyleLbl="parChTrans1D2" presStyleIdx="0" presStyleCnt="4"/>
      <dgm:spPr/>
      <dgm:t>
        <a:bodyPr/>
        <a:lstStyle/>
        <a:p>
          <a:endParaRPr lang="en-US"/>
        </a:p>
      </dgm:t>
    </dgm:pt>
    <dgm:pt modelId="{ED7AFB72-915F-4FBB-A765-7AEE1A8CCE24}" type="pres">
      <dgm:prSet presAssocID="{61BC2C8A-9A11-4072-B568-8CB18DEC7F8F}" presName="root2" presStyleCnt="0"/>
      <dgm:spPr/>
    </dgm:pt>
    <dgm:pt modelId="{DC12A834-B6DA-499D-815C-26025D4CB66B}" type="pres">
      <dgm:prSet presAssocID="{61BC2C8A-9A11-4072-B568-8CB18DEC7F8F}" presName="LevelTwoTextNode" presStyleLbl="node2" presStyleIdx="0" presStyleCnt="4">
        <dgm:presLayoutVars>
          <dgm:chPref val="3"/>
        </dgm:presLayoutVars>
      </dgm:prSet>
      <dgm:spPr/>
      <dgm:t>
        <a:bodyPr/>
        <a:lstStyle/>
        <a:p>
          <a:endParaRPr lang="en-US"/>
        </a:p>
      </dgm:t>
    </dgm:pt>
    <dgm:pt modelId="{F8B5465E-2C5D-4092-A636-28A449BAE32F}" type="pres">
      <dgm:prSet presAssocID="{61BC2C8A-9A11-4072-B568-8CB18DEC7F8F}" presName="level3hierChild" presStyleCnt="0"/>
      <dgm:spPr/>
    </dgm:pt>
    <dgm:pt modelId="{33E1FDD1-1650-4FF9-93C8-18DD2C1244FA}" type="pres">
      <dgm:prSet presAssocID="{D150FC47-6525-48FF-A76E-D4922610D20D}" presName="conn2-1" presStyleLbl="parChTrans1D3" presStyleIdx="0" presStyleCnt="5"/>
      <dgm:spPr/>
      <dgm:t>
        <a:bodyPr/>
        <a:lstStyle/>
        <a:p>
          <a:endParaRPr lang="en-US"/>
        </a:p>
      </dgm:t>
    </dgm:pt>
    <dgm:pt modelId="{BEAC6AD5-4FC7-4281-B952-10CE492086ED}" type="pres">
      <dgm:prSet presAssocID="{D150FC47-6525-48FF-A76E-D4922610D20D}" presName="connTx" presStyleLbl="parChTrans1D3" presStyleIdx="0" presStyleCnt="5"/>
      <dgm:spPr/>
      <dgm:t>
        <a:bodyPr/>
        <a:lstStyle/>
        <a:p>
          <a:endParaRPr lang="en-US"/>
        </a:p>
      </dgm:t>
    </dgm:pt>
    <dgm:pt modelId="{89A604D1-C2FB-4922-87F7-590E25503E5D}" type="pres">
      <dgm:prSet presAssocID="{E1C0B63F-4A3F-4EC8-B210-F7839B2FECE2}" presName="root2" presStyleCnt="0"/>
      <dgm:spPr/>
    </dgm:pt>
    <dgm:pt modelId="{8445E1AA-924E-4159-94AF-384BE46B79F7}" type="pres">
      <dgm:prSet presAssocID="{E1C0B63F-4A3F-4EC8-B210-F7839B2FECE2}" presName="LevelTwoTextNode" presStyleLbl="node3" presStyleIdx="0" presStyleCnt="5">
        <dgm:presLayoutVars>
          <dgm:chPref val="3"/>
        </dgm:presLayoutVars>
      </dgm:prSet>
      <dgm:spPr/>
      <dgm:t>
        <a:bodyPr/>
        <a:lstStyle/>
        <a:p>
          <a:endParaRPr lang="en-US"/>
        </a:p>
      </dgm:t>
    </dgm:pt>
    <dgm:pt modelId="{A1FC29FA-A2D7-42D4-B3E2-6570E0187D38}" type="pres">
      <dgm:prSet presAssocID="{E1C0B63F-4A3F-4EC8-B210-F7839B2FECE2}" presName="level3hierChild" presStyleCnt="0"/>
      <dgm:spPr/>
    </dgm:pt>
    <dgm:pt modelId="{610165B9-6E7C-4D4A-818E-A3B5A8A1FD26}" type="pres">
      <dgm:prSet presAssocID="{8EF98D60-2523-44AD-8D40-DCB6D36AE829}" presName="conn2-1" presStyleLbl="parChTrans1D4" presStyleIdx="0" presStyleCnt="29"/>
      <dgm:spPr/>
      <dgm:t>
        <a:bodyPr/>
        <a:lstStyle/>
        <a:p>
          <a:endParaRPr lang="en-US"/>
        </a:p>
      </dgm:t>
    </dgm:pt>
    <dgm:pt modelId="{E3C2E795-9E42-42B1-A47B-D9925E35E89F}" type="pres">
      <dgm:prSet presAssocID="{8EF98D60-2523-44AD-8D40-DCB6D36AE829}" presName="connTx" presStyleLbl="parChTrans1D4" presStyleIdx="0" presStyleCnt="29"/>
      <dgm:spPr/>
      <dgm:t>
        <a:bodyPr/>
        <a:lstStyle/>
        <a:p>
          <a:endParaRPr lang="en-US"/>
        </a:p>
      </dgm:t>
    </dgm:pt>
    <dgm:pt modelId="{F44E15A5-723A-4DC4-8B91-76AF02348A10}" type="pres">
      <dgm:prSet presAssocID="{7D3ACB0A-5200-4E01-86F6-E431CB857895}" presName="root2" presStyleCnt="0"/>
      <dgm:spPr/>
    </dgm:pt>
    <dgm:pt modelId="{2C1E9871-A0E3-4E41-952F-285820A1E795}" type="pres">
      <dgm:prSet presAssocID="{7D3ACB0A-5200-4E01-86F6-E431CB857895}" presName="LevelTwoTextNode" presStyleLbl="node4" presStyleIdx="0" presStyleCnt="29">
        <dgm:presLayoutVars>
          <dgm:chPref val="3"/>
        </dgm:presLayoutVars>
      </dgm:prSet>
      <dgm:spPr/>
      <dgm:t>
        <a:bodyPr/>
        <a:lstStyle/>
        <a:p>
          <a:endParaRPr lang="en-US"/>
        </a:p>
      </dgm:t>
    </dgm:pt>
    <dgm:pt modelId="{9B0EF370-5B93-4571-B2BA-530EFBE7C6FA}" type="pres">
      <dgm:prSet presAssocID="{7D3ACB0A-5200-4E01-86F6-E431CB857895}" presName="level3hierChild" presStyleCnt="0"/>
      <dgm:spPr/>
    </dgm:pt>
    <dgm:pt modelId="{ED43762F-43F7-41A7-87A3-CD26F8C6C4C1}" type="pres">
      <dgm:prSet presAssocID="{A7D5C2C3-5C17-44AB-B388-191B53D92BD4}" presName="conn2-1" presStyleLbl="parChTrans1D4" presStyleIdx="1" presStyleCnt="29"/>
      <dgm:spPr/>
      <dgm:t>
        <a:bodyPr/>
        <a:lstStyle/>
        <a:p>
          <a:endParaRPr lang="en-US"/>
        </a:p>
      </dgm:t>
    </dgm:pt>
    <dgm:pt modelId="{2B3696E3-80D3-4860-B2A3-13E2F49D39A9}" type="pres">
      <dgm:prSet presAssocID="{A7D5C2C3-5C17-44AB-B388-191B53D92BD4}" presName="connTx" presStyleLbl="parChTrans1D4" presStyleIdx="1" presStyleCnt="29"/>
      <dgm:spPr/>
      <dgm:t>
        <a:bodyPr/>
        <a:lstStyle/>
        <a:p>
          <a:endParaRPr lang="en-US"/>
        </a:p>
      </dgm:t>
    </dgm:pt>
    <dgm:pt modelId="{5B4D6697-309C-4869-8398-B74D5D90ABCB}" type="pres">
      <dgm:prSet presAssocID="{9135DB42-F7C1-4A90-AFE6-A31C2F78FA74}" presName="root2" presStyleCnt="0"/>
      <dgm:spPr/>
    </dgm:pt>
    <dgm:pt modelId="{ECB8AE7F-7C28-4287-8547-411BB379760A}" type="pres">
      <dgm:prSet presAssocID="{9135DB42-F7C1-4A90-AFE6-A31C2F78FA74}" presName="LevelTwoTextNode" presStyleLbl="node4" presStyleIdx="1" presStyleCnt="29">
        <dgm:presLayoutVars>
          <dgm:chPref val="3"/>
        </dgm:presLayoutVars>
      </dgm:prSet>
      <dgm:spPr/>
      <dgm:t>
        <a:bodyPr/>
        <a:lstStyle/>
        <a:p>
          <a:endParaRPr lang="en-US"/>
        </a:p>
      </dgm:t>
    </dgm:pt>
    <dgm:pt modelId="{438F6BFF-CB50-491B-843B-7652DEEA383C}" type="pres">
      <dgm:prSet presAssocID="{9135DB42-F7C1-4A90-AFE6-A31C2F78FA74}" presName="level3hierChild" presStyleCnt="0"/>
      <dgm:spPr/>
    </dgm:pt>
    <dgm:pt modelId="{312CDBF5-FED4-4D00-8BD6-2EBD6C00981F}" type="pres">
      <dgm:prSet presAssocID="{9D8D8D59-706F-4E19-9242-A6C821A46330}" presName="conn2-1" presStyleLbl="parChTrans1D4" presStyleIdx="2" presStyleCnt="29"/>
      <dgm:spPr/>
      <dgm:t>
        <a:bodyPr/>
        <a:lstStyle/>
        <a:p>
          <a:endParaRPr lang="en-US"/>
        </a:p>
      </dgm:t>
    </dgm:pt>
    <dgm:pt modelId="{DE5EACE5-67E8-4B98-B9CE-9235E9565AE1}" type="pres">
      <dgm:prSet presAssocID="{9D8D8D59-706F-4E19-9242-A6C821A46330}" presName="connTx" presStyleLbl="parChTrans1D4" presStyleIdx="2" presStyleCnt="29"/>
      <dgm:spPr/>
      <dgm:t>
        <a:bodyPr/>
        <a:lstStyle/>
        <a:p>
          <a:endParaRPr lang="en-US"/>
        </a:p>
      </dgm:t>
    </dgm:pt>
    <dgm:pt modelId="{63420029-00F8-4873-A8CB-7968FF517FDA}" type="pres">
      <dgm:prSet presAssocID="{95A9E3F6-5EA5-4D0D-9C98-F7C91F1DE932}" presName="root2" presStyleCnt="0"/>
      <dgm:spPr/>
    </dgm:pt>
    <dgm:pt modelId="{071CF0F3-3853-4358-A4AF-4C85C6249376}" type="pres">
      <dgm:prSet presAssocID="{95A9E3F6-5EA5-4D0D-9C98-F7C91F1DE932}" presName="LevelTwoTextNode" presStyleLbl="node4" presStyleIdx="2" presStyleCnt="29">
        <dgm:presLayoutVars>
          <dgm:chPref val="3"/>
        </dgm:presLayoutVars>
      </dgm:prSet>
      <dgm:spPr/>
      <dgm:t>
        <a:bodyPr/>
        <a:lstStyle/>
        <a:p>
          <a:endParaRPr lang="en-US"/>
        </a:p>
      </dgm:t>
    </dgm:pt>
    <dgm:pt modelId="{93114D99-A014-4FFB-A918-D26D349D0ED9}" type="pres">
      <dgm:prSet presAssocID="{95A9E3F6-5EA5-4D0D-9C98-F7C91F1DE932}" presName="level3hierChild" presStyleCnt="0"/>
      <dgm:spPr/>
    </dgm:pt>
    <dgm:pt modelId="{EA44E66D-702E-4503-9B0F-F57A526D1649}" type="pres">
      <dgm:prSet presAssocID="{6364268D-CB2B-42D8-9944-4023890DA0B5}" presName="conn2-1" presStyleLbl="parChTrans1D4" presStyleIdx="3" presStyleCnt="29"/>
      <dgm:spPr/>
      <dgm:t>
        <a:bodyPr/>
        <a:lstStyle/>
        <a:p>
          <a:endParaRPr lang="en-US"/>
        </a:p>
      </dgm:t>
    </dgm:pt>
    <dgm:pt modelId="{D3068335-F9B7-4164-A791-4E286A2AD3FB}" type="pres">
      <dgm:prSet presAssocID="{6364268D-CB2B-42D8-9944-4023890DA0B5}" presName="connTx" presStyleLbl="parChTrans1D4" presStyleIdx="3" presStyleCnt="29"/>
      <dgm:spPr/>
      <dgm:t>
        <a:bodyPr/>
        <a:lstStyle/>
        <a:p>
          <a:endParaRPr lang="en-US"/>
        </a:p>
      </dgm:t>
    </dgm:pt>
    <dgm:pt modelId="{695167D0-A0ED-4FFC-97E8-D55469710A2D}" type="pres">
      <dgm:prSet presAssocID="{856B431B-3763-4ACE-AC3E-B834922EF9A3}" presName="root2" presStyleCnt="0"/>
      <dgm:spPr/>
    </dgm:pt>
    <dgm:pt modelId="{A5D6EED7-FF47-46A2-966D-7A99646C1587}" type="pres">
      <dgm:prSet presAssocID="{856B431B-3763-4ACE-AC3E-B834922EF9A3}" presName="LevelTwoTextNode" presStyleLbl="node4" presStyleIdx="3" presStyleCnt="29">
        <dgm:presLayoutVars>
          <dgm:chPref val="3"/>
        </dgm:presLayoutVars>
      </dgm:prSet>
      <dgm:spPr/>
      <dgm:t>
        <a:bodyPr/>
        <a:lstStyle/>
        <a:p>
          <a:endParaRPr lang="en-US"/>
        </a:p>
      </dgm:t>
    </dgm:pt>
    <dgm:pt modelId="{6EEB6726-370F-40F2-A379-89EBC4F0AE6B}" type="pres">
      <dgm:prSet presAssocID="{856B431B-3763-4ACE-AC3E-B834922EF9A3}" presName="level3hierChild" presStyleCnt="0"/>
      <dgm:spPr/>
    </dgm:pt>
    <dgm:pt modelId="{03C6D883-65BE-4887-A1AB-B50EFF842EBC}" type="pres">
      <dgm:prSet presAssocID="{44DAB497-14C7-496D-AAF3-CF3DC2C9BA77}" presName="conn2-1" presStyleLbl="parChTrans1D4" presStyleIdx="4" presStyleCnt="29"/>
      <dgm:spPr/>
      <dgm:t>
        <a:bodyPr/>
        <a:lstStyle/>
        <a:p>
          <a:endParaRPr lang="en-US"/>
        </a:p>
      </dgm:t>
    </dgm:pt>
    <dgm:pt modelId="{9BD84277-2451-4BFF-AC1A-923244943469}" type="pres">
      <dgm:prSet presAssocID="{44DAB497-14C7-496D-AAF3-CF3DC2C9BA77}" presName="connTx" presStyleLbl="parChTrans1D4" presStyleIdx="4" presStyleCnt="29"/>
      <dgm:spPr/>
      <dgm:t>
        <a:bodyPr/>
        <a:lstStyle/>
        <a:p>
          <a:endParaRPr lang="en-US"/>
        </a:p>
      </dgm:t>
    </dgm:pt>
    <dgm:pt modelId="{9136BE35-EEF0-482C-859E-29E441504606}" type="pres">
      <dgm:prSet presAssocID="{1953F410-8066-4EDA-8090-5EFA2D382761}" presName="root2" presStyleCnt="0"/>
      <dgm:spPr/>
    </dgm:pt>
    <dgm:pt modelId="{50D85ED2-2593-4DA5-88D3-0DBED6E1093B}" type="pres">
      <dgm:prSet presAssocID="{1953F410-8066-4EDA-8090-5EFA2D382761}" presName="LevelTwoTextNode" presStyleLbl="node4" presStyleIdx="4" presStyleCnt="29">
        <dgm:presLayoutVars>
          <dgm:chPref val="3"/>
        </dgm:presLayoutVars>
      </dgm:prSet>
      <dgm:spPr/>
      <dgm:t>
        <a:bodyPr/>
        <a:lstStyle/>
        <a:p>
          <a:endParaRPr lang="en-US"/>
        </a:p>
      </dgm:t>
    </dgm:pt>
    <dgm:pt modelId="{6EB6193C-9DE4-4A16-86D8-2EF8DFF956C1}" type="pres">
      <dgm:prSet presAssocID="{1953F410-8066-4EDA-8090-5EFA2D382761}" presName="level3hierChild" presStyleCnt="0"/>
      <dgm:spPr/>
    </dgm:pt>
    <dgm:pt modelId="{A4D3CAEA-9F74-4C96-BED1-93C65A6CEBCF}" type="pres">
      <dgm:prSet presAssocID="{2D5241D9-E151-4233-A7B2-DDCA1BAB91F7}" presName="conn2-1" presStyleLbl="parChTrans1D4" presStyleIdx="5" presStyleCnt="29"/>
      <dgm:spPr/>
      <dgm:t>
        <a:bodyPr/>
        <a:lstStyle/>
        <a:p>
          <a:endParaRPr lang="en-US"/>
        </a:p>
      </dgm:t>
    </dgm:pt>
    <dgm:pt modelId="{BDA65428-9891-43E3-9F36-BF7E03F1E3A6}" type="pres">
      <dgm:prSet presAssocID="{2D5241D9-E151-4233-A7B2-DDCA1BAB91F7}" presName="connTx" presStyleLbl="parChTrans1D4" presStyleIdx="5" presStyleCnt="29"/>
      <dgm:spPr/>
      <dgm:t>
        <a:bodyPr/>
        <a:lstStyle/>
        <a:p>
          <a:endParaRPr lang="en-US"/>
        </a:p>
      </dgm:t>
    </dgm:pt>
    <dgm:pt modelId="{BD68D024-24B9-43CD-8379-53C3AB341394}" type="pres">
      <dgm:prSet presAssocID="{DA7964E5-2361-4C35-9A20-9E82738DAFBF}" presName="root2" presStyleCnt="0"/>
      <dgm:spPr/>
    </dgm:pt>
    <dgm:pt modelId="{EB70163C-6E58-4CE5-A095-2F81F849BFAD}" type="pres">
      <dgm:prSet presAssocID="{DA7964E5-2361-4C35-9A20-9E82738DAFBF}" presName="LevelTwoTextNode" presStyleLbl="node4" presStyleIdx="5" presStyleCnt="29">
        <dgm:presLayoutVars>
          <dgm:chPref val="3"/>
        </dgm:presLayoutVars>
      </dgm:prSet>
      <dgm:spPr/>
      <dgm:t>
        <a:bodyPr/>
        <a:lstStyle/>
        <a:p>
          <a:endParaRPr lang="en-US"/>
        </a:p>
      </dgm:t>
    </dgm:pt>
    <dgm:pt modelId="{460FC875-7A48-4961-BD13-9C2FAC7F4415}" type="pres">
      <dgm:prSet presAssocID="{DA7964E5-2361-4C35-9A20-9E82738DAFBF}" presName="level3hierChild" presStyleCnt="0"/>
      <dgm:spPr/>
    </dgm:pt>
    <dgm:pt modelId="{7B93CC11-6B0B-477E-9728-C31E763870B6}" type="pres">
      <dgm:prSet presAssocID="{35CE56EA-113C-4B0F-8789-F3AE3F0EEFE5}" presName="conn2-1" presStyleLbl="parChTrans1D3" presStyleIdx="1" presStyleCnt="5"/>
      <dgm:spPr/>
      <dgm:t>
        <a:bodyPr/>
        <a:lstStyle/>
        <a:p>
          <a:endParaRPr lang="en-US"/>
        </a:p>
      </dgm:t>
    </dgm:pt>
    <dgm:pt modelId="{AFFBABD5-7F24-4F8C-A387-D9A52CB3E846}" type="pres">
      <dgm:prSet presAssocID="{35CE56EA-113C-4B0F-8789-F3AE3F0EEFE5}" presName="connTx" presStyleLbl="parChTrans1D3" presStyleIdx="1" presStyleCnt="5"/>
      <dgm:spPr/>
      <dgm:t>
        <a:bodyPr/>
        <a:lstStyle/>
        <a:p>
          <a:endParaRPr lang="en-US"/>
        </a:p>
      </dgm:t>
    </dgm:pt>
    <dgm:pt modelId="{F6235418-020D-4656-A830-EFA7FE5E22F8}" type="pres">
      <dgm:prSet presAssocID="{E4712C24-9285-473B-83C7-5A329605262B}" presName="root2" presStyleCnt="0"/>
      <dgm:spPr/>
    </dgm:pt>
    <dgm:pt modelId="{930155FB-F139-4169-AB64-D8D79CC2F44C}" type="pres">
      <dgm:prSet presAssocID="{E4712C24-9285-473B-83C7-5A329605262B}" presName="LevelTwoTextNode" presStyleLbl="node3" presStyleIdx="1" presStyleCnt="5">
        <dgm:presLayoutVars>
          <dgm:chPref val="3"/>
        </dgm:presLayoutVars>
      </dgm:prSet>
      <dgm:spPr/>
      <dgm:t>
        <a:bodyPr/>
        <a:lstStyle/>
        <a:p>
          <a:endParaRPr lang="en-US"/>
        </a:p>
      </dgm:t>
    </dgm:pt>
    <dgm:pt modelId="{C001A84F-8830-4428-8F33-B4DD9678F2F1}" type="pres">
      <dgm:prSet presAssocID="{E4712C24-9285-473B-83C7-5A329605262B}" presName="level3hierChild" presStyleCnt="0"/>
      <dgm:spPr/>
    </dgm:pt>
    <dgm:pt modelId="{C191BE5C-5AD3-4234-9F02-BD9392FA64E0}" type="pres">
      <dgm:prSet presAssocID="{870C8AC8-5267-49FD-99DD-105236136913}" presName="conn2-1" presStyleLbl="parChTrans1D4" presStyleIdx="6" presStyleCnt="29"/>
      <dgm:spPr/>
      <dgm:t>
        <a:bodyPr/>
        <a:lstStyle/>
        <a:p>
          <a:endParaRPr lang="en-US"/>
        </a:p>
      </dgm:t>
    </dgm:pt>
    <dgm:pt modelId="{168B7A1B-6F7A-42F3-ABDA-4ACFE8F221CA}" type="pres">
      <dgm:prSet presAssocID="{870C8AC8-5267-49FD-99DD-105236136913}" presName="connTx" presStyleLbl="parChTrans1D4" presStyleIdx="6" presStyleCnt="29"/>
      <dgm:spPr/>
      <dgm:t>
        <a:bodyPr/>
        <a:lstStyle/>
        <a:p>
          <a:endParaRPr lang="en-US"/>
        </a:p>
      </dgm:t>
    </dgm:pt>
    <dgm:pt modelId="{D8CE1567-E89F-4EA3-B07E-93CEC59E40D3}" type="pres">
      <dgm:prSet presAssocID="{56BAEE52-C4B0-4CFC-AC22-640DBDBB8CCC}" presName="root2" presStyleCnt="0"/>
      <dgm:spPr/>
    </dgm:pt>
    <dgm:pt modelId="{489C7727-951F-4FF1-9B1A-3178895D6E55}" type="pres">
      <dgm:prSet presAssocID="{56BAEE52-C4B0-4CFC-AC22-640DBDBB8CCC}" presName="LevelTwoTextNode" presStyleLbl="node4" presStyleIdx="6" presStyleCnt="29">
        <dgm:presLayoutVars>
          <dgm:chPref val="3"/>
        </dgm:presLayoutVars>
      </dgm:prSet>
      <dgm:spPr/>
      <dgm:t>
        <a:bodyPr/>
        <a:lstStyle/>
        <a:p>
          <a:endParaRPr lang="en-US"/>
        </a:p>
      </dgm:t>
    </dgm:pt>
    <dgm:pt modelId="{2E0146DB-E9BE-4E76-8069-4150D8A95850}" type="pres">
      <dgm:prSet presAssocID="{56BAEE52-C4B0-4CFC-AC22-640DBDBB8CCC}" presName="level3hierChild" presStyleCnt="0"/>
      <dgm:spPr/>
    </dgm:pt>
    <dgm:pt modelId="{65B6ABAB-1550-4216-A6DB-038922ABC58A}" type="pres">
      <dgm:prSet presAssocID="{FCDB5946-F89C-4AF3-8668-F34E75389066}" presName="conn2-1" presStyleLbl="parChTrans1D4" presStyleIdx="7" presStyleCnt="29"/>
      <dgm:spPr/>
      <dgm:t>
        <a:bodyPr/>
        <a:lstStyle/>
        <a:p>
          <a:endParaRPr lang="en-US"/>
        </a:p>
      </dgm:t>
    </dgm:pt>
    <dgm:pt modelId="{A7982A53-75BC-449E-BC65-9A93A195AF01}" type="pres">
      <dgm:prSet presAssocID="{FCDB5946-F89C-4AF3-8668-F34E75389066}" presName="connTx" presStyleLbl="parChTrans1D4" presStyleIdx="7" presStyleCnt="29"/>
      <dgm:spPr/>
      <dgm:t>
        <a:bodyPr/>
        <a:lstStyle/>
        <a:p>
          <a:endParaRPr lang="en-US"/>
        </a:p>
      </dgm:t>
    </dgm:pt>
    <dgm:pt modelId="{64CE0741-967F-49A6-89B9-5F62CE6A4B42}" type="pres">
      <dgm:prSet presAssocID="{DD9A32D6-3A1C-40B9-8533-E53F4E7404F7}" presName="root2" presStyleCnt="0"/>
      <dgm:spPr/>
    </dgm:pt>
    <dgm:pt modelId="{4A9A6F42-3DD9-4FEF-B42B-B32E553C2FDD}" type="pres">
      <dgm:prSet presAssocID="{DD9A32D6-3A1C-40B9-8533-E53F4E7404F7}" presName="LevelTwoTextNode" presStyleLbl="node4" presStyleIdx="7" presStyleCnt="29">
        <dgm:presLayoutVars>
          <dgm:chPref val="3"/>
        </dgm:presLayoutVars>
      </dgm:prSet>
      <dgm:spPr/>
      <dgm:t>
        <a:bodyPr/>
        <a:lstStyle/>
        <a:p>
          <a:endParaRPr lang="en-US"/>
        </a:p>
      </dgm:t>
    </dgm:pt>
    <dgm:pt modelId="{538A7C77-E8DC-404D-9D58-D20678E45581}" type="pres">
      <dgm:prSet presAssocID="{DD9A32D6-3A1C-40B9-8533-E53F4E7404F7}" presName="level3hierChild" presStyleCnt="0"/>
      <dgm:spPr/>
    </dgm:pt>
    <dgm:pt modelId="{3EDEF5B7-F3E7-47E5-B56D-965116B60886}" type="pres">
      <dgm:prSet presAssocID="{741FD50D-3953-4FC8-B5A7-C955AD187B9C}" presName="conn2-1" presStyleLbl="parChTrans1D4" presStyleIdx="8" presStyleCnt="29"/>
      <dgm:spPr/>
      <dgm:t>
        <a:bodyPr/>
        <a:lstStyle/>
        <a:p>
          <a:endParaRPr lang="en-US"/>
        </a:p>
      </dgm:t>
    </dgm:pt>
    <dgm:pt modelId="{648989A0-75B1-49F0-93B3-BD12051815D0}" type="pres">
      <dgm:prSet presAssocID="{741FD50D-3953-4FC8-B5A7-C955AD187B9C}" presName="connTx" presStyleLbl="parChTrans1D4" presStyleIdx="8" presStyleCnt="29"/>
      <dgm:spPr/>
      <dgm:t>
        <a:bodyPr/>
        <a:lstStyle/>
        <a:p>
          <a:endParaRPr lang="en-US"/>
        </a:p>
      </dgm:t>
    </dgm:pt>
    <dgm:pt modelId="{89F24C06-DC64-4CC1-90AB-CD856BA30025}" type="pres">
      <dgm:prSet presAssocID="{1E1D4233-C2A7-48BD-97BC-183FC81F2273}" presName="root2" presStyleCnt="0"/>
      <dgm:spPr/>
    </dgm:pt>
    <dgm:pt modelId="{4C4A0A5D-44DF-4056-8766-D5A9A8F83B78}" type="pres">
      <dgm:prSet presAssocID="{1E1D4233-C2A7-48BD-97BC-183FC81F2273}" presName="LevelTwoTextNode" presStyleLbl="node4" presStyleIdx="8" presStyleCnt="29">
        <dgm:presLayoutVars>
          <dgm:chPref val="3"/>
        </dgm:presLayoutVars>
      </dgm:prSet>
      <dgm:spPr/>
      <dgm:t>
        <a:bodyPr/>
        <a:lstStyle/>
        <a:p>
          <a:endParaRPr lang="en-US"/>
        </a:p>
      </dgm:t>
    </dgm:pt>
    <dgm:pt modelId="{8BEAE9F7-6C0C-4795-A9B6-AA86C03DDAA6}" type="pres">
      <dgm:prSet presAssocID="{1E1D4233-C2A7-48BD-97BC-183FC81F2273}" presName="level3hierChild" presStyleCnt="0"/>
      <dgm:spPr/>
    </dgm:pt>
    <dgm:pt modelId="{C5BF7EA9-F4F6-44AB-97D8-FAC402588DEA}" type="pres">
      <dgm:prSet presAssocID="{DF138C95-44A0-4F89-8879-3C575078E77D}" presName="conn2-1" presStyleLbl="parChTrans1D4" presStyleIdx="9" presStyleCnt="29"/>
      <dgm:spPr/>
      <dgm:t>
        <a:bodyPr/>
        <a:lstStyle/>
        <a:p>
          <a:endParaRPr lang="en-US"/>
        </a:p>
      </dgm:t>
    </dgm:pt>
    <dgm:pt modelId="{D77B46AC-8B51-4826-A07A-82F0B58A230C}" type="pres">
      <dgm:prSet presAssocID="{DF138C95-44A0-4F89-8879-3C575078E77D}" presName="connTx" presStyleLbl="parChTrans1D4" presStyleIdx="9" presStyleCnt="29"/>
      <dgm:spPr/>
      <dgm:t>
        <a:bodyPr/>
        <a:lstStyle/>
        <a:p>
          <a:endParaRPr lang="en-US"/>
        </a:p>
      </dgm:t>
    </dgm:pt>
    <dgm:pt modelId="{5463CC41-3784-4B55-A1D2-3C2968D16B4A}" type="pres">
      <dgm:prSet presAssocID="{5885CC4E-441D-4905-8162-061D248007E8}" presName="root2" presStyleCnt="0"/>
      <dgm:spPr/>
    </dgm:pt>
    <dgm:pt modelId="{B6F6709F-983A-42C9-BED1-3A1152DFF161}" type="pres">
      <dgm:prSet presAssocID="{5885CC4E-441D-4905-8162-061D248007E8}" presName="LevelTwoTextNode" presStyleLbl="node4" presStyleIdx="9" presStyleCnt="29">
        <dgm:presLayoutVars>
          <dgm:chPref val="3"/>
        </dgm:presLayoutVars>
      </dgm:prSet>
      <dgm:spPr/>
      <dgm:t>
        <a:bodyPr/>
        <a:lstStyle/>
        <a:p>
          <a:endParaRPr lang="en-US"/>
        </a:p>
      </dgm:t>
    </dgm:pt>
    <dgm:pt modelId="{C7140912-3F39-44EB-A058-AB45B7250BC0}" type="pres">
      <dgm:prSet presAssocID="{5885CC4E-441D-4905-8162-061D248007E8}" presName="level3hierChild" presStyleCnt="0"/>
      <dgm:spPr/>
    </dgm:pt>
    <dgm:pt modelId="{8D51E2AD-DC72-46A3-9EDC-F0102E82689C}" type="pres">
      <dgm:prSet presAssocID="{0796C562-7B15-4DC9-91C3-EE7DD156E04C}" presName="conn2-1" presStyleLbl="parChTrans1D4" presStyleIdx="10" presStyleCnt="29"/>
      <dgm:spPr/>
      <dgm:t>
        <a:bodyPr/>
        <a:lstStyle/>
        <a:p>
          <a:endParaRPr lang="en-US"/>
        </a:p>
      </dgm:t>
    </dgm:pt>
    <dgm:pt modelId="{B689DEE1-6225-42A9-BB92-BCDC4BBA9B76}" type="pres">
      <dgm:prSet presAssocID="{0796C562-7B15-4DC9-91C3-EE7DD156E04C}" presName="connTx" presStyleLbl="parChTrans1D4" presStyleIdx="10" presStyleCnt="29"/>
      <dgm:spPr/>
      <dgm:t>
        <a:bodyPr/>
        <a:lstStyle/>
        <a:p>
          <a:endParaRPr lang="en-US"/>
        </a:p>
      </dgm:t>
    </dgm:pt>
    <dgm:pt modelId="{4DA24159-C5CF-4814-AF51-2AC9E1A65C50}" type="pres">
      <dgm:prSet presAssocID="{502E039B-2341-4CE0-9858-DB2E05CB8708}" presName="root2" presStyleCnt="0"/>
      <dgm:spPr/>
    </dgm:pt>
    <dgm:pt modelId="{056728EF-A55C-483D-81CD-60F25A82B859}" type="pres">
      <dgm:prSet presAssocID="{502E039B-2341-4CE0-9858-DB2E05CB8708}" presName="LevelTwoTextNode" presStyleLbl="node4" presStyleIdx="10" presStyleCnt="29">
        <dgm:presLayoutVars>
          <dgm:chPref val="3"/>
        </dgm:presLayoutVars>
      </dgm:prSet>
      <dgm:spPr/>
      <dgm:t>
        <a:bodyPr/>
        <a:lstStyle/>
        <a:p>
          <a:endParaRPr lang="en-US"/>
        </a:p>
      </dgm:t>
    </dgm:pt>
    <dgm:pt modelId="{F0150199-F659-4CB4-AD90-9239033668B9}" type="pres">
      <dgm:prSet presAssocID="{502E039B-2341-4CE0-9858-DB2E05CB8708}" presName="level3hierChild" presStyleCnt="0"/>
      <dgm:spPr/>
    </dgm:pt>
    <dgm:pt modelId="{3AC03707-86FF-42A6-AC1C-903F17822466}" type="pres">
      <dgm:prSet presAssocID="{CB864823-CA9A-405A-944A-FD0A8CE4DF60}" presName="conn2-1" presStyleLbl="parChTrans1D4" presStyleIdx="11" presStyleCnt="29"/>
      <dgm:spPr/>
      <dgm:t>
        <a:bodyPr/>
        <a:lstStyle/>
        <a:p>
          <a:endParaRPr lang="en-US"/>
        </a:p>
      </dgm:t>
    </dgm:pt>
    <dgm:pt modelId="{38C82682-0420-4F31-B739-4951F67D2919}" type="pres">
      <dgm:prSet presAssocID="{CB864823-CA9A-405A-944A-FD0A8CE4DF60}" presName="connTx" presStyleLbl="parChTrans1D4" presStyleIdx="11" presStyleCnt="29"/>
      <dgm:spPr/>
      <dgm:t>
        <a:bodyPr/>
        <a:lstStyle/>
        <a:p>
          <a:endParaRPr lang="en-US"/>
        </a:p>
      </dgm:t>
    </dgm:pt>
    <dgm:pt modelId="{21E23DC9-34E7-4DED-B96A-E9BD08220385}" type="pres">
      <dgm:prSet presAssocID="{D3215F3E-CA0C-495B-AF6C-B5D3E643AB08}" presName="root2" presStyleCnt="0"/>
      <dgm:spPr/>
    </dgm:pt>
    <dgm:pt modelId="{A054D8A5-6691-43D7-80E5-5CF5E3850791}" type="pres">
      <dgm:prSet presAssocID="{D3215F3E-CA0C-495B-AF6C-B5D3E643AB08}" presName="LevelTwoTextNode" presStyleLbl="node4" presStyleIdx="11" presStyleCnt="29">
        <dgm:presLayoutVars>
          <dgm:chPref val="3"/>
        </dgm:presLayoutVars>
      </dgm:prSet>
      <dgm:spPr/>
      <dgm:t>
        <a:bodyPr/>
        <a:lstStyle/>
        <a:p>
          <a:endParaRPr lang="en-US"/>
        </a:p>
      </dgm:t>
    </dgm:pt>
    <dgm:pt modelId="{7091EF12-42A9-46AB-9F2B-D59F55037C1B}" type="pres">
      <dgm:prSet presAssocID="{D3215F3E-CA0C-495B-AF6C-B5D3E643AB08}" presName="level3hierChild" presStyleCnt="0"/>
      <dgm:spPr/>
    </dgm:pt>
    <dgm:pt modelId="{6506CF06-C12C-4352-9F42-76F66943EC5E}" type="pres">
      <dgm:prSet presAssocID="{1504C198-6E25-43AC-AA3B-E4FFAB042CB6}" presName="conn2-1" presStyleLbl="parChTrans1D4" presStyleIdx="12" presStyleCnt="29"/>
      <dgm:spPr/>
      <dgm:t>
        <a:bodyPr/>
        <a:lstStyle/>
        <a:p>
          <a:endParaRPr lang="en-US"/>
        </a:p>
      </dgm:t>
    </dgm:pt>
    <dgm:pt modelId="{BE3DFC82-9A88-4944-A400-507EF3E9BC18}" type="pres">
      <dgm:prSet presAssocID="{1504C198-6E25-43AC-AA3B-E4FFAB042CB6}" presName="connTx" presStyleLbl="parChTrans1D4" presStyleIdx="12" presStyleCnt="29"/>
      <dgm:spPr/>
      <dgm:t>
        <a:bodyPr/>
        <a:lstStyle/>
        <a:p>
          <a:endParaRPr lang="en-US"/>
        </a:p>
      </dgm:t>
    </dgm:pt>
    <dgm:pt modelId="{E6C48CB3-972E-416C-B682-AA6B90B43DB5}" type="pres">
      <dgm:prSet presAssocID="{BBB33E5B-0101-4F6A-BCBF-F16326938656}" presName="root2" presStyleCnt="0"/>
      <dgm:spPr/>
    </dgm:pt>
    <dgm:pt modelId="{3C68E335-1FBE-4BF5-B663-16EAFA360432}" type="pres">
      <dgm:prSet presAssocID="{BBB33E5B-0101-4F6A-BCBF-F16326938656}" presName="LevelTwoTextNode" presStyleLbl="node4" presStyleIdx="12" presStyleCnt="29">
        <dgm:presLayoutVars>
          <dgm:chPref val="3"/>
        </dgm:presLayoutVars>
      </dgm:prSet>
      <dgm:spPr/>
      <dgm:t>
        <a:bodyPr/>
        <a:lstStyle/>
        <a:p>
          <a:endParaRPr lang="en-US"/>
        </a:p>
      </dgm:t>
    </dgm:pt>
    <dgm:pt modelId="{9A49B604-C7AD-4D49-8E12-5359BE875B5C}" type="pres">
      <dgm:prSet presAssocID="{BBB33E5B-0101-4F6A-BCBF-F16326938656}" presName="level3hierChild" presStyleCnt="0"/>
      <dgm:spPr/>
    </dgm:pt>
    <dgm:pt modelId="{EF71F697-9ACA-459C-8A1F-6AA267FB5D74}" type="pres">
      <dgm:prSet presAssocID="{CACE0FA0-AD5C-4691-A96C-9BAD7FD2858D}" presName="conn2-1" presStyleLbl="parChTrans1D4" presStyleIdx="13" presStyleCnt="29"/>
      <dgm:spPr/>
      <dgm:t>
        <a:bodyPr/>
        <a:lstStyle/>
        <a:p>
          <a:endParaRPr lang="en-US"/>
        </a:p>
      </dgm:t>
    </dgm:pt>
    <dgm:pt modelId="{B2770FBE-A169-48BF-8C64-2721D1BE28AC}" type="pres">
      <dgm:prSet presAssocID="{CACE0FA0-AD5C-4691-A96C-9BAD7FD2858D}" presName="connTx" presStyleLbl="parChTrans1D4" presStyleIdx="13" presStyleCnt="29"/>
      <dgm:spPr/>
      <dgm:t>
        <a:bodyPr/>
        <a:lstStyle/>
        <a:p>
          <a:endParaRPr lang="en-US"/>
        </a:p>
      </dgm:t>
    </dgm:pt>
    <dgm:pt modelId="{AEE30CEF-10A2-464F-BE2E-1EA49B736511}" type="pres">
      <dgm:prSet presAssocID="{B7DA79A8-4168-47F9-BC50-DE3ECAC2F7BA}" presName="root2" presStyleCnt="0"/>
      <dgm:spPr/>
    </dgm:pt>
    <dgm:pt modelId="{820341DB-D83E-4C22-A219-95EB35FDD3B8}" type="pres">
      <dgm:prSet presAssocID="{B7DA79A8-4168-47F9-BC50-DE3ECAC2F7BA}" presName="LevelTwoTextNode" presStyleLbl="node4" presStyleIdx="13" presStyleCnt="29">
        <dgm:presLayoutVars>
          <dgm:chPref val="3"/>
        </dgm:presLayoutVars>
      </dgm:prSet>
      <dgm:spPr/>
      <dgm:t>
        <a:bodyPr/>
        <a:lstStyle/>
        <a:p>
          <a:endParaRPr lang="en-US"/>
        </a:p>
      </dgm:t>
    </dgm:pt>
    <dgm:pt modelId="{E384BCFF-A74E-4500-8DC2-911BE723FDE3}" type="pres">
      <dgm:prSet presAssocID="{B7DA79A8-4168-47F9-BC50-DE3ECAC2F7BA}" presName="level3hierChild" presStyleCnt="0"/>
      <dgm:spPr/>
    </dgm:pt>
    <dgm:pt modelId="{1FD5C97E-0668-45B7-B93D-0D5C9D7CA059}" type="pres">
      <dgm:prSet presAssocID="{4CBA450D-DD1E-49BA-8B98-368DD345F9E1}" presName="conn2-1" presStyleLbl="parChTrans1D4" presStyleIdx="14" presStyleCnt="29"/>
      <dgm:spPr/>
      <dgm:t>
        <a:bodyPr/>
        <a:lstStyle/>
        <a:p>
          <a:endParaRPr lang="en-US"/>
        </a:p>
      </dgm:t>
    </dgm:pt>
    <dgm:pt modelId="{4878D394-90E0-4855-8D02-C817C7B2FA02}" type="pres">
      <dgm:prSet presAssocID="{4CBA450D-DD1E-49BA-8B98-368DD345F9E1}" presName="connTx" presStyleLbl="parChTrans1D4" presStyleIdx="14" presStyleCnt="29"/>
      <dgm:spPr/>
      <dgm:t>
        <a:bodyPr/>
        <a:lstStyle/>
        <a:p>
          <a:endParaRPr lang="en-US"/>
        </a:p>
      </dgm:t>
    </dgm:pt>
    <dgm:pt modelId="{DB57DC4F-A49E-4E6D-8356-9196753D6585}" type="pres">
      <dgm:prSet presAssocID="{047ADF52-CFB2-47E7-B0CD-9C95AA74429E}" presName="root2" presStyleCnt="0"/>
      <dgm:spPr/>
    </dgm:pt>
    <dgm:pt modelId="{BA178411-6B0C-4614-A769-2852EFE3AFEE}" type="pres">
      <dgm:prSet presAssocID="{047ADF52-CFB2-47E7-B0CD-9C95AA74429E}" presName="LevelTwoTextNode" presStyleLbl="node4" presStyleIdx="14" presStyleCnt="29">
        <dgm:presLayoutVars>
          <dgm:chPref val="3"/>
        </dgm:presLayoutVars>
      </dgm:prSet>
      <dgm:spPr/>
      <dgm:t>
        <a:bodyPr/>
        <a:lstStyle/>
        <a:p>
          <a:endParaRPr lang="en-US"/>
        </a:p>
      </dgm:t>
    </dgm:pt>
    <dgm:pt modelId="{792212D4-706F-44BF-91B5-21F214AE4054}" type="pres">
      <dgm:prSet presAssocID="{047ADF52-CFB2-47E7-B0CD-9C95AA74429E}" presName="level3hierChild" presStyleCnt="0"/>
      <dgm:spPr/>
    </dgm:pt>
    <dgm:pt modelId="{CE054EA8-8C3D-42DC-A0DC-E0CC0DDC038F}" type="pres">
      <dgm:prSet presAssocID="{B07B2124-D362-408B-BD97-0A3DD6B0B63C}" presName="conn2-1" presStyleLbl="parChTrans1D3" presStyleIdx="2" presStyleCnt="5"/>
      <dgm:spPr/>
      <dgm:t>
        <a:bodyPr/>
        <a:lstStyle/>
        <a:p>
          <a:endParaRPr lang="en-US"/>
        </a:p>
      </dgm:t>
    </dgm:pt>
    <dgm:pt modelId="{A3EF70D3-A2EF-476E-8FCC-A64C1C8377CB}" type="pres">
      <dgm:prSet presAssocID="{B07B2124-D362-408B-BD97-0A3DD6B0B63C}" presName="connTx" presStyleLbl="parChTrans1D3" presStyleIdx="2" presStyleCnt="5"/>
      <dgm:spPr/>
      <dgm:t>
        <a:bodyPr/>
        <a:lstStyle/>
        <a:p>
          <a:endParaRPr lang="en-US"/>
        </a:p>
      </dgm:t>
    </dgm:pt>
    <dgm:pt modelId="{24D7BC60-4380-4AA5-A969-068F816C2554}" type="pres">
      <dgm:prSet presAssocID="{A1262C4C-AEFA-48D7-A018-46347234E2AB}" presName="root2" presStyleCnt="0"/>
      <dgm:spPr/>
    </dgm:pt>
    <dgm:pt modelId="{16095890-FB03-4FAE-9DEE-8CC3AF86B4DA}" type="pres">
      <dgm:prSet presAssocID="{A1262C4C-AEFA-48D7-A018-46347234E2AB}" presName="LevelTwoTextNode" presStyleLbl="node3" presStyleIdx="2" presStyleCnt="5">
        <dgm:presLayoutVars>
          <dgm:chPref val="3"/>
        </dgm:presLayoutVars>
      </dgm:prSet>
      <dgm:spPr/>
      <dgm:t>
        <a:bodyPr/>
        <a:lstStyle/>
        <a:p>
          <a:endParaRPr lang="en-US"/>
        </a:p>
      </dgm:t>
    </dgm:pt>
    <dgm:pt modelId="{6DC8DB5B-91B6-41E5-9453-A6FFF4FC5DB8}" type="pres">
      <dgm:prSet presAssocID="{A1262C4C-AEFA-48D7-A018-46347234E2AB}" presName="level3hierChild" presStyleCnt="0"/>
      <dgm:spPr/>
    </dgm:pt>
    <dgm:pt modelId="{A7CE9535-D65E-4F68-8708-2F03B93945C9}" type="pres">
      <dgm:prSet presAssocID="{B0344F78-9A1D-4A20-8CEC-A73255DC426C}" presName="conn2-1" presStyleLbl="parChTrans1D2" presStyleIdx="1" presStyleCnt="4"/>
      <dgm:spPr/>
      <dgm:t>
        <a:bodyPr/>
        <a:lstStyle/>
        <a:p>
          <a:endParaRPr lang="en-US"/>
        </a:p>
      </dgm:t>
    </dgm:pt>
    <dgm:pt modelId="{FC45D4F0-A71C-43DC-ADF0-3D391FAE94FC}" type="pres">
      <dgm:prSet presAssocID="{B0344F78-9A1D-4A20-8CEC-A73255DC426C}" presName="connTx" presStyleLbl="parChTrans1D2" presStyleIdx="1" presStyleCnt="4"/>
      <dgm:spPr/>
      <dgm:t>
        <a:bodyPr/>
        <a:lstStyle/>
        <a:p>
          <a:endParaRPr lang="en-US"/>
        </a:p>
      </dgm:t>
    </dgm:pt>
    <dgm:pt modelId="{D8F5780D-8FDC-4A72-A07F-2A22E6133517}" type="pres">
      <dgm:prSet presAssocID="{9301E62A-8A33-45D4-A08F-AC14FD353960}" presName="root2" presStyleCnt="0"/>
      <dgm:spPr/>
    </dgm:pt>
    <dgm:pt modelId="{13D5F17E-8084-4B72-9F04-56A089E701D3}" type="pres">
      <dgm:prSet presAssocID="{9301E62A-8A33-45D4-A08F-AC14FD353960}" presName="LevelTwoTextNode" presStyleLbl="node2" presStyleIdx="1" presStyleCnt="4">
        <dgm:presLayoutVars>
          <dgm:chPref val="3"/>
        </dgm:presLayoutVars>
      </dgm:prSet>
      <dgm:spPr/>
      <dgm:t>
        <a:bodyPr/>
        <a:lstStyle/>
        <a:p>
          <a:endParaRPr lang="en-US"/>
        </a:p>
      </dgm:t>
    </dgm:pt>
    <dgm:pt modelId="{31455791-ACE3-431A-A12C-AE9B4D3D5024}" type="pres">
      <dgm:prSet presAssocID="{9301E62A-8A33-45D4-A08F-AC14FD353960}" presName="level3hierChild" presStyleCnt="0"/>
      <dgm:spPr/>
    </dgm:pt>
    <dgm:pt modelId="{683BB978-3339-4A8E-BF65-CBB9D1AC00DB}" type="pres">
      <dgm:prSet presAssocID="{19D17BC3-DE47-46E8-B9FC-28EE0309AE1E}" presName="conn2-1" presStyleLbl="parChTrans1D2" presStyleIdx="2" presStyleCnt="4"/>
      <dgm:spPr/>
      <dgm:t>
        <a:bodyPr/>
        <a:lstStyle/>
        <a:p>
          <a:endParaRPr lang="en-US"/>
        </a:p>
      </dgm:t>
    </dgm:pt>
    <dgm:pt modelId="{4BDAB2D3-F499-4B23-B8B6-A7D2FCB4AF64}" type="pres">
      <dgm:prSet presAssocID="{19D17BC3-DE47-46E8-B9FC-28EE0309AE1E}" presName="connTx" presStyleLbl="parChTrans1D2" presStyleIdx="2" presStyleCnt="4"/>
      <dgm:spPr/>
      <dgm:t>
        <a:bodyPr/>
        <a:lstStyle/>
        <a:p>
          <a:endParaRPr lang="en-US"/>
        </a:p>
      </dgm:t>
    </dgm:pt>
    <dgm:pt modelId="{87CEA590-1766-424C-8C5C-FA0C2C57593F}" type="pres">
      <dgm:prSet presAssocID="{DC5B0490-33C2-447D-B481-BCE8726F8C67}" presName="root2" presStyleCnt="0"/>
      <dgm:spPr/>
    </dgm:pt>
    <dgm:pt modelId="{0DA1F643-BCDA-4B38-B56E-C665C53777A5}" type="pres">
      <dgm:prSet presAssocID="{DC5B0490-33C2-447D-B481-BCE8726F8C67}" presName="LevelTwoTextNode" presStyleLbl="node2" presStyleIdx="2" presStyleCnt="4">
        <dgm:presLayoutVars>
          <dgm:chPref val="3"/>
        </dgm:presLayoutVars>
      </dgm:prSet>
      <dgm:spPr/>
      <dgm:t>
        <a:bodyPr/>
        <a:lstStyle/>
        <a:p>
          <a:endParaRPr lang="en-US"/>
        </a:p>
      </dgm:t>
    </dgm:pt>
    <dgm:pt modelId="{1405956A-0736-4708-99F7-E139325CDA2D}" type="pres">
      <dgm:prSet presAssocID="{DC5B0490-33C2-447D-B481-BCE8726F8C67}" presName="level3hierChild" presStyleCnt="0"/>
      <dgm:spPr/>
    </dgm:pt>
    <dgm:pt modelId="{92589571-4DD4-46CA-B43E-7CA68092AF45}" type="pres">
      <dgm:prSet presAssocID="{C0DCF726-FFD3-459D-811E-56252EDA2888}" presName="conn2-1" presStyleLbl="parChTrans1D2" presStyleIdx="3" presStyleCnt="4"/>
      <dgm:spPr/>
      <dgm:t>
        <a:bodyPr/>
        <a:lstStyle/>
        <a:p>
          <a:endParaRPr lang="en-US"/>
        </a:p>
      </dgm:t>
    </dgm:pt>
    <dgm:pt modelId="{BDF9E111-8D23-44B6-840F-12982A995D4B}" type="pres">
      <dgm:prSet presAssocID="{C0DCF726-FFD3-459D-811E-56252EDA2888}" presName="connTx" presStyleLbl="parChTrans1D2" presStyleIdx="3" presStyleCnt="4"/>
      <dgm:spPr/>
      <dgm:t>
        <a:bodyPr/>
        <a:lstStyle/>
        <a:p>
          <a:endParaRPr lang="en-US"/>
        </a:p>
      </dgm:t>
    </dgm:pt>
    <dgm:pt modelId="{E0808858-53CC-4098-8FF6-80B7F08C5B25}" type="pres">
      <dgm:prSet presAssocID="{257CBB86-C053-4002-B088-C2CE2CB2130E}" presName="root2" presStyleCnt="0"/>
      <dgm:spPr/>
    </dgm:pt>
    <dgm:pt modelId="{A1D7EFE2-794D-476C-9736-0CA292CDF581}" type="pres">
      <dgm:prSet presAssocID="{257CBB86-C053-4002-B088-C2CE2CB2130E}" presName="LevelTwoTextNode" presStyleLbl="node2" presStyleIdx="3" presStyleCnt="4">
        <dgm:presLayoutVars>
          <dgm:chPref val="3"/>
        </dgm:presLayoutVars>
      </dgm:prSet>
      <dgm:spPr/>
      <dgm:t>
        <a:bodyPr/>
        <a:lstStyle/>
        <a:p>
          <a:endParaRPr lang="en-US"/>
        </a:p>
      </dgm:t>
    </dgm:pt>
    <dgm:pt modelId="{DACECC54-EFFE-4002-88BE-60AC23A075C2}" type="pres">
      <dgm:prSet presAssocID="{257CBB86-C053-4002-B088-C2CE2CB2130E}" presName="level3hierChild" presStyleCnt="0"/>
      <dgm:spPr/>
    </dgm:pt>
    <dgm:pt modelId="{5096245B-7BAE-443C-BF77-9C53649E1A91}" type="pres">
      <dgm:prSet presAssocID="{41F54619-B334-4666-BC49-6BDA2B26C33B}" presName="conn2-1" presStyleLbl="parChTrans1D3" presStyleIdx="3" presStyleCnt="5"/>
      <dgm:spPr/>
      <dgm:t>
        <a:bodyPr/>
        <a:lstStyle/>
        <a:p>
          <a:endParaRPr lang="en-US"/>
        </a:p>
      </dgm:t>
    </dgm:pt>
    <dgm:pt modelId="{839B0A27-C8D3-4BD8-A8EB-DAA0ED9BA6C2}" type="pres">
      <dgm:prSet presAssocID="{41F54619-B334-4666-BC49-6BDA2B26C33B}" presName="connTx" presStyleLbl="parChTrans1D3" presStyleIdx="3" presStyleCnt="5"/>
      <dgm:spPr/>
      <dgm:t>
        <a:bodyPr/>
        <a:lstStyle/>
        <a:p>
          <a:endParaRPr lang="en-US"/>
        </a:p>
      </dgm:t>
    </dgm:pt>
    <dgm:pt modelId="{303E9E90-67F5-4719-AC4D-788E67EBD915}" type="pres">
      <dgm:prSet presAssocID="{637EB484-7E84-4442-9EBA-923FDDFCB8DC}" presName="root2" presStyleCnt="0"/>
      <dgm:spPr/>
    </dgm:pt>
    <dgm:pt modelId="{9118FA30-9ADC-49FA-9913-989D9EE59441}" type="pres">
      <dgm:prSet presAssocID="{637EB484-7E84-4442-9EBA-923FDDFCB8DC}" presName="LevelTwoTextNode" presStyleLbl="node3" presStyleIdx="3" presStyleCnt="5">
        <dgm:presLayoutVars>
          <dgm:chPref val="3"/>
        </dgm:presLayoutVars>
      </dgm:prSet>
      <dgm:spPr/>
      <dgm:t>
        <a:bodyPr/>
        <a:lstStyle/>
        <a:p>
          <a:endParaRPr lang="en-US"/>
        </a:p>
      </dgm:t>
    </dgm:pt>
    <dgm:pt modelId="{1DA120DF-6350-46C8-917D-62CECCB55B4A}" type="pres">
      <dgm:prSet presAssocID="{637EB484-7E84-4442-9EBA-923FDDFCB8DC}" presName="level3hierChild" presStyleCnt="0"/>
      <dgm:spPr/>
    </dgm:pt>
    <dgm:pt modelId="{06DCCD70-4989-477A-A598-73336B5D167D}" type="pres">
      <dgm:prSet presAssocID="{4D0AD6E8-2286-43F6-8FBB-0BD623CD643D}" presName="conn2-1" presStyleLbl="parChTrans1D4" presStyleIdx="15" presStyleCnt="29"/>
      <dgm:spPr/>
      <dgm:t>
        <a:bodyPr/>
        <a:lstStyle/>
        <a:p>
          <a:endParaRPr lang="en-US"/>
        </a:p>
      </dgm:t>
    </dgm:pt>
    <dgm:pt modelId="{064859DA-2AFA-4F2C-92D6-5FB2A2DA1585}" type="pres">
      <dgm:prSet presAssocID="{4D0AD6E8-2286-43F6-8FBB-0BD623CD643D}" presName="connTx" presStyleLbl="parChTrans1D4" presStyleIdx="15" presStyleCnt="29"/>
      <dgm:spPr/>
      <dgm:t>
        <a:bodyPr/>
        <a:lstStyle/>
        <a:p>
          <a:endParaRPr lang="en-US"/>
        </a:p>
      </dgm:t>
    </dgm:pt>
    <dgm:pt modelId="{15D2AA8E-8294-42E2-8E7C-F156D6053350}" type="pres">
      <dgm:prSet presAssocID="{E5CF2587-25FD-468D-8F34-9171FA20A895}" presName="root2" presStyleCnt="0"/>
      <dgm:spPr/>
    </dgm:pt>
    <dgm:pt modelId="{27CE4C14-F6FD-4D9A-B121-0B5BCBA0A1ED}" type="pres">
      <dgm:prSet presAssocID="{E5CF2587-25FD-468D-8F34-9171FA20A895}" presName="LevelTwoTextNode" presStyleLbl="node4" presStyleIdx="15" presStyleCnt="29">
        <dgm:presLayoutVars>
          <dgm:chPref val="3"/>
        </dgm:presLayoutVars>
      </dgm:prSet>
      <dgm:spPr/>
      <dgm:t>
        <a:bodyPr/>
        <a:lstStyle/>
        <a:p>
          <a:endParaRPr lang="en-US"/>
        </a:p>
      </dgm:t>
    </dgm:pt>
    <dgm:pt modelId="{D6E66503-5414-4509-98CD-325C2D5F242E}" type="pres">
      <dgm:prSet presAssocID="{E5CF2587-25FD-468D-8F34-9171FA20A895}" presName="level3hierChild" presStyleCnt="0"/>
      <dgm:spPr/>
    </dgm:pt>
    <dgm:pt modelId="{A8C176F8-573A-4A0C-998E-9A4C6A820B86}" type="pres">
      <dgm:prSet presAssocID="{CAB56581-55F3-48D5-A9D1-F901044A0A1F}" presName="conn2-1" presStyleLbl="parChTrans1D4" presStyleIdx="16" presStyleCnt="29"/>
      <dgm:spPr/>
      <dgm:t>
        <a:bodyPr/>
        <a:lstStyle/>
        <a:p>
          <a:endParaRPr lang="en-US"/>
        </a:p>
      </dgm:t>
    </dgm:pt>
    <dgm:pt modelId="{A9F2EAC5-5009-462F-A636-1F8D32BAD699}" type="pres">
      <dgm:prSet presAssocID="{CAB56581-55F3-48D5-A9D1-F901044A0A1F}" presName="connTx" presStyleLbl="parChTrans1D4" presStyleIdx="16" presStyleCnt="29"/>
      <dgm:spPr/>
      <dgm:t>
        <a:bodyPr/>
        <a:lstStyle/>
        <a:p>
          <a:endParaRPr lang="en-US"/>
        </a:p>
      </dgm:t>
    </dgm:pt>
    <dgm:pt modelId="{93651002-5B6D-4CCF-9753-CF2CDC49B04B}" type="pres">
      <dgm:prSet presAssocID="{7BC04EE6-3F87-4FEC-9DDD-E70C474C57C3}" presName="root2" presStyleCnt="0"/>
      <dgm:spPr/>
    </dgm:pt>
    <dgm:pt modelId="{A17D1525-5911-4415-9BD3-3B57153489D0}" type="pres">
      <dgm:prSet presAssocID="{7BC04EE6-3F87-4FEC-9DDD-E70C474C57C3}" presName="LevelTwoTextNode" presStyleLbl="node4" presStyleIdx="16" presStyleCnt="29">
        <dgm:presLayoutVars>
          <dgm:chPref val="3"/>
        </dgm:presLayoutVars>
      </dgm:prSet>
      <dgm:spPr/>
      <dgm:t>
        <a:bodyPr/>
        <a:lstStyle/>
        <a:p>
          <a:endParaRPr lang="en-US"/>
        </a:p>
      </dgm:t>
    </dgm:pt>
    <dgm:pt modelId="{F12E9C05-7394-4C19-9AE9-CEF3834AFE77}" type="pres">
      <dgm:prSet presAssocID="{7BC04EE6-3F87-4FEC-9DDD-E70C474C57C3}" presName="level3hierChild" presStyleCnt="0"/>
      <dgm:spPr/>
    </dgm:pt>
    <dgm:pt modelId="{9AFE0321-4A8C-4753-828A-C22907F1A5BD}" type="pres">
      <dgm:prSet presAssocID="{241DBA89-71F7-4897-BB11-CA8317B451A9}" presName="conn2-1" presStyleLbl="parChTrans1D4" presStyleIdx="17" presStyleCnt="29"/>
      <dgm:spPr/>
      <dgm:t>
        <a:bodyPr/>
        <a:lstStyle/>
        <a:p>
          <a:endParaRPr lang="en-US"/>
        </a:p>
      </dgm:t>
    </dgm:pt>
    <dgm:pt modelId="{E0983C16-03EF-4951-A639-8044B0C8D366}" type="pres">
      <dgm:prSet presAssocID="{241DBA89-71F7-4897-BB11-CA8317B451A9}" presName="connTx" presStyleLbl="parChTrans1D4" presStyleIdx="17" presStyleCnt="29"/>
      <dgm:spPr/>
      <dgm:t>
        <a:bodyPr/>
        <a:lstStyle/>
        <a:p>
          <a:endParaRPr lang="en-US"/>
        </a:p>
      </dgm:t>
    </dgm:pt>
    <dgm:pt modelId="{C7D958E0-3DEF-4BC7-8946-00D594C55146}" type="pres">
      <dgm:prSet presAssocID="{01945074-8BDE-4E12-9D1A-72532A706419}" presName="root2" presStyleCnt="0"/>
      <dgm:spPr/>
    </dgm:pt>
    <dgm:pt modelId="{32D2B3BA-CC5B-41C7-BA8D-D0DEEAE28D36}" type="pres">
      <dgm:prSet presAssocID="{01945074-8BDE-4E12-9D1A-72532A706419}" presName="LevelTwoTextNode" presStyleLbl="node4" presStyleIdx="17" presStyleCnt="29">
        <dgm:presLayoutVars>
          <dgm:chPref val="3"/>
        </dgm:presLayoutVars>
      </dgm:prSet>
      <dgm:spPr/>
      <dgm:t>
        <a:bodyPr/>
        <a:lstStyle/>
        <a:p>
          <a:endParaRPr lang="en-US"/>
        </a:p>
      </dgm:t>
    </dgm:pt>
    <dgm:pt modelId="{EF3A04FC-848C-492A-BDED-253AF842EAC8}" type="pres">
      <dgm:prSet presAssocID="{01945074-8BDE-4E12-9D1A-72532A706419}" presName="level3hierChild" presStyleCnt="0"/>
      <dgm:spPr/>
    </dgm:pt>
    <dgm:pt modelId="{9D607204-B294-4AA4-ABFC-780BDB528217}" type="pres">
      <dgm:prSet presAssocID="{6DC37D20-7256-43A0-A6E3-91B03340EA7F}" presName="conn2-1" presStyleLbl="parChTrans1D4" presStyleIdx="18" presStyleCnt="29"/>
      <dgm:spPr/>
      <dgm:t>
        <a:bodyPr/>
        <a:lstStyle/>
        <a:p>
          <a:endParaRPr lang="en-US"/>
        </a:p>
      </dgm:t>
    </dgm:pt>
    <dgm:pt modelId="{C46EB028-777E-4209-A72D-BAD9C9F6D3B6}" type="pres">
      <dgm:prSet presAssocID="{6DC37D20-7256-43A0-A6E3-91B03340EA7F}" presName="connTx" presStyleLbl="parChTrans1D4" presStyleIdx="18" presStyleCnt="29"/>
      <dgm:spPr/>
      <dgm:t>
        <a:bodyPr/>
        <a:lstStyle/>
        <a:p>
          <a:endParaRPr lang="en-US"/>
        </a:p>
      </dgm:t>
    </dgm:pt>
    <dgm:pt modelId="{88FB82A0-FE12-4DA5-AF44-5AA423C17336}" type="pres">
      <dgm:prSet presAssocID="{BD84F896-3391-4A7E-BCE1-86E7301F1728}" presName="root2" presStyleCnt="0"/>
      <dgm:spPr/>
    </dgm:pt>
    <dgm:pt modelId="{4EDB0470-8CCA-48D0-8C79-797DA1B9F31C}" type="pres">
      <dgm:prSet presAssocID="{BD84F896-3391-4A7E-BCE1-86E7301F1728}" presName="LevelTwoTextNode" presStyleLbl="node4" presStyleIdx="18" presStyleCnt="29">
        <dgm:presLayoutVars>
          <dgm:chPref val="3"/>
        </dgm:presLayoutVars>
      </dgm:prSet>
      <dgm:spPr/>
      <dgm:t>
        <a:bodyPr/>
        <a:lstStyle/>
        <a:p>
          <a:endParaRPr lang="en-US"/>
        </a:p>
      </dgm:t>
    </dgm:pt>
    <dgm:pt modelId="{6FCABF87-1959-40D5-AA2E-8861A6145648}" type="pres">
      <dgm:prSet presAssocID="{BD84F896-3391-4A7E-BCE1-86E7301F1728}" presName="level3hierChild" presStyleCnt="0"/>
      <dgm:spPr/>
    </dgm:pt>
    <dgm:pt modelId="{67D5BC62-10FA-42F5-B237-3D6C9EEA678C}" type="pres">
      <dgm:prSet presAssocID="{2CCF186E-DFA8-4EAE-8A5A-B48CCB7C7B5F}" presName="conn2-1" presStyleLbl="parChTrans1D4" presStyleIdx="19" presStyleCnt="29"/>
      <dgm:spPr/>
      <dgm:t>
        <a:bodyPr/>
        <a:lstStyle/>
        <a:p>
          <a:endParaRPr lang="en-US"/>
        </a:p>
      </dgm:t>
    </dgm:pt>
    <dgm:pt modelId="{86594709-59C5-483A-82DD-746F70364987}" type="pres">
      <dgm:prSet presAssocID="{2CCF186E-DFA8-4EAE-8A5A-B48CCB7C7B5F}" presName="connTx" presStyleLbl="parChTrans1D4" presStyleIdx="19" presStyleCnt="29"/>
      <dgm:spPr/>
      <dgm:t>
        <a:bodyPr/>
        <a:lstStyle/>
        <a:p>
          <a:endParaRPr lang="en-US"/>
        </a:p>
      </dgm:t>
    </dgm:pt>
    <dgm:pt modelId="{242274A3-511B-4497-8A83-461E9C55DE61}" type="pres">
      <dgm:prSet presAssocID="{28046F73-54AA-4C6A-9E54-A7D52AACE52C}" presName="root2" presStyleCnt="0"/>
      <dgm:spPr/>
    </dgm:pt>
    <dgm:pt modelId="{0E24562B-F3DA-49BE-AB50-841548E8DA44}" type="pres">
      <dgm:prSet presAssocID="{28046F73-54AA-4C6A-9E54-A7D52AACE52C}" presName="LevelTwoTextNode" presStyleLbl="node4" presStyleIdx="19" presStyleCnt="29">
        <dgm:presLayoutVars>
          <dgm:chPref val="3"/>
        </dgm:presLayoutVars>
      </dgm:prSet>
      <dgm:spPr/>
      <dgm:t>
        <a:bodyPr/>
        <a:lstStyle/>
        <a:p>
          <a:endParaRPr lang="en-US"/>
        </a:p>
      </dgm:t>
    </dgm:pt>
    <dgm:pt modelId="{73908903-CFC8-4D6F-94D9-6F562784AA63}" type="pres">
      <dgm:prSet presAssocID="{28046F73-54AA-4C6A-9E54-A7D52AACE52C}" presName="level3hierChild" presStyleCnt="0"/>
      <dgm:spPr/>
    </dgm:pt>
    <dgm:pt modelId="{40922907-DFD0-40DC-92BE-AB3E9DADD273}" type="pres">
      <dgm:prSet presAssocID="{53FE0367-7FC1-491E-BA94-67A1090DA523}" presName="conn2-1" presStyleLbl="parChTrans1D4" presStyleIdx="20" presStyleCnt="29"/>
      <dgm:spPr/>
      <dgm:t>
        <a:bodyPr/>
        <a:lstStyle/>
        <a:p>
          <a:endParaRPr lang="en-US"/>
        </a:p>
      </dgm:t>
    </dgm:pt>
    <dgm:pt modelId="{B7584805-5372-422F-A900-F7ABA0E37B72}" type="pres">
      <dgm:prSet presAssocID="{53FE0367-7FC1-491E-BA94-67A1090DA523}" presName="connTx" presStyleLbl="parChTrans1D4" presStyleIdx="20" presStyleCnt="29"/>
      <dgm:spPr/>
      <dgm:t>
        <a:bodyPr/>
        <a:lstStyle/>
        <a:p>
          <a:endParaRPr lang="en-US"/>
        </a:p>
      </dgm:t>
    </dgm:pt>
    <dgm:pt modelId="{FD17BB21-37CB-44DA-A5BE-A375AF9F24B0}" type="pres">
      <dgm:prSet presAssocID="{BD8D4506-E274-45FA-A27D-B67781094E43}" presName="root2" presStyleCnt="0"/>
      <dgm:spPr/>
    </dgm:pt>
    <dgm:pt modelId="{F039B747-7BCA-4383-8702-C0A6D358BE92}" type="pres">
      <dgm:prSet presAssocID="{BD8D4506-E274-45FA-A27D-B67781094E43}" presName="LevelTwoTextNode" presStyleLbl="node4" presStyleIdx="20" presStyleCnt="29">
        <dgm:presLayoutVars>
          <dgm:chPref val="3"/>
        </dgm:presLayoutVars>
      </dgm:prSet>
      <dgm:spPr/>
      <dgm:t>
        <a:bodyPr/>
        <a:lstStyle/>
        <a:p>
          <a:endParaRPr lang="en-US"/>
        </a:p>
      </dgm:t>
    </dgm:pt>
    <dgm:pt modelId="{0B907AC5-F752-41C5-BB38-FF5A015C8F48}" type="pres">
      <dgm:prSet presAssocID="{BD8D4506-E274-45FA-A27D-B67781094E43}" presName="level3hierChild" presStyleCnt="0"/>
      <dgm:spPr/>
    </dgm:pt>
    <dgm:pt modelId="{61C6398E-75F5-41B2-9D13-9A69DEA590F6}" type="pres">
      <dgm:prSet presAssocID="{132DD7D3-47DF-4E15-AECB-9D690779C64A}" presName="conn2-1" presStyleLbl="parChTrans1D4" presStyleIdx="21" presStyleCnt="29"/>
      <dgm:spPr/>
      <dgm:t>
        <a:bodyPr/>
        <a:lstStyle/>
        <a:p>
          <a:endParaRPr lang="en-US"/>
        </a:p>
      </dgm:t>
    </dgm:pt>
    <dgm:pt modelId="{DB9449DD-EBE3-4D54-BB8D-22A78C90E4AD}" type="pres">
      <dgm:prSet presAssocID="{132DD7D3-47DF-4E15-AECB-9D690779C64A}" presName="connTx" presStyleLbl="parChTrans1D4" presStyleIdx="21" presStyleCnt="29"/>
      <dgm:spPr/>
      <dgm:t>
        <a:bodyPr/>
        <a:lstStyle/>
        <a:p>
          <a:endParaRPr lang="en-US"/>
        </a:p>
      </dgm:t>
    </dgm:pt>
    <dgm:pt modelId="{CE39B9FF-23CF-48AE-BC0F-65604273664D}" type="pres">
      <dgm:prSet presAssocID="{D9ECCF8F-C216-4445-BBEA-74588892542B}" presName="root2" presStyleCnt="0"/>
      <dgm:spPr/>
    </dgm:pt>
    <dgm:pt modelId="{8E0A5308-A822-4D95-AB1C-EEE18A6DCA60}" type="pres">
      <dgm:prSet presAssocID="{D9ECCF8F-C216-4445-BBEA-74588892542B}" presName="LevelTwoTextNode" presStyleLbl="node4" presStyleIdx="21" presStyleCnt="29">
        <dgm:presLayoutVars>
          <dgm:chPref val="3"/>
        </dgm:presLayoutVars>
      </dgm:prSet>
      <dgm:spPr/>
      <dgm:t>
        <a:bodyPr/>
        <a:lstStyle/>
        <a:p>
          <a:endParaRPr lang="en-US"/>
        </a:p>
      </dgm:t>
    </dgm:pt>
    <dgm:pt modelId="{881155B4-628C-434B-80E4-149426C9AF1F}" type="pres">
      <dgm:prSet presAssocID="{D9ECCF8F-C216-4445-BBEA-74588892542B}" presName="level3hierChild" presStyleCnt="0"/>
      <dgm:spPr/>
    </dgm:pt>
    <dgm:pt modelId="{1FE2903B-8832-44F4-84F4-82349AABB2AE}" type="pres">
      <dgm:prSet presAssocID="{A09D0F6B-0941-4BCA-B5A9-E5F90351ABEC}" presName="conn2-1" presStyleLbl="parChTrans1D4" presStyleIdx="22" presStyleCnt="29"/>
      <dgm:spPr/>
      <dgm:t>
        <a:bodyPr/>
        <a:lstStyle/>
        <a:p>
          <a:endParaRPr lang="en-US"/>
        </a:p>
      </dgm:t>
    </dgm:pt>
    <dgm:pt modelId="{BF05AAA7-3700-4C9A-A700-BE4A2A222493}" type="pres">
      <dgm:prSet presAssocID="{A09D0F6B-0941-4BCA-B5A9-E5F90351ABEC}" presName="connTx" presStyleLbl="parChTrans1D4" presStyleIdx="22" presStyleCnt="29"/>
      <dgm:spPr/>
      <dgm:t>
        <a:bodyPr/>
        <a:lstStyle/>
        <a:p>
          <a:endParaRPr lang="en-US"/>
        </a:p>
      </dgm:t>
    </dgm:pt>
    <dgm:pt modelId="{43E0ECD2-D574-4D10-8D8C-8B74EB066089}" type="pres">
      <dgm:prSet presAssocID="{0A583A8A-E187-4393-A517-70F353C11C93}" presName="root2" presStyleCnt="0"/>
      <dgm:spPr/>
    </dgm:pt>
    <dgm:pt modelId="{D712443A-58CB-4A73-B56D-2481BB9654F1}" type="pres">
      <dgm:prSet presAssocID="{0A583A8A-E187-4393-A517-70F353C11C93}" presName="LevelTwoTextNode" presStyleLbl="node4" presStyleIdx="22" presStyleCnt="29">
        <dgm:presLayoutVars>
          <dgm:chPref val="3"/>
        </dgm:presLayoutVars>
      </dgm:prSet>
      <dgm:spPr/>
      <dgm:t>
        <a:bodyPr/>
        <a:lstStyle/>
        <a:p>
          <a:endParaRPr lang="en-US"/>
        </a:p>
      </dgm:t>
    </dgm:pt>
    <dgm:pt modelId="{9005BA72-6EE8-46C2-A7C2-A5360670F4BF}" type="pres">
      <dgm:prSet presAssocID="{0A583A8A-E187-4393-A517-70F353C11C93}" presName="level3hierChild" presStyleCnt="0"/>
      <dgm:spPr/>
    </dgm:pt>
    <dgm:pt modelId="{06EE0DC0-619D-4991-A420-32A96B267021}" type="pres">
      <dgm:prSet presAssocID="{F016D453-A6DD-4165-BBF9-3EF77E40AED9}" presName="conn2-1" presStyleLbl="parChTrans1D4" presStyleIdx="23" presStyleCnt="29"/>
      <dgm:spPr/>
      <dgm:t>
        <a:bodyPr/>
        <a:lstStyle/>
        <a:p>
          <a:endParaRPr lang="en-US"/>
        </a:p>
      </dgm:t>
    </dgm:pt>
    <dgm:pt modelId="{35D062BA-6F19-459C-9F7F-6837A9BE1341}" type="pres">
      <dgm:prSet presAssocID="{F016D453-A6DD-4165-BBF9-3EF77E40AED9}" presName="connTx" presStyleLbl="parChTrans1D4" presStyleIdx="23" presStyleCnt="29"/>
      <dgm:spPr/>
      <dgm:t>
        <a:bodyPr/>
        <a:lstStyle/>
        <a:p>
          <a:endParaRPr lang="en-US"/>
        </a:p>
      </dgm:t>
    </dgm:pt>
    <dgm:pt modelId="{E9CB90C6-34DC-4B8C-80A2-6A67ED28E488}" type="pres">
      <dgm:prSet presAssocID="{CD06216A-2545-4F88-8EAA-73304E730F0A}" presName="root2" presStyleCnt="0"/>
      <dgm:spPr/>
    </dgm:pt>
    <dgm:pt modelId="{B865784A-4175-4B9B-881C-9848CEE15B9A}" type="pres">
      <dgm:prSet presAssocID="{CD06216A-2545-4F88-8EAA-73304E730F0A}" presName="LevelTwoTextNode" presStyleLbl="node4" presStyleIdx="23" presStyleCnt="29">
        <dgm:presLayoutVars>
          <dgm:chPref val="3"/>
        </dgm:presLayoutVars>
      </dgm:prSet>
      <dgm:spPr/>
      <dgm:t>
        <a:bodyPr/>
        <a:lstStyle/>
        <a:p>
          <a:endParaRPr lang="en-US"/>
        </a:p>
      </dgm:t>
    </dgm:pt>
    <dgm:pt modelId="{B6C200E9-2A94-4914-8EC4-8E05114D8FB3}" type="pres">
      <dgm:prSet presAssocID="{CD06216A-2545-4F88-8EAA-73304E730F0A}" presName="level3hierChild" presStyleCnt="0"/>
      <dgm:spPr/>
    </dgm:pt>
    <dgm:pt modelId="{0B80EA1B-6623-4BB3-A0D6-D2CFB6B306E7}" type="pres">
      <dgm:prSet presAssocID="{C53C0B86-5B34-4117-9974-4879ADEF23FD}" presName="conn2-1" presStyleLbl="parChTrans1D3" presStyleIdx="4" presStyleCnt="5"/>
      <dgm:spPr/>
      <dgm:t>
        <a:bodyPr/>
        <a:lstStyle/>
        <a:p>
          <a:endParaRPr lang="en-US"/>
        </a:p>
      </dgm:t>
    </dgm:pt>
    <dgm:pt modelId="{E9F4B5E7-70CF-4865-B71A-F97ED71DE71B}" type="pres">
      <dgm:prSet presAssocID="{C53C0B86-5B34-4117-9974-4879ADEF23FD}" presName="connTx" presStyleLbl="parChTrans1D3" presStyleIdx="4" presStyleCnt="5"/>
      <dgm:spPr/>
      <dgm:t>
        <a:bodyPr/>
        <a:lstStyle/>
        <a:p>
          <a:endParaRPr lang="en-US"/>
        </a:p>
      </dgm:t>
    </dgm:pt>
    <dgm:pt modelId="{F97C820E-2446-4399-94F3-B1F5F2AA62A9}" type="pres">
      <dgm:prSet presAssocID="{21DDC5DE-9B99-4E97-B766-ECB455617711}" presName="root2" presStyleCnt="0"/>
      <dgm:spPr/>
    </dgm:pt>
    <dgm:pt modelId="{5313DD18-2AA9-437F-A599-4C91CB8D295D}" type="pres">
      <dgm:prSet presAssocID="{21DDC5DE-9B99-4E97-B766-ECB455617711}" presName="LevelTwoTextNode" presStyleLbl="node3" presStyleIdx="4" presStyleCnt="5">
        <dgm:presLayoutVars>
          <dgm:chPref val="3"/>
        </dgm:presLayoutVars>
      </dgm:prSet>
      <dgm:spPr/>
      <dgm:t>
        <a:bodyPr/>
        <a:lstStyle/>
        <a:p>
          <a:endParaRPr lang="en-US"/>
        </a:p>
      </dgm:t>
    </dgm:pt>
    <dgm:pt modelId="{9F81E765-7D06-4ADA-A44A-1C804D5A6540}" type="pres">
      <dgm:prSet presAssocID="{21DDC5DE-9B99-4E97-B766-ECB455617711}" presName="level3hierChild" presStyleCnt="0"/>
      <dgm:spPr/>
    </dgm:pt>
    <dgm:pt modelId="{66F9C8C7-8B74-4AA8-B36E-1C67DF4A7B1A}" type="pres">
      <dgm:prSet presAssocID="{EAC11B33-D2F0-4438-811E-F13B90A6403B}" presName="conn2-1" presStyleLbl="parChTrans1D4" presStyleIdx="24" presStyleCnt="29"/>
      <dgm:spPr/>
      <dgm:t>
        <a:bodyPr/>
        <a:lstStyle/>
        <a:p>
          <a:endParaRPr lang="en-US"/>
        </a:p>
      </dgm:t>
    </dgm:pt>
    <dgm:pt modelId="{262ABBE9-9E2D-455B-8E24-992808884595}" type="pres">
      <dgm:prSet presAssocID="{EAC11B33-D2F0-4438-811E-F13B90A6403B}" presName="connTx" presStyleLbl="parChTrans1D4" presStyleIdx="24" presStyleCnt="29"/>
      <dgm:spPr/>
      <dgm:t>
        <a:bodyPr/>
        <a:lstStyle/>
        <a:p>
          <a:endParaRPr lang="en-US"/>
        </a:p>
      </dgm:t>
    </dgm:pt>
    <dgm:pt modelId="{66378ADB-616E-4490-B605-5ADCC6224C9F}" type="pres">
      <dgm:prSet presAssocID="{52A139F3-4B9B-4125-8EB6-6B94313949BE}" presName="root2" presStyleCnt="0"/>
      <dgm:spPr/>
    </dgm:pt>
    <dgm:pt modelId="{E5C0017F-946D-4279-9A20-9CCEBDC9310D}" type="pres">
      <dgm:prSet presAssocID="{52A139F3-4B9B-4125-8EB6-6B94313949BE}" presName="LevelTwoTextNode" presStyleLbl="node4" presStyleIdx="24" presStyleCnt="29">
        <dgm:presLayoutVars>
          <dgm:chPref val="3"/>
        </dgm:presLayoutVars>
      </dgm:prSet>
      <dgm:spPr/>
      <dgm:t>
        <a:bodyPr/>
        <a:lstStyle/>
        <a:p>
          <a:endParaRPr lang="en-US"/>
        </a:p>
      </dgm:t>
    </dgm:pt>
    <dgm:pt modelId="{8B47AAD4-B250-40F3-8E83-972BB471024A}" type="pres">
      <dgm:prSet presAssocID="{52A139F3-4B9B-4125-8EB6-6B94313949BE}" presName="level3hierChild" presStyleCnt="0"/>
      <dgm:spPr/>
    </dgm:pt>
    <dgm:pt modelId="{A4FF2A36-350A-4DFC-AA0A-FFD6AF00BDD7}" type="pres">
      <dgm:prSet presAssocID="{7024CFD8-1AA2-415B-928B-06D639E89E18}" presName="conn2-1" presStyleLbl="parChTrans1D4" presStyleIdx="25" presStyleCnt="29"/>
      <dgm:spPr/>
      <dgm:t>
        <a:bodyPr/>
        <a:lstStyle/>
        <a:p>
          <a:endParaRPr lang="en-US"/>
        </a:p>
      </dgm:t>
    </dgm:pt>
    <dgm:pt modelId="{B234EE68-BEDF-47F7-A82B-D7D5BB5ADA0F}" type="pres">
      <dgm:prSet presAssocID="{7024CFD8-1AA2-415B-928B-06D639E89E18}" presName="connTx" presStyleLbl="parChTrans1D4" presStyleIdx="25" presStyleCnt="29"/>
      <dgm:spPr/>
      <dgm:t>
        <a:bodyPr/>
        <a:lstStyle/>
        <a:p>
          <a:endParaRPr lang="en-US"/>
        </a:p>
      </dgm:t>
    </dgm:pt>
    <dgm:pt modelId="{7F982218-152A-44F8-A902-9337F6332141}" type="pres">
      <dgm:prSet presAssocID="{8E0C410E-6E05-4517-86B0-02964E82419C}" presName="root2" presStyleCnt="0"/>
      <dgm:spPr/>
    </dgm:pt>
    <dgm:pt modelId="{301CE99F-50B7-4443-9FFE-2DF1DC28BF6D}" type="pres">
      <dgm:prSet presAssocID="{8E0C410E-6E05-4517-86B0-02964E82419C}" presName="LevelTwoTextNode" presStyleLbl="node4" presStyleIdx="25" presStyleCnt="29">
        <dgm:presLayoutVars>
          <dgm:chPref val="3"/>
        </dgm:presLayoutVars>
      </dgm:prSet>
      <dgm:spPr/>
      <dgm:t>
        <a:bodyPr/>
        <a:lstStyle/>
        <a:p>
          <a:endParaRPr lang="en-US"/>
        </a:p>
      </dgm:t>
    </dgm:pt>
    <dgm:pt modelId="{1BBA5972-D1D3-47E7-81AC-3CCDBEBB752B}" type="pres">
      <dgm:prSet presAssocID="{8E0C410E-6E05-4517-86B0-02964E82419C}" presName="level3hierChild" presStyleCnt="0"/>
      <dgm:spPr/>
    </dgm:pt>
    <dgm:pt modelId="{97827725-FD8C-42BF-9BA4-277DA043FC16}" type="pres">
      <dgm:prSet presAssocID="{6669D5B3-A9D1-4706-8DDA-1D872E29C16C}" presName="conn2-1" presStyleLbl="parChTrans1D4" presStyleIdx="26" presStyleCnt="29"/>
      <dgm:spPr/>
      <dgm:t>
        <a:bodyPr/>
        <a:lstStyle/>
        <a:p>
          <a:endParaRPr lang="en-US"/>
        </a:p>
      </dgm:t>
    </dgm:pt>
    <dgm:pt modelId="{3E3D7FFA-550E-4282-9CF5-1D1B53B788CB}" type="pres">
      <dgm:prSet presAssocID="{6669D5B3-A9D1-4706-8DDA-1D872E29C16C}" presName="connTx" presStyleLbl="parChTrans1D4" presStyleIdx="26" presStyleCnt="29"/>
      <dgm:spPr/>
      <dgm:t>
        <a:bodyPr/>
        <a:lstStyle/>
        <a:p>
          <a:endParaRPr lang="en-US"/>
        </a:p>
      </dgm:t>
    </dgm:pt>
    <dgm:pt modelId="{40F32E80-47BA-4202-A89B-6A06EA477FDE}" type="pres">
      <dgm:prSet presAssocID="{DF9A9F5F-8DE8-4DB7-810D-051ED7BBDBF2}" presName="root2" presStyleCnt="0"/>
      <dgm:spPr/>
    </dgm:pt>
    <dgm:pt modelId="{E3012FCF-5B39-4F03-8437-17CA601B516B}" type="pres">
      <dgm:prSet presAssocID="{DF9A9F5F-8DE8-4DB7-810D-051ED7BBDBF2}" presName="LevelTwoTextNode" presStyleLbl="node4" presStyleIdx="26" presStyleCnt="29">
        <dgm:presLayoutVars>
          <dgm:chPref val="3"/>
        </dgm:presLayoutVars>
      </dgm:prSet>
      <dgm:spPr/>
      <dgm:t>
        <a:bodyPr/>
        <a:lstStyle/>
        <a:p>
          <a:endParaRPr lang="en-US"/>
        </a:p>
      </dgm:t>
    </dgm:pt>
    <dgm:pt modelId="{23E4D228-D416-40FB-B66B-192BE7D96BE4}" type="pres">
      <dgm:prSet presAssocID="{DF9A9F5F-8DE8-4DB7-810D-051ED7BBDBF2}" presName="level3hierChild" presStyleCnt="0"/>
      <dgm:spPr/>
    </dgm:pt>
    <dgm:pt modelId="{64CBC78F-8907-4BF2-8E76-E9100325F05D}" type="pres">
      <dgm:prSet presAssocID="{C3FC119E-CA58-43CF-BAD1-D04466E6D769}" presName="conn2-1" presStyleLbl="parChTrans1D4" presStyleIdx="27" presStyleCnt="29"/>
      <dgm:spPr/>
      <dgm:t>
        <a:bodyPr/>
        <a:lstStyle/>
        <a:p>
          <a:endParaRPr lang="en-US"/>
        </a:p>
      </dgm:t>
    </dgm:pt>
    <dgm:pt modelId="{E217DA48-F5B5-4457-82BB-65C762158116}" type="pres">
      <dgm:prSet presAssocID="{C3FC119E-CA58-43CF-BAD1-D04466E6D769}" presName="connTx" presStyleLbl="parChTrans1D4" presStyleIdx="27" presStyleCnt="29"/>
      <dgm:spPr/>
      <dgm:t>
        <a:bodyPr/>
        <a:lstStyle/>
        <a:p>
          <a:endParaRPr lang="en-US"/>
        </a:p>
      </dgm:t>
    </dgm:pt>
    <dgm:pt modelId="{60E9B6BF-4B24-4D61-AE89-8A7BC4EA75E7}" type="pres">
      <dgm:prSet presAssocID="{44507B4B-9266-486A-8E7D-E1A4D9F074D9}" presName="root2" presStyleCnt="0"/>
      <dgm:spPr/>
    </dgm:pt>
    <dgm:pt modelId="{F94A638F-BF85-4CE7-A62E-8F8D91FEF458}" type="pres">
      <dgm:prSet presAssocID="{44507B4B-9266-486A-8E7D-E1A4D9F074D9}" presName="LevelTwoTextNode" presStyleLbl="node4" presStyleIdx="27" presStyleCnt="29">
        <dgm:presLayoutVars>
          <dgm:chPref val="3"/>
        </dgm:presLayoutVars>
      </dgm:prSet>
      <dgm:spPr/>
      <dgm:t>
        <a:bodyPr/>
        <a:lstStyle/>
        <a:p>
          <a:endParaRPr lang="en-US"/>
        </a:p>
      </dgm:t>
    </dgm:pt>
    <dgm:pt modelId="{512A775B-3FED-4B45-B103-426A85FB1AD7}" type="pres">
      <dgm:prSet presAssocID="{44507B4B-9266-486A-8E7D-E1A4D9F074D9}" presName="level3hierChild" presStyleCnt="0"/>
      <dgm:spPr/>
    </dgm:pt>
    <dgm:pt modelId="{27119960-C944-4E6D-A93C-F4358964A23C}" type="pres">
      <dgm:prSet presAssocID="{2308B16D-767F-46BF-A890-4D7D885F512F}" presName="conn2-1" presStyleLbl="parChTrans1D4" presStyleIdx="28" presStyleCnt="29"/>
      <dgm:spPr/>
      <dgm:t>
        <a:bodyPr/>
        <a:lstStyle/>
        <a:p>
          <a:endParaRPr lang="en-US"/>
        </a:p>
      </dgm:t>
    </dgm:pt>
    <dgm:pt modelId="{B5A75AA3-F7E6-4579-B881-BBE6E31E1006}" type="pres">
      <dgm:prSet presAssocID="{2308B16D-767F-46BF-A890-4D7D885F512F}" presName="connTx" presStyleLbl="parChTrans1D4" presStyleIdx="28" presStyleCnt="29"/>
      <dgm:spPr/>
      <dgm:t>
        <a:bodyPr/>
        <a:lstStyle/>
        <a:p>
          <a:endParaRPr lang="en-US"/>
        </a:p>
      </dgm:t>
    </dgm:pt>
    <dgm:pt modelId="{24DB6FD2-8A67-473D-B179-B9E9B6950449}" type="pres">
      <dgm:prSet presAssocID="{3C5A5C58-89D2-47B3-8119-22F2F35519DB}" presName="root2" presStyleCnt="0"/>
      <dgm:spPr/>
    </dgm:pt>
    <dgm:pt modelId="{D04A649D-8AC1-47D8-BD49-770E5454D41E}" type="pres">
      <dgm:prSet presAssocID="{3C5A5C58-89D2-47B3-8119-22F2F35519DB}" presName="LevelTwoTextNode" presStyleLbl="node4" presStyleIdx="28" presStyleCnt="29">
        <dgm:presLayoutVars>
          <dgm:chPref val="3"/>
        </dgm:presLayoutVars>
      </dgm:prSet>
      <dgm:spPr/>
      <dgm:t>
        <a:bodyPr/>
        <a:lstStyle/>
        <a:p>
          <a:endParaRPr lang="en-US"/>
        </a:p>
      </dgm:t>
    </dgm:pt>
    <dgm:pt modelId="{2A814AF3-D693-48A7-9A79-515800DAAA80}" type="pres">
      <dgm:prSet presAssocID="{3C5A5C58-89D2-47B3-8119-22F2F35519DB}" presName="level3hierChild" presStyleCnt="0"/>
      <dgm:spPr/>
    </dgm:pt>
  </dgm:ptLst>
  <dgm:cxnLst>
    <dgm:cxn modelId="{958B1EC6-F558-4172-868B-B4F308AA7600}" type="presOf" srcId="{EAC11B33-D2F0-4438-811E-F13B90A6403B}" destId="{262ABBE9-9E2D-455B-8E24-992808884595}" srcOrd="1" destOrd="0" presId="urn:microsoft.com/office/officeart/2005/8/layout/hierarchy2"/>
    <dgm:cxn modelId="{FE9CA49B-9210-4BDF-BC07-EA378AC23BCA}" srcId="{5885CC4E-441D-4905-8162-061D248007E8}" destId="{502E039B-2341-4CE0-9858-DB2E05CB8708}" srcOrd="0" destOrd="0" parTransId="{0796C562-7B15-4DC9-91C3-EE7DD156E04C}" sibTransId="{C1D8147B-647C-4C2D-A86D-DBEA6F5D3E70}"/>
    <dgm:cxn modelId="{9DB84E47-0412-4D59-B688-C3D9B28E299E}" type="presOf" srcId="{53FE0367-7FC1-491E-BA94-67A1090DA523}" destId="{40922907-DFD0-40DC-92BE-AB3E9DADD273}" srcOrd="0" destOrd="0" presId="urn:microsoft.com/office/officeart/2005/8/layout/hierarchy2"/>
    <dgm:cxn modelId="{89B95D7F-0021-4B97-87EB-42BE01B027A8}" type="presOf" srcId="{870C8AC8-5267-49FD-99DD-105236136913}" destId="{168B7A1B-6F7A-42F3-ABDA-4ACFE8F221CA}" srcOrd="1" destOrd="0" presId="urn:microsoft.com/office/officeart/2005/8/layout/hierarchy2"/>
    <dgm:cxn modelId="{84F4BCB9-7FE1-43C7-8E5E-31F026CF2D78}" type="presOf" srcId="{6669D5B3-A9D1-4706-8DDA-1D872E29C16C}" destId="{97827725-FD8C-42BF-9BA4-277DA043FC16}" srcOrd="0" destOrd="0" presId="urn:microsoft.com/office/officeart/2005/8/layout/hierarchy2"/>
    <dgm:cxn modelId="{10CE6044-FE42-4AB0-8110-DF9145C13B83}" type="presOf" srcId="{1953F410-8066-4EDA-8090-5EFA2D382761}" destId="{50D85ED2-2593-4DA5-88D3-0DBED6E1093B}" srcOrd="0" destOrd="0" presId="urn:microsoft.com/office/officeart/2005/8/layout/hierarchy2"/>
    <dgm:cxn modelId="{44918C9C-68BA-42FA-9E96-F39B85FE9E27}" type="presOf" srcId="{BD84F896-3391-4A7E-BCE1-86E7301F1728}" destId="{4EDB0470-8CCA-48D0-8C79-797DA1B9F31C}" srcOrd="0" destOrd="0" presId="urn:microsoft.com/office/officeart/2005/8/layout/hierarchy2"/>
    <dgm:cxn modelId="{8B2F1600-98E6-4ABF-8B62-896E34955135}" type="presOf" srcId="{CACE0FA0-AD5C-4691-A96C-9BAD7FD2858D}" destId="{B2770FBE-A169-48BF-8C64-2721D1BE28AC}" srcOrd="1" destOrd="0" presId="urn:microsoft.com/office/officeart/2005/8/layout/hierarchy2"/>
    <dgm:cxn modelId="{EA3557E4-32E4-4362-8901-57B642582A1A}" type="presOf" srcId="{EAC11B33-D2F0-4438-811E-F13B90A6403B}" destId="{66F9C8C7-8B74-4AA8-B36E-1C67DF4A7B1A}" srcOrd="0" destOrd="0" presId="urn:microsoft.com/office/officeart/2005/8/layout/hierarchy2"/>
    <dgm:cxn modelId="{2644DC1B-5E52-47F8-A87A-6F608F4936B3}" srcId="{8E0C410E-6E05-4517-86B0-02964E82419C}" destId="{DF9A9F5F-8DE8-4DB7-810D-051ED7BBDBF2}" srcOrd="0" destOrd="0" parTransId="{6669D5B3-A9D1-4706-8DDA-1D872E29C16C}" sibTransId="{8D98901E-516E-4B22-9FAF-1190360C0039}"/>
    <dgm:cxn modelId="{F01064FB-6D1B-4BC9-B45D-198EEF8F4441}" type="presOf" srcId="{BBB33E5B-0101-4F6A-BCBF-F16326938656}" destId="{3C68E335-1FBE-4BF5-B663-16EAFA360432}" srcOrd="0" destOrd="0" presId="urn:microsoft.com/office/officeart/2005/8/layout/hierarchy2"/>
    <dgm:cxn modelId="{180DA609-0F75-4565-BDE9-8E5DCE8CABAF}" type="presOf" srcId="{9D8D8D59-706F-4E19-9242-A6C821A46330}" destId="{DE5EACE5-67E8-4B98-B9CE-9235E9565AE1}" srcOrd="1" destOrd="0" presId="urn:microsoft.com/office/officeart/2005/8/layout/hierarchy2"/>
    <dgm:cxn modelId="{FDDB920F-6740-46BC-911E-99999CE5A131}" type="presOf" srcId="{79E8E4E4-C675-4920-BFB4-24DA2BDCBE63}" destId="{32D9E3BE-2C09-46ED-8CC5-C0644F1FC105}" srcOrd="0" destOrd="0" presId="urn:microsoft.com/office/officeart/2005/8/layout/hierarchy2"/>
    <dgm:cxn modelId="{EEB6A073-9514-4587-9697-6003BB52572D}" srcId="{7BC04EE6-3F87-4FEC-9DDD-E70C474C57C3}" destId="{01945074-8BDE-4E12-9D1A-72532A706419}" srcOrd="0" destOrd="0" parTransId="{241DBA89-71F7-4897-BB11-CA8317B451A9}" sibTransId="{4946A70C-2839-4CFF-A12D-9987F294C492}"/>
    <dgm:cxn modelId="{714AE5BF-8AE6-4AE9-A8DD-00D188D9AF36}" type="presOf" srcId="{5885CC4E-441D-4905-8162-061D248007E8}" destId="{B6F6709F-983A-42C9-BED1-3A1152DFF161}" srcOrd="0" destOrd="0" presId="urn:microsoft.com/office/officeart/2005/8/layout/hierarchy2"/>
    <dgm:cxn modelId="{1DE95614-C37C-4FF0-88D4-67954D8B1F19}" type="presOf" srcId="{0796C562-7B15-4DC9-91C3-EE7DD156E04C}" destId="{B689DEE1-6225-42A9-BB92-BCDC4BBA9B76}" srcOrd="1" destOrd="0" presId="urn:microsoft.com/office/officeart/2005/8/layout/hierarchy2"/>
    <dgm:cxn modelId="{17077EF0-2CE2-458C-A811-1888B41EF6A9}" type="presOf" srcId="{870C8AC8-5267-49FD-99DD-105236136913}" destId="{C191BE5C-5AD3-4234-9F02-BD9392FA64E0}" srcOrd="0" destOrd="0" presId="urn:microsoft.com/office/officeart/2005/8/layout/hierarchy2"/>
    <dgm:cxn modelId="{61020CF9-D70F-4CA7-92B1-B8175E4164AE}" type="presOf" srcId="{FCDB5946-F89C-4AF3-8668-F34E75389066}" destId="{65B6ABAB-1550-4216-A6DB-038922ABC58A}" srcOrd="0" destOrd="0" presId="urn:microsoft.com/office/officeart/2005/8/layout/hierarchy2"/>
    <dgm:cxn modelId="{FFF49A09-9E84-4710-838F-34944DB4C961}" type="presOf" srcId="{C53C0B86-5B34-4117-9974-4879ADEF23FD}" destId="{0B80EA1B-6623-4BB3-A0D6-D2CFB6B306E7}" srcOrd="0" destOrd="0" presId="urn:microsoft.com/office/officeart/2005/8/layout/hierarchy2"/>
    <dgm:cxn modelId="{86AE1BF3-CD0F-48B7-BF54-84820648C04A}" type="presOf" srcId="{9301E62A-8A33-45D4-A08F-AC14FD353960}" destId="{13D5F17E-8084-4B72-9F04-56A089E701D3}" srcOrd="0" destOrd="0" presId="urn:microsoft.com/office/officeart/2005/8/layout/hierarchy2"/>
    <dgm:cxn modelId="{A43AFFC3-6EF0-4EAB-98D8-A5865EA47298}" srcId="{61BC2C8A-9A11-4072-B568-8CB18DEC7F8F}" destId="{A1262C4C-AEFA-48D7-A018-46347234E2AB}" srcOrd="2" destOrd="0" parTransId="{B07B2124-D362-408B-BD97-0A3DD6B0B63C}" sibTransId="{3795DE77-30F6-4AB6-B2A5-FEC34FE9A9C6}"/>
    <dgm:cxn modelId="{5C041023-6BB5-42C6-8BB6-0D6B1563BA37}" srcId="{DD9A32D6-3A1C-40B9-8533-E53F4E7404F7}" destId="{1E1D4233-C2A7-48BD-97BC-183FC81F2273}" srcOrd="0" destOrd="0" parTransId="{741FD50D-3953-4FC8-B5A7-C955AD187B9C}" sibTransId="{0AB119DC-E30B-4C71-A5C3-ACEB53B028D5}"/>
    <dgm:cxn modelId="{BBDD0FAB-A148-4E08-A907-EE4AC0209FC5}" srcId="{61BC2C8A-9A11-4072-B568-8CB18DEC7F8F}" destId="{E1C0B63F-4A3F-4EC8-B210-F7839B2FECE2}" srcOrd="0" destOrd="0" parTransId="{D150FC47-6525-48FF-A76E-D4922610D20D}" sibTransId="{7113EDB9-1885-4230-942A-699968E7EA88}"/>
    <dgm:cxn modelId="{DE211FBF-0A61-44CB-B96B-1C4C8FDE9662}" srcId="{61BC2C8A-9A11-4072-B568-8CB18DEC7F8F}" destId="{E4712C24-9285-473B-83C7-5A329605262B}" srcOrd="1" destOrd="0" parTransId="{35CE56EA-113C-4B0F-8789-F3AE3F0EEFE5}" sibTransId="{2150FEFD-FB6B-44A5-AD7C-C136C3EADCCE}"/>
    <dgm:cxn modelId="{90B74A56-E216-4B32-97D8-9C2AE1976AF3}" type="presOf" srcId="{856B431B-3763-4ACE-AC3E-B834922EF9A3}" destId="{A5D6EED7-FF47-46A2-966D-7A99646C1587}" srcOrd="0" destOrd="0" presId="urn:microsoft.com/office/officeart/2005/8/layout/hierarchy2"/>
    <dgm:cxn modelId="{CA90E09A-3BD1-491F-A7F1-D9A179A02FEA}" type="presOf" srcId="{CB864823-CA9A-405A-944A-FD0A8CE4DF60}" destId="{38C82682-0420-4F31-B739-4951F67D2919}" srcOrd="1" destOrd="0" presId="urn:microsoft.com/office/officeart/2005/8/layout/hierarchy2"/>
    <dgm:cxn modelId="{F45BB1DF-A2C6-42AC-92A6-72DA42CE99E2}" srcId="{9135DB42-F7C1-4A90-AFE6-A31C2F78FA74}" destId="{95A9E3F6-5EA5-4D0D-9C98-F7C91F1DE932}" srcOrd="0" destOrd="0" parTransId="{9D8D8D59-706F-4E19-9242-A6C821A46330}" sibTransId="{FA2F7C66-412C-4C28-9315-00A54DA8FB02}"/>
    <dgm:cxn modelId="{A15EA7AC-0BFF-4DDA-9B1A-0A730BDB5377}" type="presOf" srcId="{44507B4B-9266-486A-8E7D-E1A4D9F074D9}" destId="{F94A638F-BF85-4CE7-A62E-8F8D91FEF458}" srcOrd="0" destOrd="0" presId="urn:microsoft.com/office/officeart/2005/8/layout/hierarchy2"/>
    <dgm:cxn modelId="{CB2FE020-4754-457D-9261-9428C8AE763E}" type="presOf" srcId="{6DC37D20-7256-43A0-A6E3-91B03340EA7F}" destId="{9D607204-B294-4AA4-ABFC-780BDB528217}" srcOrd="0" destOrd="0" presId="urn:microsoft.com/office/officeart/2005/8/layout/hierarchy2"/>
    <dgm:cxn modelId="{608A254D-58D7-473D-946A-898BE976D1B7}" srcId="{52A139F3-4B9B-4125-8EB6-6B94313949BE}" destId="{8E0C410E-6E05-4517-86B0-02964E82419C}" srcOrd="0" destOrd="0" parTransId="{7024CFD8-1AA2-415B-928B-06D639E89E18}" sibTransId="{B07E1DD8-95F3-47C3-B2A8-BC7A20545490}"/>
    <dgm:cxn modelId="{C9D264FD-0BF6-4D57-9DFA-401DF3B2E40F}" srcId="{21DDC5DE-9B99-4E97-B766-ECB455617711}" destId="{44507B4B-9266-486A-8E7D-E1A4D9F074D9}" srcOrd="1" destOrd="0" parTransId="{C3FC119E-CA58-43CF-BAD1-D04466E6D769}" sibTransId="{F0AC80BB-D115-43A2-8D77-75CBCB7AE6AB}"/>
    <dgm:cxn modelId="{84A91B06-639A-42DE-BD2E-96A763E7BE5D}" type="presOf" srcId="{C53C0B86-5B34-4117-9974-4879ADEF23FD}" destId="{E9F4B5E7-70CF-4865-B71A-F97ED71DE71B}" srcOrd="1" destOrd="0" presId="urn:microsoft.com/office/officeart/2005/8/layout/hierarchy2"/>
    <dgm:cxn modelId="{40C60027-EBB1-4C82-9D4F-7C449C5F9BA0}" type="presOf" srcId="{9D8D8D59-706F-4E19-9242-A6C821A46330}" destId="{312CDBF5-FED4-4D00-8BD6-2EBD6C00981F}" srcOrd="0" destOrd="0" presId="urn:microsoft.com/office/officeart/2005/8/layout/hierarchy2"/>
    <dgm:cxn modelId="{03EA597E-6AEF-427F-B22C-47F456D2CE73}" type="presOf" srcId="{7024CFD8-1AA2-415B-928B-06D639E89E18}" destId="{B234EE68-BEDF-47F7-A82B-D7D5BB5ADA0F}" srcOrd="1" destOrd="0" presId="urn:microsoft.com/office/officeart/2005/8/layout/hierarchy2"/>
    <dgm:cxn modelId="{DF3AB2E3-62F1-4F1F-9114-CF5E3B4C3353}" type="presOf" srcId="{B9BEA9C7-D948-426C-AC8D-F9FDD412972E}" destId="{EB3094ED-1AAC-4C13-A2A2-9AA90DD7894D}" srcOrd="0" destOrd="0" presId="urn:microsoft.com/office/officeart/2005/8/layout/hierarchy2"/>
    <dgm:cxn modelId="{01AC3DEB-1BCD-4326-AB30-4FD779C449B1}" type="presOf" srcId="{7BC04EE6-3F87-4FEC-9DDD-E70C474C57C3}" destId="{A17D1525-5911-4415-9BD3-3B57153489D0}" srcOrd="0" destOrd="0" presId="urn:microsoft.com/office/officeart/2005/8/layout/hierarchy2"/>
    <dgm:cxn modelId="{3DC4C442-00CB-409A-BF5A-7014A307A5DC}" type="presOf" srcId="{F016D453-A6DD-4165-BBF9-3EF77E40AED9}" destId="{35D062BA-6F19-459C-9F7F-6837A9BE1341}" srcOrd="1" destOrd="0" presId="urn:microsoft.com/office/officeart/2005/8/layout/hierarchy2"/>
    <dgm:cxn modelId="{F4E4F004-F0C1-4E37-9233-9744AD0B331F}" srcId="{F197D403-7955-44B1-BD6F-33BC1637FE03}" destId="{257CBB86-C053-4002-B088-C2CE2CB2130E}" srcOrd="3" destOrd="0" parTransId="{C0DCF726-FFD3-459D-811E-56252EDA2888}" sibTransId="{0F98D7C8-9478-44A2-BD76-ABBA35D81322}"/>
    <dgm:cxn modelId="{7118CA56-707E-48FF-8ED5-28FAEE9F1E4A}" type="presOf" srcId="{7024CFD8-1AA2-415B-928B-06D639E89E18}" destId="{A4FF2A36-350A-4DFC-AA0A-FFD6AF00BDD7}" srcOrd="0" destOrd="0" presId="urn:microsoft.com/office/officeart/2005/8/layout/hierarchy2"/>
    <dgm:cxn modelId="{8DB050B5-67E3-4FA7-9D39-13DAC3C3E63E}" type="presOf" srcId="{DF138C95-44A0-4F89-8879-3C575078E77D}" destId="{D77B46AC-8B51-4826-A07A-82F0B58A230C}" srcOrd="1" destOrd="0" presId="urn:microsoft.com/office/officeart/2005/8/layout/hierarchy2"/>
    <dgm:cxn modelId="{2682839E-3C89-457D-BDE1-B043019B90B0}" srcId="{637EB484-7E84-4442-9EBA-923FDDFCB8DC}" destId="{D9ECCF8F-C216-4445-BBEA-74588892542B}" srcOrd="2" destOrd="0" parTransId="{132DD7D3-47DF-4E15-AECB-9D690779C64A}" sibTransId="{C922616A-F81D-4446-93B1-BAB562C587BD}"/>
    <dgm:cxn modelId="{0BD60CDA-526E-429E-BCAB-0E63347C29B0}" type="presOf" srcId="{502E039B-2341-4CE0-9858-DB2E05CB8708}" destId="{056728EF-A55C-483D-81CD-60F25A82B859}" srcOrd="0" destOrd="0" presId="urn:microsoft.com/office/officeart/2005/8/layout/hierarchy2"/>
    <dgm:cxn modelId="{9E00AB7E-4DB1-474B-AF86-2CFAF6EF396A}" type="presOf" srcId="{DF138C95-44A0-4F89-8879-3C575078E77D}" destId="{C5BF7EA9-F4F6-44AB-97D8-FAC402588DEA}" srcOrd="0" destOrd="0" presId="urn:microsoft.com/office/officeart/2005/8/layout/hierarchy2"/>
    <dgm:cxn modelId="{54BA94EA-03AB-4DD4-9AB8-E9318675CD4D}" type="presOf" srcId="{B9BEA9C7-D948-426C-AC8D-F9FDD412972E}" destId="{DE1CD99C-6FFA-43D7-9386-BB0AE993CF57}" srcOrd="1" destOrd="0" presId="urn:microsoft.com/office/officeart/2005/8/layout/hierarchy2"/>
    <dgm:cxn modelId="{22377BA1-35DD-41F8-9946-C58526D76221}" type="presOf" srcId="{CB864823-CA9A-405A-944A-FD0A8CE4DF60}" destId="{3AC03707-86FF-42A6-AC1C-903F17822466}" srcOrd="0" destOrd="0" presId="urn:microsoft.com/office/officeart/2005/8/layout/hierarchy2"/>
    <dgm:cxn modelId="{9221CC05-8FEF-412D-8B6E-9FAE274DD66A}" type="presOf" srcId="{F016D453-A6DD-4165-BBF9-3EF77E40AED9}" destId="{06EE0DC0-619D-4991-A420-32A96B267021}" srcOrd="0" destOrd="0" presId="urn:microsoft.com/office/officeart/2005/8/layout/hierarchy2"/>
    <dgm:cxn modelId="{0BA66D3B-7D40-4B0D-961E-A0C77A2E2EB3}" type="presOf" srcId="{19D17BC3-DE47-46E8-B9FC-28EE0309AE1E}" destId="{4BDAB2D3-F499-4B23-B8B6-A7D2FCB4AF64}" srcOrd="1" destOrd="0" presId="urn:microsoft.com/office/officeart/2005/8/layout/hierarchy2"/>
    <dgm:cxn modelId="{2F8C2073-5146-4FBA-9DB9-093AE342C3E3}" type="presOf" srcId="{A09D0F6B-0941-4BCA-B5A9-E5F90351ABEC}" destId="{1FE2903B-8832-44F4-84F4-82349AABB2AE}" srcOrd="0" destOrd="0" presId="urn:microsoft.com/office/officeart/2005/8/layout/hierarchy2"/>
    <dgm:cxn modelId="{B59CAF61-55D4-4311-A7CA-68471DFAC88A}" type="presOf" srcId="{D9ECCF8F-C216-4445-BBEA-74588892542B}" destId="{8E0A5308-A822-4D95-AB1C-EEE18A6DCA60}" srcOrd="0" destOrd="0" presId="urn:microsoft.com/office/officeart/2005/8/layout/hierarchy2"/>
    <dgm:cxn modelId="{6D136514-2741-42F5-BE55-FAB13BFFBD4C}" type="presOf" srcId="{DA7964E5-2361-4C35-9A20-9E82738DAFBF}" destId="{EB70163C-6E58-4CE5-A095-2F81F849BFAD}" srcOrd="0" destOrd="0" presId="urn:microsoft.com/office/officeart/2005/8/layout/hierarchy2"/>
    <dgm:cxn modelId="{94A27049-9974-4504-B898-92383A41A177}" type="presOf" srcId="{241DBA89-71F7-4897-BB11-CA8317B451A9}" destId="{E0983C16-03EF-4951-A639-8044B0C8D366}" srcOrd="1" destOrd="0" presId="urn:microsoft.com/office/officeart/2005/8/layout/hierarchy2"/>
    <dgm:cxn modelId="{933230FD-CACE-4BE8-9BD0-0D78588AED09}" type="presOf" srcId="{741FD50D-3953-4FC8-B5A7-C955AD187B9C}" destId="{648989A0-75B1-49F0-93B3-BD12051815D0}" srcOrd="1" destOrd="0" presId="urn:microsoft.com/office/officeart/2005/8/layout/hierarchy2"/>
    <dgm:cxn modelId="{1B62D7A0-849B-4A82-A291-D140A82F24B0}" srcId="{F197D403-7955-44B1-BD6F-33BC1637FE03}" destId="{DC5B0490-33C2-447D-B481-BCE8726F8C67}" srcOrd="2" destOrd="0" parTransId="{19D17BC3-DE47-46E8-B9FC-28EE0309AE1E}" sibTransId="{D21CFF0C-8E42-4EDC-8F68-1EF8310E7F2E}"/>
    <dgm:cxn modelId="{B945C783-7EB6-4C6F-9B01-81646A6D58DC}" type="presOf" srcId="{FCDB5946-F89C-4AF3-8668-F34E75389066}" destId="{A7982A53-75BC-449E-BC65-9A93A195AF01}" srcOrd="1" destOrd="0" presId="urn:microsoft.com/office/officeart/2005/8/layout/hierarchy2"/>
    <dgm:cxn modelId="{87C91874-65F8-4727-9807-541DA1B7BD1D}" type="presOf" srcId="{047ADF52-CFB2-47E7-B0CD-9C95AA74429E}" destId="{BA178411-6B0C-4614-A769-2852EFE3AFEE}" srcOrd="0" destOrd="0" presId="urn:microsoft.com/office/officeart/2005/8/layout/hierarchy2"/>
    <dgm:cxn modelId="{2EE573F1-3105-4B40-B0BA-437B99441DE5}" type="presOf" srcId="{C0DCF726-FFD3-459D-811E-56252EDA2888}" destId="{BDF9E111-8D23-44B6-840F-12982A995D4B}" srcOrd="1" destOrd="0" presId="urn:microsoft.com/office/officeart/2005/8/layout/hierarchy2"/>
    <dgm:cxn modelId="{5071B2A4-8A36-49B6-ACEC-59B7DB0620E4}" type="presOf" srcId="{4CBA450D-DD1E-49BA-8B98-368DD345F9E1}" destId="{4878D394-90E0-4855-8D02-C817C7B2FA02}" srcOrd="1" destOrd="0" presId="urn:microsoft.com/office/officeart/2005/8/layout/hierarchy2"/>
    <dgm:cxn modelId="{3F975A18-1926-4E68-AC86-DA2D8A964DA9}" type="presOf" srcId="{BD8D4506-E274-45FA-A27D-B67781094E43}" destId="{F039B747-7BCA-4383-8702-C0A6D358BE92}" srcOrd="0" destOrd="0" presId="urn:microsoft.com/office/officeart/2005/8/layout/hierarchy2"/>
    <dgm:cxn modelId="{967D9125-89E9-41BB-BCD1-8A447B7DA336}" type="presOf" srcId="{1504C198-6E25-43AC-AA3B-E4FFAB042CB6}" destId="{6506CF06-C12C-4352-9F42-76F66943EC5E}" srcOrd="0" destOrd="0" presId="urn:microsoft.com/office/officeart/2005/8/layout/hierarchy2"/>
    <dgm:cxn modelId="{9AFC9C14-5F60-40AC-BC4E-A07AF61133EE}" srcId="{F197D403-7955-44B1-BD6F-33BC1637FE03}" destId="{9301E62A-8A33-45D4-A08F-AC14FD353960}" srcOrd="1" destOrd="0" parTransId="{B0344F78-9A1D-4A20-8CEC-A73255DC426C}" sibTransId="{94974E13-E895-4DF4-8B54-33402402856D}"/>
    <dgm:cxn modelId="{AF9DF4AB-2EA7-4255-9060-375C719A850D}" type="presOf" srcId="{2308B16D-767F-46BF-A890-4D7D885F512F}" destId="{B5A75AA3-F7E6-4579-B881-BBE6E31E1006}" srcOrd="1" destOrd="0" presId="urn:microsoft.com/office/officeart/2005/8/layout/hierarchy2"/>
    <dgm:cxn modelId="{4F995587-3ACC-4607-A9BF-DEE2D570B6AC}" type="presOf" srcId="{132DD7D3-47DF-4E15-AECB-9D690779C64A}" destId="{61C6398E-75F5-41B2-9D13-9A69DEA590F6}" srcOrd="0" destOrd="0" presId="urn:microsoft.com/office/officeart/2005/8/layout/hierarchy2"/>
    <dgm:cxn modelId="{D03C44B7-6317-46F9-962A-D987BB79E73F}" srcId="{257CBB86-C053-4002-B088-C2CE2CB2130E}" destId="{21DDC5DE-9B99-4E97-B766-ECB455617711}" srcOrd="1" destOrd="0" parTransId="{C53C0B86-5B34-4117-9974-4879ADEF23FD}" sibTransId="{5B6CDA3A-AD47-4026-9D25-0A227CD078BC}"/>
    <dgm:cxn modelId="{6E0A16F8-34B2-43AF-B4D4-F9299B23F9A7}" type="presOf" srcId="{6364268D-CB2B-42D8-9944-4023890DA0B5}" destId="{D3068335-F9B7-4164-A791-4E286A2AD3FB}" srcOrd="1" destOrd="0" presId="urn:microsoft.com/office/officeart/2005/8/layout/hierarchy2"/>
    <dgm:cxn modelId="{D4C37634-596F-47F0-98B0-E4625D718E25}" srcId="{E4712C24-9285-473B-83C7-5A329605262B}" destId="{BBB33E5B-0101-4F6A-BCBF-F16326938656}" srcOrd="2" destOrd="0" parTransId="{1504C198-6E25-43AC-AA3B-E4FFAB042CB6}" sibTransId="{E261F51D-8532-4829-AF9C-1637583B8BCC}"/>
    <dgm:cxn modelId="{0230A486-DB25-48AC-8788-62381E6284E1}" type="presOf" srcId="{CAB56581-55F3-48D5-A9D1-F901044A0A1F}" destId="{A8C176F8-573A-4A0C-998E-9A4C6A820B86}" srcOrd="0" destOrd="0" presId="urn:microsoft.com/office/officeart/2005/8/layout/hierarchy2"/>
    <dgm:cxn modelId="{4621026E-62A3-454D-B1F0-6450816AC772}" type="presOf" srcId="{95A9E3F6-5EA5-4D0D-9C98-F7C91F1DE932}" destId="{071CF0F3-3853-4358-A4AF-4C85C6249376}" srcOrd="0" destOrd="0" presId="urn:microsoft.com/office/officeart/2005/8/layout/hierarchy2"/>
    <dgm:cxn modelId="{B7467FA4-C113-4F2C-AB13-2B0AE5A9DC86}" type="presOf" srcId="{2CCF186E-DFA8-4EAE-8A5A-B48CCB7C7B5F}" destId="{86594709-59C5-483A-82DD-746F70364987}" srcOrd="1" destOrd="0" presId="urn:microsoft.com/office/officeart/2005/8/layout/hierarchy2"/>
    <dgm:cxn modelId="{1B69CEC0-EC7D-4127-BD82-9504CFE49FC8}" srcId="{79E8E4E4-C675-4920-BFB4-24DA2BDCBE63}" destId="{F197D403-7955-44B1-BD6F-33BC1637FE03}" srcOrd="0" destOrd="0" parTransId="{384E92BA-C38C-4049-A125-884A2BB98CC5}" sibTransId="{F020EA9B-A0C2-4060-A1CD-26FB0E7C98E5}"/>
    <dgm:cxn modelId="{2C2D816A-32D2-4915-8773-299ECA8DD26A}" srcId="{F197D403-7955-44B1-BD6F-33BC1637FE03}" destId="{61BC2C8A-9A11-4072-B568-8CB18DEC7F8F}" srcOrd="0" destOrd="0" parTransId="{B9BEA9C7-D948-426C-AC8D-F9FDD412972E}" sibTransId="{D7EFF2DC-8483-4489-A699-D5F469491630}"/>
    <dgm:cxn modelId="{44E3F4B9-1372-4803-91FB-2A0E5C60C7B8}" srcId="{E4712C24-9285-473B-83C7-5A329605262B}" destId="{5885CC4E-441D-4905-8162-061D248007E8}" srcOrd="1" destOrd="0" parTransId="{DF138C95-44A0-4F89-8879-3C575078E77D}" sibTransId="{418711CF-0497-4A5F-A723-A8FF7D0784D0}"/>
    <dgm:cxn modelId="{B0438CF5-F3C2-486A-AE60-72E47EBE5A78}" type="presOf" srcId="{6DC37D20-7256-43A0-A6E3-91B03340EA7F}" destId="{C46EB028-777E-4209-A72D-BAD9C9F6D3B6}" srcOrd="1" destOrd="0" presId="urn:microsoft.com/office/officeart/2005/8/layout/hierarchy2"/>
    <dgm:cxn modelId="{6DEDF19B-C0FC-4618-95A4-6A6DC5060AB0}" srcId="{B7DA79A8-4168-47F9-BC50-DE3ECAC2F7BA}" destId="{047ADF52-CFB2-47E7-B0CD-9C95AA74429E}" srcOrd="0" destOrd="0" parTransId="{4CBA450D-DD1E-49BA-8B98-368DD345F9E1}" sibTransId="{141064A8-6377-47AB-942B-B57C80D4BDCA}"/>
    <dgm:cxn modelId="{29954AE3-7322-4153-809D-ECE686DD03BA}" type="presOf" srcId="{E1C0B63F-4A3F-4EC8-B210-F7839B2FECE2}" destId="{8445E1AA-924E-4159-94AF-384BE46B79F7}" srcOrd="0" destOrd="0" presId="urn:microsoft.com/office/officeart/2005/8/layout/hierarchy2"/>
    <dgm:cxn modelId="{B366EF46-1E41-4470-BC6D-E972F93A1DA4}" srcId="{502E039B-2341-4CE0-9858-DB2E05CB8708}" destId="{D3215F3E-CA0C-495B-AF6C-B5D3E643AB08}" srcOrd="0" destOrd="0" parTransId="{CB864823-CA9A-405A-944A-FD0A8CE4DF60}" sibTransId="{5B772310-00E3-4238-A2B6-0D79F8617992}"/>
    <dgm:cxn modelId="{3547E315-B7C8-4847-9589-DA986556EED0}" type="presOf" srcId="{DF9A9F5F-8DE8-4DB7-810D-051ED7BBDBF2}" destId="{E3012FCF-5B39-4F03-8437-17CA601B516B}" srcOrd="0" destOrd="0" presId="urn:microsoft.com/office/officeart/2005/8/layout/hierarchy2"/>
    <dgm:cxn modelId="{D4839B10-3548-4471-9309-E3BFC67523E7}" type="presOf" srcId="{B0344F78-9A1D-4A20-8CEC-A73255DC426C}" destId="{A7CE9535-D65E-4F68-8708-2F03B93945C9}" srcOrd="0" destOrd="0" presId="urn:microsoft.com/office/officeart/2005/8/layout/hierarchy2"/>
    <dgm:cxn modelId="{C93D1A4C-8D25-4D47-8D54-F31103B24B96}" srcId="{637EB484-7E84-4442-9EBA-923FDDFCB8DC}" destId="{BD84F896-3391-4A7E-BCE1-86E7301F1728}" srcOrd="1" destOrd="0" parTransId="{6DC37D20-7256-43A0-A6E3-91B03340EA7F}" sibTransId="{761E89D8-BF0E-4D5F-8DAD-25F71C79440F}"/>
    <dgm:cxn modelId="{BCAA7645-C7AB-4D7D-AAA3-1348BB1D4A0C}" srcId="{1953F410-8066-4EDA-8090-5EFA2D382761}" destId="{DA7964E5-2361-4C35-9A20-9E82738DAFBF}" srcOrd="0" destOrd="0" parTransId="{2D5241D9-E151-4233-A7B2-DDCA1BAB91F7}" sibTransId="{4BBDC002-B512-4634-9C26-1E032E6CAFAB}"/>
    <dgm:cxn modelId="{AC67402B-78A8-4674-9D9E-D4B433B8D471}" type="presOf" srcId="{A09D0F6B-0941-4BCA-B5A9-E5F90351ABEC}" destId="{BF05AAA7-3700-4C9A-A700-BE4A2A222493}" srcOrd="1" destOrd="0" presId="urn:microsoft.com/office/officeart/2005/8/layout/hierarchy2"/>
    <dgm:cxn modelId="{E9A0DEBD-ADB9-46FD-BFA3-824C19E5DB49}" srcId="{E4712C24-9285-473B-83C7-5A329605262B}" destId="{56BAEE52-C4B0-4CFC-AC22-640DBDBB8CCC}" srcOrd="0" destOrd="0" parTransId="{870C8AC8-5267-49FD-99DD-105236136913}" sibTransId="{03A0AF70-D90B-4CF5-B284-60103C4CDAE6}"/>
    <dgm:cxn modelId="{28E08D36-45B8-4194-B671-8CCB67100006}" type="presOf" srcId="{3C5A5C58-89D2-47B3-8119-22F2F35519DB}" destId="{D04A649D-8AC1-47D8-BD49-770E5454D41E}" srcOrd="0" destOrd="0" presId="urn:microsoft.com/office/officeart/2005/8/layout/hierarchy2"/>
    <dgm:cxn modelId="{B7133B07-9E94-4EE2-834F-CC46A45A306A}" srcId="{D9ECCF8F-C216-4445-BBEA-74588892542B}" destId="{0A583A8A-E187-4393-A517-70F353C11C93}" srcOrd="0" destOrd="0" parTransId="{A09D0F6B-0941-4BCA-B5A9-E5F90351ABEC}" sibTransId="{2F60D934-97F7-4568-911E-E72EB9200A17}"/>
    <dgm:cxn modelId="{0D8EFE17-4DEF-4989-8E7F-6CA6021BA253}" type="presOf" srcId="{C0DCF726-FFD3-459D-811E-56252EDA2888}" destId="{92589571-4DD4-46CA-B43E-7CA68092AF45}" srcOrd="0" destOrd="0" presId="urn:microsoft.com/office/officeart/2005/8/layout/hierarchy2"/>
    <dgm:cxn modelId="{C5F0C90D-DF28-4714-9BE6-71CD6855176C}" type="presOf" srcId="{9135DB42-F7C1-4A90-AFE6-A31C2F78FA74}" destId="{ECB8AE7F-7C28-4287-8547-411BB379760A}" srcOrd="0" destOrd="0" presId="urn:microsoft.com/office/officeart/2005/8/layout/hierarchy2"/>
    <dgm:cxn modelId="{32E04A59-E093-4917-89E2-A30450C3F9BC}" srcId="{21DDC5DE-9B99-4E97-B766-ECB455617711}" destId="{52A139F3-4B9B-4125-8EB6-6B94313949BE}" srcOrd="0" destOrd="0" parTransId="{EAC11B33-D2F0-4438-811E-F13B90A6403B}" sibTransId="{CDF603EF-1968-4157-8786-64F1BFABD6F1}"/>
    <dgm:cxn modelId="{E02C48A6-4E0C-41A6-9852-2E07756EE7BD}" type="presOf" srcId="{61BC2C8A-9A11-4072-B568-8CB18DEC7F8F}" destId="{DC12A834-B6DA-499D-815C-26025D4CB66B}" srcOrd="0" destOrd="0" presId="urn:microsoft.com/office/officeart/2005/8/layout/hierarchy2"/>
    <dgm:cxn modelId="{98747481-EE32-4663-8193-0DF4A3224D65}" type="presOf" srcId="{2308B16D-767F-46BF-A890-4D7D885F512F}" destId="{27119960-C944-4E6D-A93C-F4358964A23C}" srcOrd="0" destOrd="0" presId="urn:microsoft.com/office/officeart/2005/8/layout/hierarchy2"/>
    <dgm:cxn modelId="{5BD04DD0-0D5B-43A6-9000-65F05E889C0C}" type="presOf" srcId="{E4712C24-9285-473B-83C7-5A329605262B}" destId="{930155FB-F139-4169-AB64-D8D79CC2F44C}" srcOrd="0" destOrd="0" presId="urn:microsoft.com/office/officeart/2005/8/layout/hierarchy2"/>
    <dgm:cxn modelId="{534456B8-1AF2-4764-9199-42F01D9E04AD}" type="presOf" srcId="{241DBA89-71F7-4897-BB11-CA8317B451A9}" destId="{9AFE0321-4A8C-4753-828A-C22907F1A5BD}" srcOrd="0" destOrd="0" presId="urn:microsoft.com/office/officeart/2005/8/layout/hierarchy2"/>
    <dgm:cxn modelId="{F7E1A2F5-B517-4D01-9633-E58869D22E67}" type="presOf" srcId="{637EB484-7E84-4442-9EBA-923FDDFCB8DC}" destId="{9118FA30-9ADC-49FA-9913-989D9EE59441}" srcOrd="0" destOrd="0" presId="urn:microsoft.com/office/officeart/2005/8/layout/hierarchy2"/>
    <dgm:cxn modelId="{82887354-51FC-4DE6-877E-ED7556341913}" type="presOf" srcId="{56BAEE52-C4B0-4CFC-AC22-640DBDBB8CCC}" destId="{489C7727-951F-4FF1-9B1A-3178895D6E55}" srcOrd="0" destOrd="0" presId="urn:microsoft.com/office/officeart/2005/8/layout/hierarchy2"/>
    <dgm:cxn modelId="{1D6BF784-E0FA-4AA2-A948-1054BEA2B840}" type="presOf" srcId="{8EF98D60-2523-44AD-8D40-DCB6D36AE829}" destId="{610165B9-6E7C-4D4A-818E-A3B5A8A1FD26}" srcOrd="0" destOrd="0" presId="urn:microsoft.com/office/officeart/2005/8/layout/hierarchy2"/>
    <dgm:cxn modelId="{12EDD6B3-E215-43D5-9989-203939EA26C5}" srcId="{856B431B-3763-4ACE-AC3E-B834922EF9A3}" destId="{1953F410-8066-4EDA-8090-5EFA2D382761}" srcOrd="0" destOrd="0" parTransId="{44DAB497-14C7-496D-AAF3-CF3DC2C9BA77}" sibTransId="{DED95C07-975C-4526-B218-8A08500DDC55}"/>
    <dgm:cxn modelId="{C705946F-93A1-43C7-BFE5-71C66A69BBD5}" type="presOf" srcId="{0796C562-7B15-4DC9-91C3-EE7DD156E04C}" destId="{8D51E2AD-DC72-46A3-9EDC-F0102E82689C}" srcOrd="0" destOrd="0" presId="urn:microsoft.com/office/officeart/2005/8/layout/hierarchy2"/>
    <dgm:cxn modelId="{FAEBD1FE-AE11-40D0-A18D-E33FB23C3394}" type="presOf" srcId="{6364268D-CB2B-42D8-9944-4023890DA0B5}" destId="{EA44E66D-702E-4503-9B0F-F57A526D1649}" srcOrd="0" destOrd="0" presId="urn:microsoft.com/office/officeart/2005/8/layout/hierarchy2"/>
    <dgm:cxn modelId="{CAFE5368-35DB-4CCB-918C-F71B468A8404}" type="presOf" srcId="{A7D5C2C3-5C17-44AB-B388-191B53D92BD4}" destId="{ED43762F-43F7-41A7-87A3-CD26F8C6C4C1}" srcOrd="0" destOrd="0" presId="urn:microsoft.com/office/officeart/2005/8/layout/hierarchy2"/>
    <dgm:cxn modelId="{3CAD22B9-FF46-40C0-B89C-FCB02A43570E}" type="presOf" srcId="{8E0C410E-6E05-4517-86B0-02964E82419C}" destId="{301CE99F-50B7-4443-9FFE-2DF1DC28BF6D}" srcOrd="0" destOrd="0" presId="urn:microsoft.com/office/officeart/2005/8/layout/hierarchy2"/>
    <dgm:cxn modelId="{E578A377-2AE2-44A2-9B4D-48585BFF8B68}" type="presOf" srcId="{7D3ACB0A-5200-4E01-86F6-E431CB857895}" destId="{2C1E9871-A0E3-4E41-952F-285820A1E795}" srcOrd="0" destOrd="0" presId="urn:microsoft.com/office/officeart/2005/8/layout/hierarchy2"/>
    <dgm:cxn modelId="{11E420F7-874E-43CD-80D9-AFD317CD05F4}" type="presOf" srcId="{D3215F3E-CA0C-495B-AF6C-B5D3E643AB08}" destId="{A054D8A5-6691-43D7-80E5-5CF5E3850791}" srcOrd="0" destOrd="0" presId="urn:microsoft.com/office/officeart/2005/8/layout/hierarchy2"/>
    <dgm:cxn modelId="{6F5B23FC-26DC-4EAB-8016-813EF03134B3}" type="presOf" srcId="{B0344F78-9A1D-4A20-8CEC-A73255DC426C}" destId="{FC45D4F0-A71C-43DC-ADF0-3D391FAE94FC}" srcOrd="1" destOrd="0" presId="urn:microsoft.com/office/officeart/2005/8/layout/hierarchy2"/>
    <dgm:cxn modelId="{F3703FDF-0737-4A40-9384-DA904D057DAD}" srcId="{44507B4B-9266-486A-8E7D-E1A4D9F074D9}" destId="{3C5A5C58-89D2-47B3-8119-22F2F35519DB}" srcOrd="0" destOrd="0" parTransId="{2308B16D-767F-46BF-A890-4D7D885F512F}" sibTransId="{75C1272E-E378-4DAE-91BE-023110B794A7}"/>
    <dgm:cxn modelId="{E998DA0A-AA5A-4D30-AAB4-BC7063F9D8FB}" srcId="{E1C0B63F-4A3F-4EC8-B210-F7839B2FECE2}" destId="{7D3ACB0A-5200-4E01-86F6-E431CB857895}" srcOrd="0" destOrd="0" parTransId="{8EF98D60-2523-44AD-8D40-DCB6D36AE829}" sibTransId="{2AEA2C45-7192-428E-8AF1-6CDA34840DD1}"/>
    <dgm:cxn modelId="{98F58440-DDAC-46C9-815A-6CAEE69D60A2}" type="presOf" srcId="{D150FC47-6525-48FF-A76E-D4922610D20D}" destId="{33E1FDD1-1650-4FF9-93C8-18DD2C1244FA}" srcOrd="0" destOrd="0" presId="urn:microsoft.com/office/officeart/2005/8/layout/hierarchy2"/>
    <dgm:cxn modelId="{0EDD8D7F-EABC-48C6-9E88-3F088DA99E43}" srcId="{E5CF2587-25FD-468D-8F34-9171FA20A895}" destId="{7BC04EE6-3F87-4FEC-9DDD-E70C474C57C3}" srcOrd="0" destOrd="0" parTransId="{CAB56581-55F3-48D5-A9D1-F901044A0A1F}" sibTransId="{A7BA0041-395D-4686-81F9-3A1BC2ADC057}"/>
    <dgm:cxn modelId="{12F63D44-2CF2-4C42-863A-DB4396FFEBF3}" type="presOf" srcId="{132DD7D3-47DF-4E15-AECB-9D690779C64A}" destId="{DB9449DD-EBE3-4D54-BB8D-22A78C90E4AD}" srcOrd="1" destOrd="0" presId="urn:microsoft.com/office/officeart/2005/8/layout/hierarchy2"/>
    <dgm:cxn modelId="{C2ED5FD4-170C-4A24-8109-C93F0EF0EE11}" type="presOf" srcId="{DC5B0490-33C2-447D-B481-BCE8726F8C67}" destId="{0DA1F643-BCDA-4B38-B56E-C665C53777A5}" srcOrd="0" destOrd="0" presId="urn:microsoft.com/office/officeart/2005/8/layout/hierarchy2"/>
    <dgm:cxn modelId="{45080C5E-7B70-48AF-BB04-96C302AF6010}" type="presOf" srcId="{4D0AD6E8-2286-43F6-8FBB-0BD623CD643D}" destId="{064859DA-2AFA-4F2C-92D6-5FB2A2DA1585}" srcOrd="1" destOrd="0" presId="urn:microsoft.com/office/officeart/2005/8/layout/hierarchy2"/>
    <dgm:cxn modelId="{E013B22A-DB3E-4082-8284-2360F918EC90}" type="presOf" srcId="{0A583A8A-E187-4393-A517-70F353C11C93}" destId="{D712443A-58CB-4A73-B56D-2481BB9654F1}" srcOrd="0" destOrd="0" presId="urn:microsoft.com/office/officeart/2005/8/layout/hierarchy2"/>
    <dgm:cxn modelId="{D3A97097-D851-4C52-8E70-12BB782B43D8}" srcId="{7D3ACB0A-5200-4E01-86F6-E431CB857895}" destId="{9135DB42-F7C1-4A90-AFE6-A31C2F78FA74}" srcOrd="0" destOrd="0" parTransId="{A7D5C2C3-5C17-44AB-B388-191B53D92BD4}" sibTransId="{95B40C1F-EB33-4EDA-9745-3E0F199346AE}"/>
    <dgm:cxn modelId="{5B99F0EC-33A2-4F46-B462-F2FE316DA428}" type="presOf" srcId="{35CE56EA-113C-4B0F-8789-F3AE3F0EEFE5}" destId="{7B93CC11-6B0B-477E-9728-C31E763870B6}" srcOrd="0" destOrd="0" presId="urn:microsoft.com/office/officeart/2005/8/layout/hierarchy2"/>
    <dgm:cxn modelId="{F1640CD7-9EB1-4232-A949-50AC11F65799}" srcId="{56BAEE52-C4B0-4CFC-AC22-640DBDBB8CCC}" destId="{DD9A32D6-3A1C-40B9-8533-E53F4E7404F7}" srcOrd="0" destOrd="0" parTransId="{FCDB5946-F89C-4AF3-8668-F34E75389066}" sibTransId="{AF61784F-0A65-4F25-B5C7-5D5932E41F08}"/>
    <dgm:cxn modelId="{450B3806-EF3F-46A1-8326-F5D703C881A4}" type="presOf" srcId="{CACE0FA0-AD5C-4691-A96C-9BAD7FD2858D}" destId="{EF71F697-9ACA-459C-8A1F-6AA267FB5D74}" srcOrd="0" destOrd="0" presId="urn:microsoft.com/office/officeart/2005/8/layout/hierarchy2"/>
    <dgm:cxn modelId="{91FF64D9-E419-46BC-AE49-4B3DDBEDF9E7}" type="presOf" srcId="{E5CF2587-25FD-468D-8F34-9171FA20A895}" destId="{27CE4C14-F6FD-4D9A-B121-0B5BCBA0A1ED}" srcOrd="0" destOrd="0" presId="urn:microsoft.com/office/officeart/2005/8/layout/hierarchy2"/>
    <dgm:cxn modelId="{CC5871A6-E4C4-4AE9-9040-FB61B6E35462}" type="presOf" srcId="{4D0AD6E8-2286-43F6-8FBB-0BD623CD643D}" destId="{06DCCD70-4989-477A-A598-73336B5D167D}" srcOrd="0" destOrd="0" presId="urn:microsoft.com/office/officeart/2005/8/layout/hierarchy2"/>
    <dgm:cxn modelId="{C5D11BC0-E1A8-419A-A58B-C2961D872655}" type="presOf" srcId="{B07B2124-D362-408B-BD97-0A3DD6B0B63C}" destId="{CE054EA8-8C3D-42DC-A0DC-E0CC0DDC038F}" srcOrd="0" destOrd="0" presId="urn:microsoft.com/office/officeart/2005/8/layout/hierarchy2"/>
    <dgm:cxn modelId="{B6534EBD-CF57-41B3-8F82-DDA9046431DE}" type="presOf" srcId="{44DAB497-14C7-496D-AAF3-CF3DC2C9BA77}" destId="{03C6D883-65BE-4887-A1AB-B50EFF842EBC}" srcOrd="0" destOrd="0" presId="urn:microsoft.com/office/officeart/2005/8/layout/hierarchy2"/>
    <dgm:cxn modelId="{730E753C-5920-4102-939F-621A024C64A2}" type="presOf" srcId="{35CE56EA-113C-4B0F-8789-F3AE3F0EEFE5}" destId="{AFFBABD5-7F24-4F8C-A387-D9A52CB3E846}" srcOrd="1" destOrd="0" presId="urn:microsoft.com/office/officeart/2005/8/layout/hierarchy2"/>
    <dgm:cxn modelId="{85A5D1DD-BF8E-4D90-984A-DAC45EE67AC0}" type="presOf" srcId="{2D5241D9-E151-4233-A7B2-DDCA1BAB91F7}" destId="{A4D3CAEA-9F74-4C96-BED1-93C65A6CEBCF}" srcOrd="0" destOrd="0" presId="urn:microsoft.com/office/officeart/2005/8/layout/hierarchy2"/>
    <dgm:cxn modelId="{8A91EBDD-7BAE-4E35-B594-7D37476A7C8F}" type="presOf" srcId="{1504C198-6E25-43AC-AA3B-E4FFAB042CB6}" destId="{BE3DFC82-9A88-4944-A400-507EF3E9BC18}" srcOrd="1" destOrd="0" presId="urn:microsoft.com/office/officeart/2005/8/layout/hierarchy2"/>
    <dgm:cxn modelId="{71BD358F-AB01-4B37-B368-A7DF6B84F2E2}" type="presOf" srcId="{C3FC119E-CA58-43CF-BAD1-D04466E6D769}" destId="{64CBC78F-8907-4BF2-8E76-E9100325F05D}" srcOrd="0" destOrd="0" presId="urn:microsoft.com/office/officeart/2005/8/layout/hierarchy2"/>
    <dgm:cxn modelId="{1F7E48BE-92E2-4E0F-9C67-B6F57DFDF268}" type="presOf" srcId="{741FD50D-3953-4FC8-B5A7-C955AD187B9C}" destId="{3EDEF5B7-F3E7-47E5-B56D-965116B60886}" srcOrd="0" destOrd="0" presId="urn:microsoft.com/office/officeart/2005/8/layout/hierarchy2"/>
    <dgm:cxn modelId="{A9C54C3D-4218-4D58-AD43-3E97F71B638C}" type="presOf" srcId="{A1262C4C-AEFA-48D7-A018-46347234E2AB}" destId="{16095890-FB03-4FAE-9DEE-8CC3AF86B4DA}" srcOrd="0" destOrd="0" presId="urn:microsoft.com/office/officeart/2005/8/layout/hierarchy2"/>
    <dgm:cxn modelId="{3AAD0D00-B793-4366-AE87-09B29E51787D}" type="presOf" srcId="{DD9A32D6-3A1C-40B9-8533-E53F4E7404F7}" destId="{4A9A6F42-3DD9-4FEF-B42B-B32E553C2FDD}" srcOrd="0" destOrd="0" presId="urn:microsoft.com/office/officeart/2005/8/layout/hierarchy2"/>
    <dgm:cxn modelId="{E1D0FB30-B767-4759-B5D1-CDDE910A1A2D}" type="presOf" srcId="{2CCF186E-DFA8-4EAE-8A5A-B48CCB7C7B5F}" destId="{67D5BC62-10FA-42F5-B237-3D6C9EEA678C}" srcOrd="0" destOrd="0" presId="urn:microsoft.com/office/officeart/2005/8/layout/hierarchy2"/>
    <dgm:cxn modelId="{E065F6BB-A402-455C-BD0C-E5AD428AACD1}" srcId="{E1C0B63F-4A3F-4EC8-B210-F7839B2FECE2}" destId="{856B431B-3763-4ACE-AC3E-B834922EF9A3}" srcOrd="1" destOrd="0" parTransId="{6364268D-CB2B-42D8-9944-4023890DA0B5}" sibTransId="{56DB99DC-DAD9-424D-9329-CE3621D90411}"/>
    <dgm:cxn modelId="{6CC8BD30-A592-46C8-B998-835D9B0BFEDA}" type="presOf" srcId="{6669D5B3-A9D1-4706-8DDA-1D872E29C16C}" destId="{3E3D7FFA-550E-4282-9CF5-1D1B53B788CB}" srcOrd="1" destOrd="0" presId="urn:microsoft.com/office/officeart/2005/8/layout/hierarchy2"/>
    <dgm:cxn modelId="{6E3E9731-89E1-47F5-8454-B1E43F88B886}" type="presOf" srcId="{2D5241D9-E151-4233-A7B2-DDCA1BAB91F7}" destId="{BDA65428-9891-43E3-9F36-BF7E03F1E3A6}" srcOrd="1" destOrd="0" presId="urn:microsoft.com/office/officeart/2005/8/layout/hierarchy2"/>
    <dgm:cxn modelId="{F4F9EAC6-C873-4E69-9F8F-AF1D77AD324F}" type="presOf" srcId="{53FE0367-7FC1-491E-BA94-67A1090DA523}" destId="{B7584805-5372-422F-A900-F7ABA0E37B72}" srcOrd="1" destOrd="0" presId="urn:microsoft.com/office/officeart/2005/8/layout/hierarchy2"/>
    <dgm:cxn modelId="{1D284630-B2E0-4382-851B-86CB7221E9F4}" srcId="{BBB33E5B-0101-4F6A-BCBF-F16326938656}" destId="{B7DA79A8-4168-47F9-BC50-DE3ECAC2F7BA}" srcOrd="0" destOrd="0" parTransId="{CACE0FA0-AD5C-4691-A96C-9BAD7FD2858D}" sibTransId="{63E9E6F0-D665-4946-BD4E-FEA6FACF7421}"/>
    <dgm:cxn modelId="{871A6613-337A-478C-AD2D-925E2840ABB5}" srcId="{637EB484-7E84-4442-9EBA-923FDDFCB8DC}" destId="{E5CF2587-25FD-468D-8F34-9171FA20A895}" srcOrd="0" destOrd="0" parTransId="{4D0AD6E8-2286-43F6-8FBB-0BD623CD643D}" sibTransId="{EFC4171F-BC48-4556-837F-35F9D19E11C9}"/>
    <dgm:cxn modelId="{E5071817-11BC-4A99-9A62-A6D1F4B138E5}" srcId="{BD84F896-3391-4A7E-BCE1-86E7301F1728}" destId="{28046F73-54AA-4C6A-9E54-A7D52AACE52C}" srcOrd="0" destOrd="0" parTransId="{2CCF186E-DFA8-4EAE-8A5A-B48CCB7C7B5F}" sibTransId="{DFB52FFE-AB54-4146-98BF-4F950EEBF055}"/>
    <dgm:cxn modelId="{3AAFC73B-82BC-463E-9543-B5AC4C60CE4A}" type="presOf" srcId="{1E1D4233-C2A7-48BD-97BC-183FC81F2273}" destId="{4C4A0A5D-44DF-4056-8766-D5A9A8F83B78}" srcOrd="0" destOrd="0" presId="urn:microsoft.com/office/officeart/2005/8/layout/hierarchy2"/>
    <dgm:cxn modelId="{642347B2-A682-4228-81A1-5C4D942DD5A1}" type="presOf" srcId="{28046F73-54AA-4C6A-9E54-A7D52AACE52C}" destId="{0E24562B-F3DA-49BE-AB50-841548E8DA44}" srcOrd="0" destOrd="0" presId="urn:microsoft.com/office/officeart/2005/8/layout/hierarchy2"/>
    <dgm:cxn modelId="{A4579B08-0A10-441A-B480-BD6C7F6D8646}" type="presOf" srcId="{CAB56581-55F3-48D5-A9D1-F901044A0A1F}" destId="{A9F2EAC5-5009-462F-A636-1F8D32BAD699}" srcOrd="1" destOrd="0" presId="urn:microsoft.com/office/officeart/2005/8/layout/hierarchy2"/>
    <dgm:cxn modelId="{C25917D9-6CA4-44E3-8AD1-F4621BC40359}" type="presOf" srcId="{C3FC119E-CA58-43CF-BAD1-D04466E6D769}" destId="{E217DA48-F5B5-4457-82BB-65C762158116}" srcOrd="1" destOrd="0" presId="urn:microsoft.com/office/officeart/2005/8/layout/hierarchy2"/>
    <dgm:cxn modelId="{F341451A-8F52-4D60-973E-000989E412D3}" type="presOf" srcId="{44DAB497-14C7-496D-AAF3-CF3DC2C9BA77}" destId="{9BD84277-2451-4BFF-AC1A-923244943469}" srcOrd="1" destOrd="0" presId="urn:microsoft.com/office/officeart/2005/8/layout/hierarchy2"/>
    <dgm:cxn modelId="{9D7D3F7E-A0A0-451B-BE5B-D06F17D30C33}" type="presOf" srcId="{A7D5C2C3-5C17-44AB-B388-191B53D92BD4}" destId="{2B3696E3-80D3-4860-B2A3-13E2F49D39A9}" srcOrd="1" destOrd="0" presId="urn:microsoft.com/office/officeart/2005/8/layout/hierarchy2"/>
    <dgm:cxn modelId="{D0067689-6A04-4385-9F96-138B399CFE6D}" type="presOf" srcId="{52A139F3-4B9B-4125-8EB6-6B94313949BE}" destId="{E5C0017F-946D-4279-9A20-9CCEBDC9310D}" srcOrd="0" destOrd="0" presId="urn:microsoft.com/office/officeart/2005/8/layout/hierarchy2"/>
    <dgm:cxn modelId="{448EBD7C-8395-4E74-B8A3-18814D3ED355}" type="presOf" srcId="{41F54619-B334-4666-BC49-6BDA2B26C33B}" destId="{839B0A27-C8D3-4BD8-A8EB-DAA0ED9BA6C2}" srcOrd="1" destOrd="0" presId="urn:microsoft.com/office/officeart/2005/8/layout/hierarchy2"/>
    <dgm:cxn modelId="{BA3AF456-AFDD-4382-B44E-BB941A89EBA6}" type="presOf" srcId="{B7DA79A8-4168-47F9-BC50-DE3ECAC2F7BA}" destId="{820341DB-D83E-4C22-A219-95EB35FDD3B8}" srcOrd="0" destOrd="0" presId="urn:microsoft.com/office/officeart/2005/8/layout/hierarchy2"/>
    <dgm:cxn modelId="{3606B5C0-473C-4A53-942F-44EC3DF0964D}" type="presOf" srcId="{CD06216A-2545-4F88-8EAA-73304E730F0A}" destId="{B865784A-4175-4B9B-881C-9848CEE15B9A}" srcOrd="0" destOrd="0" presId="urn:microsoft.com/office/officeart/2005/8/layout/hierarchy2"/>
    <dgm:cxn modelId="{E93FFBD6-79F4-49E1-AF82-351E000EDC23}" srcId="{28046F73-54AA-4C6A-9E54-A7D52AACE52C}" destId="{BD8D4506-E274-45FA-A27D-B67781094E43}" srcOrd="0" destOrd="0" parTransId="{53FE0367-7FC1-491E-BA94-67A1090DA523}" sibTransId="{F160AA68-FA40-4BF7-AF91-D6327B5F1C98}"/>
    <dgm:cxn modelId="{CDDB7BC8-10CB-4E13-BE30-F1A32AC53154}" type="presOf" srcId="{D150FC47-6525-48FF-A76E-D4922610D20D}" destId="{BEAC6AD5-4FC7-4281-B952-10CE492086ED}" srcOrd="1" destOrd="0" presId="urn:microsoft.com/office/officeart/2005/8/layout/hierarchy2"/>
    <dgm:cxn modelId="{B604E934-2031-479C-BCFC-7FFB109DD93D}" type="presOf" srcId="{257CBB86-C053-4002-B088-C2CE2CB2130E}" destId="{A1D7EFE2-794D-476C-9736-0CA292CDF581}" srcOrd="0" destOrd="0" presId="urn:microsoft.com/office/officeart/2005/8/layout/hierarchy2"/>
    <dgm:cxn modelId="{8D62AEF9-F4BB-49B5-BC01-027E30A4E198}" type="presOf" srcId="{01945074-8BDE-4E12-9D1A-72532A706419}" destId="{32D2B3BA-CC5B-41C7-BA8D-D0DEEAE28D36}" srcOrd="0" destOrd="0" presId="urn:microsoft.com/office/officeart/2005/8/layout/hierarchy2"/>
    <dgm:cxn modelId="{0DD35EB0-BD03-42D9-8C25-DF139D70B768}" type="presOf" srcId="{41F54619-B334-4666-BC49-6BDA2B26C33B}" destId="{5096245B-7BAE-443C-BF77-9C53649E1A91}" srcOrd="0" destOrd="0" presId="urn:microsoft.com/office/officeart/2005/8/layout/hierarchy2"/>
    <dgm:cxn modelId="{99CAC7CE-A027-43B0-BFD0-EB37F508C34E}" type="presOf" srcId="{B07B2124-D362-408B-BD97-0A3DD6B0B63C}" destId="{A3EF70D3-A2EF-476E-8FCC-A64C1C8377CB}" srcOrd="1" destOrd="0" presId="urn:microsoft.com/office/officeart/2005/8/layout/hierarchy2"/>
    <dgm:cxn modelId="{1AC18061-1263-431A-866F-F931A2E44928}" type="presOf" srcId="{F197D403-7955-44B1-BD6F-33BC1637FE03}" destId="{9BA9F55D-52FF-4A25-890F-C3FE226830D0}" srcOrd="0" destOrd="0" presId="urn:microsoft.com/office/officeart/2005/8/layout/hierarchy2"/>
    <dgm:cxn modelId="{6008DF10-7C4A-4851-BAA9-9B7D16BB6BE6}" srcId="{257CBB86-C053-4002-B088-C2CE2CB2130E}" destId="{637EB484-7E84-4442-9EBA-923FDDFCB8DC}" srcOrd="0" destOrd="0" parTransId="{41F54619-B334-4666-BC49-6BDA2B26C33B}" sibTransId="{FEC68BD1-4B54-4C10-A1BB-CEAD6E72C7D9}"/>
    <dgm:cxn modelId="{74A456A9-7C83-42D2-A89F-F255B5126EBA}" type="presOf" srcId="{4CBA450D-DD1E-49BA-8B98-368DD345F9E1}" destId="{1FD5C97E-0668-45B7-B93D-0D5C9D7CA059}" srcOrd="0" destOrd="0" presId="urn:microsoft.com/office/officeart/2005/8/layout/hierarchy2"/>
    <dgm:cxn modelId="{19E14E30-329B-4591-8BB4-7AC2B3FFB611}" type="presOf" srcId="{21DDC5DE-9B99-4E97-B766-ECB455617711}" destId="{5313DD18-2AA9-437F-A599-4C91CB8D295D}" srcOrd="0" destOrd="0" presId="urn:microsoft.com/office/officeart/2005/8/layout/hierarchy2"/>
    <dgm:cxn modelId="{732F7781-555F-404D-957C-1B5702032025}" type="presOf" srcId="{19D17BC3-DE47-46E8-B9FC-28EE0309AE1E}" destId="{683BB978-3339-4A8E-BF65-CBB9D1AC00DB}" srcOrd="0" destOrd="0" presId="urn:microsoft.com/office/officeart/2005/8/layout/hierarchy2"/>
    <dgm:cxn modelId="{A0B0AF11-02DE-4C3C-8597-4665176CE890}" type="presOf" srcId="{8EF98D60-2523-44AD-8D40-DCB6D36AE829}" destId="{E3C2E795-9E42-42B1-A47B-D9925E35E89F}" srcOrd="1" destOrd="0" presId="urn:microsoft.com/office/officeart/2005/8/layout/hierarchy2"/>
    <dgm:cxn modelId="{BEBA4277-B844-4B43-B3DA-D909CA0CEE6E}" srcId="{0A583A8A-E187-4393-A517-70F353C11C93}" destId="{CD06216A-2545-4F88-8EAA-73304E730F0A}" srcOrd="0" destOrd="0" parTransId="{F016D453-A6DD-4165-BBF9-3EF77E40AED9}" sibTransId="{DE53562A-4BB6-4267-B4C6-BAFAEE99D08E}"/>
    <dgm:cxn modelId="{A350261C-1010-4605-91EA-C859FFCD2E0C}" type="presParOf" srcId="{32D9E3BE-2C09-46ED-8CC5-C0644F1FC105}" destId="{FEB30220-49CF-4CB6-ACCC-B1C650F4EB16}" srcOrd="0" destOrd="0" presId="urn:microsoft.com/office/officeart/2005/8/layout/hierarchy2"/>
    <dgm:cxn modelId="{9E8B3457-D6FE-413D-898B-37142CCCCBBD}" type="presParOf" srcId="{FEB30220-49CF-4CB6-ACCC-B1C650F4EB16}" destId="{9BA9F55D-52FF-4A25-890F-C3FE226830D0}" srcOrd="0" destOrd="0" presId="urn:microsoft.com/office/officeart/2005/8/layout/hierarchy2"/>
    <dgm:cxn modelId="{53E5CEFC-8239-4700-BF05-1399C191E886}" type="presParOf" srcId="{FEB30220-49CF-4CB6-ACCC-B1C650F4EB16}" destId="{F87F221F-F78F-492F-BDD7-B936F7836852}" srcOrd="1" destOrd="0" presId="urn:microsoft.com/office/officeart/2005/8/layout/hierarchy2"/>
    <dgm:cxn modelId="{195F3709-CC02-495B-9A7B-A0BF2AB1238D}" type="presParOf" srcId="{F87F221F-F78F-492F-BDD7-B936F7836852}" destId="{EB3094ED-1AAC-4C13-A2A2-9AA90DD7894D}" srcOrd="0" destOrd="0" presId="urn:microsoft.com/office/officeart/2005/8/layout/hierarchy2"/>
    <dgm:cxn modelId="{840CF466-D5B0-4867-82F2-1AD0D2B0A369}" type="presParOf" srcId="{EB3094ED-1AAC-4C13-A2A2-9AA90DD7894D}" destId="{DE1CD99C-6FFA-43D7-9386-BB0AE993CF57}" srcOrd="0" destOrd="0" presId="urn:microsoft.com/office/officeart/2005/8/layout/hierarchy2"/>
    <dgm:cxn modelId="{2CA8C76E-E28E-48C5-8915-F8119E7F8986}" type="presParOf" srcId="{F87F221F-F78F-492F-BDD7-B936F7836852}" destId="{ED7AFB72-915F-4FBB-A765-7AEE1A8CCE24}" srcOrd="1" destOrd="0" presId="urn:microsoft.com/office/officeart/2005/8/layout/hierarchy2"/>
    <dgm:cxn modelId="{5A412D60-33AD-42FB-9921-41BBF982E371}" type="presParOf" srcId="{ED7AFB72-915F-4FBB-A765-7AEE1A8CCE24}" destId="{DC12A834-B6DA-499D-815C-26025D4CB66B}" srcOrd="0" destOrd="0" presId="urn:microsoft.com/office/officeart/2005/8/layout/hierarchy2"/>
    <dgm:cxn modelId="{D2447E4A-3C3D-4107-9C87-94C7686A6361}" type="presParOf" srcId="{ED7AFB72-915F-4FBB-A765-7AEE1A8CCE24}" destId="{F8B5465E-2C5D-4092-A636-28A449BAE32F}" srcOrd="1" destOrd="0" presId="urn:microsoft.com/office/officeart/2005/8/layout/hierarchy2"/>
    <dgm:cxn modelId="{2342919C-4B02-4C68-8BBC-D1596604E516}" type="presParOf" srcId="{F8B5465E-2C5D-4092-A636-28A449BAE32F}" destId="{33E1FDD1-1650-4FF9-93C8-18DD2C1244FA}" srcOrd="0" destOrd="0" presId="urn:microsoft.com/office/officeart/2005/8/layout/hierarchy2"/>
    <dgm:cxn modelId="{8BD43B01-A0CD-4B2B-9AD9-751F8961048C}" type="presParOf" srcId="{33E1FDD1-1650-4FF9-93C8-18DD2C1244FA}" destId="{BEAC6AD5-4FC7-4281-B952-10CE492086ED}" srcOrd="0" destOrd="0" presId="urn:microsoft.com/office/officeart/2005/8/layout/hierarchy2"/>
    <dgm:cxn modelId="{BCF2BCB4-B238-4322-BB4C-250A696262BC}" type="presParOf" srcId="{F8B5465E-2C5D-4092-A636-28A449BAE32F}" destId="{89A604D1-C2FB-4922-87F7-590E25503E5D}" srcOrd="1" destOrd="0" presId="urn:microsoft.com/office/officeart/2005/8/layout/hierarchy2"/>
    <dgm:cxn modelId="{30DA2D92-91E9-45F8-99BD-A67883F45072}" type="presParOf" srcId="{89A604D1-C2FB-4922-87F7-590E25503E5D}" destId="{8445E1AA-924E-4159-94AF-384BE46B79F7}" srcOrd="0" destOrd="0" presId="urn:microsoft.com/office/officeart/2005/8/layout/hierarchy2"/>
    <dgm:cxn modelId="{2FB3DC5C-C008-4063-AFAD-5FCFD20E35AE}" type="presParOf" srcId="{89A604D1-C2FB-4922-87F7-590E25503E5D}" destId="{A1FC29FA-A2D7-42D4-B3E2-6570E0187D38}" srcOrd="1" destOrd="0" presId="urn:microsoft.com/office/officeart/2005/8/layout/hierarchy2"/>
    <dgm:cxn modelId="{C65DD0B8-238E-44C9-8CDE-7F012B75433E}" type="presParOf" srcId="{A1FC29FA-A2D7-42D4-B3E2-6570E0187D38}" destId="{610165B9-6E7C-4D4A-818E-A3B5A8A1FD26}" srcOrd="0" destOrd="0" presId="urn:microsoft.com/office/officeart/2005/8/layout/hierarchy2"/>
    <dgm:cxn modelId="{3F164C32-2F7A-49A7-AAC7-7FB90EF2711E}" type="presParOf" srcId="{610165B9-6E7C-4D4A-818E-A3B5A8A1FD26}" destId="{E3C2E795-9E42-42B1-A47B-D9925E35E89F}" srcOrd="0" destOrd="0" presId="urn:microsoft.com/office/officeart/2005/8/layout/hierarchy2"/>
    <dgm:cxn modelId="{535DCE5B-7162-422F-9CFF-B927ECF714EB}" type="presParOf" srcId="{A1FC29FA-A2D7-42D4-B3E2-6570E0187D38}" destId="{F44E15A5-723A-4DC4-8B91-76AF02348A10}" srcOrd="1" destOrd="0" presId="urn:microsoft.com/office/officeart/2005/8/layout/hierarchy2"/>
    <dgm:cxn modelId="{4303D32E-053E-464B-9708-CF931BCFC1C4}" type="presParOf" srcId="{F44E15A5-723A-4DC4-8B91-76AF02348A10}" destId="{2C1E9871-A0E3-4E41-952F-285820A1E795}" srcOrd="0" destOrd="0" presId="urn:microsoft.com/office/officeart/2005/8/layout/hierarchy2"/>
    <dgm:cxn modelId="{CABDB763-B190-4D5B-B671-EF01B12578F7}" type="presParOf" srcId="{F44E15A5-723A-4DC4-8B91-76AF02348A10}" destId="{9B0EF370-5B93-4571-B2BA-530EFBE7C6FA}" srcOrd="1" destOrd="0" presId="urn:microsoft.com/office/officeart/2005/8/layout/hierarchy2"/>
    <dgm:cxn modelId="{DB83E254-9E2C-4076-9D27-87DECBC5B0C0}" type="presParOf" srcId="{9B0EF370-5B93-4571-B2BA-530EFBE7C6FA}" destId="{ED43762F-43F7-41A7-87A3-CD26F8C6C4C1}" srcOrd="0" destOrd="0" presId="urn:microsoft.com/office/officeart/2005/8/layout/hierarchy2"/>
    <dgm:cxn modelId="{3C531AA5-9FB0-4F7C-ACA0-64549AB72F94}" type="presParOf" srcId="{ED43762F-43F7-41A7-87A3-CD26F8C6C4C1}" destId="{2B3696E3-80D3-4860-B2A3-13E2F49D39A9}" srcOrd="0" destOrd="0" presId="urn:microsoft.com/office/officeart/2005/8/layout/hierarchy2"/>
    <dgm:cxn modelId="{B26F344B-EB86-4233-91CF-8162473DC32A}" type="presParOf" srcId="{9B0EF370-5B93-4571-B2BA-530EFBE7C6FA}" destId="{5B4D6697-309C-4869-8398-B74D5D90ABCB}" srcOrd="1" destOrd="0" presId="urn:microsoft.com/office/officeart/2005/8/layout/hierarchy2"/>
    <dgm:cxn modelId="{4896761D-A2D5-4844-BAA9-A3B1359F5FC7}" type="presParOf" srcId="{5B4D6697-309C-4869-8398-B74D5D90ABCB}" destId="{ECB8AE7F-7C28-4287-8547-411BB379760A}" srcOrd="0" destOrd="0" presId="urn:microsoft.com/office/officeart/2005/8/layout/hierarchy2"/>
    <dgm:cxn modelId="{27DD4104-0687-4698-97AD-A364B9FA1270}" type="presParOf" srcId="{5B4D6697-309C-4869-8398-B74D5D90ABCB}" destId="{438F6BFF-CB50-491B-843B-7652DEEA383C}" srcOrd="1" destOrd="0" presId="urn:microsoft.com/office/officeart/2005/8/layout/hierarchy2"/>
    <dgm:cxn modelId="{6CFC259B-EF78-4B85-AF09-C656E926C389}" type="presParOf" srcId="{438F6BFF-CB50-491B-843B-7652DEEA383C}" destId="{312CDBF5-FED4-4D00-8BD6-2EBD6C00981F}" srcOrd="0" destOrd="0" presId="urn:microsoft.com/office/officeart/2005/8/layout/hierarchy2"/>
    <dgm:cxn modelId="{F416E7AF-C839-4245-8B66-EB715C1AE6D6}" type="presParOf" srcId="{312CDBF5-FED4-4D00-8BD6-2EBD6C00981F}" destId="{DE5EACE5-67E8-4B98-B9CE-9235E9565AE1}" srcOrd="0" destOrd="0" presId="urn:microsoft.com/office/officeart/2005/8/layout/hierarchy2"/>
    <dgm:cxn modelId="{3917D488-D68D-4619-9827-599796D2B6A3}" type="presParOf" srcId="{438F6BFF-CB50-491B-843B-7652DEEA383C}" destId="{63420029-00F8-4873-A8CB-7968FF517FDA}" srcOrd="1" destOrd="0" presId="urn:microsoft.com/office/officeart/2005/8/layout/hierarchy2"/>
    <dgm:cxn modelId="{96E975ED-294A-4926-844E-C7EB5CB8339F}" type="presParOf" srcId="{63420029-00F8-4873-A8CB-7968FF517FDA}" destId="{071CF0F3-3853-4358-A4AF-4C85C6249376}" srcOrd="0" destOrd="0" presId="urn:microsoft.com/office/officeart/2005/8/layout/hierarchy2"/>
    <dgm:cxn modelId="{D637C971-E17C-442D-81D8-AED0CC2549AE}" type="presParOf" srcId="{63420029-00F8-4873-A8CB-7968FF517FDA}" destId="{93114D99-A014-4FFB-A918-D26D349D0ED9}" srcOrd="1" destOrd="0" presId="urn:microsoft.com/office/officeart/2005/8/layout/hierarchy2"/>
    <dgm:cxn modelId="{2BAD0875-A0AA-4F66-A55C-CE907B62DB06}" type="presParOf" srcId="{A1FC29FA-A2D7-42D4-B3E2-6570E0187D38}" destId="{EA44E66D-702E-4503-9B0F-F57A526D1649}" srcOrd="2" destOrd="0" presId="urn:microsoft.com/office/officeart/2005/8/layout/hierarchy2"/>
    <dgm:cxn modelId="{9042FFA7-B184-4298-B778-C321F8BCF872}" type="presParOf" srcId="{EA44E66D-702E-4503-9B0F-F57A526D1649}" destId="{D3068335-F9B7-4164-A791-4E286A2AD3FB}" srcOrd="0" destOrd="0" presId="urn:microsoft.com/office/officeart/2005/8/layout/hierarchy2"/>
    <dgm:cxn modelId="{80353588-D422-4811-96F1-2C80BDC8EC63}" type="presParOf" srcId="{A1FC29FA-A2D7-42D4-B3E2-6570E0187D38}" destId="{695167D0-A0ED-4FFC-97E8-D55469710A2D}" srcOrd="3" destOrd="0" presId="urn:microsoft.com/office/officeart/2005/8/layout/hierarchy2"/>
    <dgm:cxn modelId="{8EB5425A-7E69-478A-90F4-ADF67BD9D06E}" type="presParOf" srcId="{695167D0-A0ED-4FFC-97E8-D55469710A2D}" destId="{A5D6EED7-FF47-46A2-966D-7A99646C1587}" srcOrd="0" destOrd="0" presId="urn:microsoft.com/office/officeart/2005/8/layout/hierarchy2"/>
    <dgm:cxn modelId="{4A680D2A-6D65-458F-AB55-7E030A0FAADE}" type="presParOf" srcId="{695167D0-A0ED-4FFC-97E8-D55469710A2D}" destId="{6EEB6726-370F-40F2-A379-89EBC4F0AE6B}" srcOrd="1" destOrd="0" presId="urn:microsoft.com/office/officeart/2005/8/layout/hierarchy2"/>
    <dgm:cxn modelId="{716BBF26-96B1-4F15-9CEB-EAEB2A41F31C}" type="presParOf" srcId="{6EEB6726-370F-40F2-A379-89EBC4F0AE6B}" destId="{03C6D883-65BE-4887-A1AB-B50EFF842EBC}" srcOrd="0" destOrd="0" presId="urn:microsoft.com/office/officeart/2005/8/layout/hierarchy2"/>
    <dgm:cxn modelId="{A2C86CA9-0B71-46D7-8051-767EAE0B65A5}" type="presParOf" srcId="{03C6D883-65BE-4887-A1AB-B50EFF842EBC}" destId="{9BD84277-2451-4BFF-AC1A-923244943469}" srcOrd="0" destOrd="0" presId="urn:microsoft.com/office/officeart/2005/8/layout/hierarchy2"/>
    <dgm:cxn modelId="{FF4F2F01-9193-4492-955F-7C7C4DC141C4}" type="presParOf" srcId="{6EEB6726-370F-40F2-A379-89EBC4F0AE6B}" destId="{9136BE35-EEF0-482C-859E-29E441504606}" srcOrd="1" destOrd="0" presId="urn:microsoft.com/office/officeart/2005/8/layout/hierarchy2"/>
    <dgm:cxn modelId="{2B866009-1BD1-45F1-9BF0-6FAF507B56D1}" type="presParOf" srcId="{9136BE35-EEF0-482C-859E-29E441504606}" destId="{50D85ED2-2593-4DA5-88D3-0DBED6E1093B}" srcOrd="0" destOrd="0" presId="urn:microsoft.com/office/officeart/2005/8/layout/hierarchy2"/>
    <dgm:cxn modelId="{E41DAC52-E199-45A4-8626-B4602C0F3810}" type="presParOf" srcId="{9136BE35-EEF0-482C-859E-29E441504606}" destId="{6EB6193C-9DE4-4A16-86D8-2EF8DFF956C1}" srcOrd="1" destOrd="0" presId="urn:microsoft.com/office/officeart/2005/8/layout/hierarchy2"/>
    <dgm:cxn modelId="{B0272B8C-921F-4A95-9FD3-9646E290DBE0}" type="presParOf" srcId="{6EB6193C-9DE4-4A16-86D8-2EF8DFF956C1}" destId="{A4D3CAEA-9F74-4C96-BED1-93C65A6CEBCF}" srcOrd="0" destOrd="0" presId="urn:microsoft.com/office/officeart/2005/8/layout/hierarchy2"/>
    <dgm:cxn modelId="{B5B050EF-9AAE-4B9B-8369-FBCBDE5B3370}" type="presParOf" srcId="{A4D3CAEA-9F74-4C96-BED1-93C65A6CEBCF}" destId="{BDA65428-9891-43E3-9F36-BF7E03F1E3A6}" srcOrd="0" destOrd="0" presId="urn:microsoft.com/office/officeart/2005/8/layout/hierarchy2"/>
    <dgm:cxn modelId="{0B79B24C-CD25-44FA-A915-D6BE0AE3DCAF}" type="presParOf" srcId="{6EB6193C-9DE4-4A16-86D8-2EF8DFF956C1}" destId="{BD68D024-24B9-43CD-8379-53C3AB341394}" srcOrd="1" destOrd="0" presId="urn:microsoft.com/office/officeart/2005/8/layout/hierarchy2"/>
    <dgm:cxn modelId="{82584F63-F867-4D14-B787-BED9D86906D2}" type="presParOf" srcId="{BD68D024-24B9-43CD-8379-53C3AB341394}" destId="{EB70163C-6E58-4CE5-A095-2F81F849BFAD}" srcOrd="0" destOrd="0" presId="urn:microsoft.com/office/officeart/2005/8/layout/hierarchy2"/>
    <dgm:cxn modelId="{82F1E7D2-277B-48DF-80CD-2013198A9968}" type="presParOf" srcId="{BD68D024-24B9-43CD-8379-53C3AB341394}" destId="{460FC875-7A48-4961-BD13-9C2FAC7F4415}" srcOrd="1" destOrd="0" presId="urn:microsoft.com/office/officeart/2005/8/layout/hierarchy2"/>
    <dgm:cxn modelId="{DDDD7525-B235-4DD3-9804-7AC390CC5FF1}" type="presParOf" srcId="{F8B5465E-2C5D-4092-A636-28A449BAE32F}" destId="{7B93CC11-6B0B-477E-9728-C31E763870B6}" srcOrd="2" destOrd="0" presId="urn:microsoft.com/office/officeart/2005/8/layout/hierarchy2"/>
    <dgm:cxn modelId="{BB9A915E-5D65-402E-9B49-BD0610E76954}" type="presParOf" srcId="{7B93CC11-6B0B-477E-9728-C31E763870B6}" destId="{AFFBABD5-7F24-4F8C-A387-D9A52CB3E846}" srcOrd="0" destOrd="0" presId="urn:microsoft.com/office/officeart/2005/8/layout/hierarchy2"/>
    <dgm:cxn modelId="{A79C944B-42DF-4E24-BEA6-D2AE1B5DEBB3}" type="presParOf" srcId="{F8B5465E-2C5D-4092-A636-28A449BAE32F}" destId="{F6235418-020D-4656-A830-EFA7FE5E22F8}" srcOrd="3" destOrd="0" presId="urn:microsoft.com/office/officeart/2005/8/layout/hierarchy2"/>
    <dgm:cxn modelId="{43806943-E5C2-48B6-8408-7CA72D95E751}" type="presParOf" srcId="{F6235418-020D-4656-A830-EFA7FE5E22F8}" destId="{930155FB-F139-4169-AB64-D8D79CC2F44C}" srcOrd="0" destOrd="0" presId="urn:microsoft.com/office/officeart/2005/8/layout/hierarchy2"/>
    <dgm:cxn modelId="{8A1B74FD-364D-4B28-8C44-1AE4FC69F2FE}" type="presParOf" srcId="{F6235418-020D-4656-A830-EFA7FE5E22F8}" destId="{C001A84F-8830-4428-8F33-B4DD9678F2F1}" srcOrd="1" destOrd="0" presId="urn:microsoft.com/office/officeart/2005/8/layout/hierarchy2"/>
    <dgm:cxn modelId="{442BE69B-098E-474D-9C08-3352951DE5F6}" type="presParOf" srcId="{C001A84F-8830-4428-8F33-B4DD9678F2F1}" destId="{C191BE5C-5AD3-4234-9F02-BD9392FA64E0}" srcOrd="0" destOrd="0" presId="urn:microsoft.com/office/officeart/2005/8/layout/hierarchy2"/>
    <dgm:cxn modelId="{29511B55-8DC7-44F2-93D0-9C7A8EBE857F}" type="presParOf" srcId="{C191BE5C-5AD3-4234-9F02-BD9392FA64E0}" destId="{168B7A1B-6F7A-42F3-ABDA-4ACFE8F221CA}" srcOrd="0" destOrd="0" presId="urn:microsoft.com/office/officeart/2005/8/layout/hierarchy2"/>
    <dgm:cxn modelId="{449B1365-27EF-46A8-8A1D-C5F31E807A8E}" type="presParOf" srcId="{C001A84F-8830-4428-8F33-B4DD9678F2F1}" destId="{D8CE1567-E89F-4EA3-B07E-93CEC59E40D3}" srcOrd="1" destOrd="0" presId="urn:microsoft.com/office/officeart/2005/8/layout/hierarchy2"/>
    <dgm:cxn modelId="{1645446D-B1F0-4505-8EC5-A49F2FCB34A3}" type="presParOf" srcId="{D8CE1567-E89F-4EA3-B07E-93CEC59E40D3}" destId="{489C7727-951F-4FF1-9B1A-3178895D6E55}" srcOrd="0" destOrd="0" presId="urn:microsoft.com/office/officeart/2005/8/layout/hierarchy2"/>
    <dgm:cxn modelId="{2292A056-894C-4375-80F2-86049AF2AA53}" type="presParOf" srcId="{D8CE1567-E89F-4EA3-B07E-93CEC59E40D3}" destId="{2E0146DB-E9BE-4E76-8069-4150D8A95850}" srcOrd="1" destOrd="0" presId="urn:microsoft.com/office/officeart/2005/8/layout/hierarchy2"/>
    <dgm:cxn modelId="{118BDA94-BFEF-47C6-A8F6-B795972C132F}" type="presParOf" srcId="{2E0146DB-E9BE-4E76-8069-4150D8A95850}" destId="{65B6ABAB-1550-4216-A6DB-038922ABC58A}" srcOrd="0" destOrd="0" presId="urn:microsoft.com/office/officeart/2005/8/layout/hierarchy2"/>
    <dgm:cxn modelId="{9FB3C876-B2A8-4314-81BD-680CCD72950D}" type="presParOf" srcId="{65B6ABAB-1550-4216-A6DB-038922ABC58A}" destId="{A7982A53-75BC-449E-BC65-9A93A195AF01}" srcOrd="0" destOrd="0" presId="urn:microsoft.com/office/officeart/2005/8/layout/hierarchy2"/>
    <dgm:cxn modelId="{B0BDD3CF-47A0-4AF0-939B-087DD44032CF}" type="presParOf" srcId="{2E0146DB-E9BE-4E76-8069-4150D8A95850}" destId="{64CE0741-967F-49A6-89B9-5F62CE6A4B42}" srcOrd="1" destOrd="0" presId="urn:microsoft.com/office/officeart/2005/8/layout/hierarchy2"/>
    <dgm:cxn modelId="{E91CAA9B-73A9-4A4D-9578-AD351244A66C}" type="presParOf" srcId="{64CE0741-967F-49A6-89B9-5F62CE6A4B42}" destId="{4A9A6F42-3DD9-4FEF-B42B-B32E553C2FDD}" srcOrd="0" destOrd="0" presId="urn:microsoft.com/office/officeart/2005/8/layout/hierarchy2"/>
    <dgm:cxn modelId="{44DE0A8F-3F6D-4C6F-90A0-2DD7D3A939F6}" type="presParOf" srcId="{64CE0741-967F-49A6-89B9-5F62CE6A4B42}" destId="{538A7C77-E8DC-404D-9D58-D20678E45581}" srcOrd="1" destOrd="0" presId="urn:microsoft.com/office/officeart/2005/8/layout/hierarchy2"/>
    <dgm:cxn modelId="{D7F4830E-3CAE-494F-AA87-04E45C1802F1}" type="presParOf" srcId="{538A7C77-E8DC-404D-9D58-D20678E45581}" destId="{3EDEF5B7-F3E7-47E5-B56D-965116B60886}" srcOrd="0" destOrd="0" presId="urn:microsoft.com/office/officeart/2005/8/layout/hierarchy2"/>
    <dgm:cxn modelId="{D45F04B7-92AB-4A65-A28A-44F45E7F70C0}" type="presParOf" srcId="{3EDEF5B7-F3E7-47E5-B56D-965116B60886}" destId="{648989A0-75B1-49F0-93B3-BD12051815D0}" srcOrd="0" destOrd="0" presId="urn:microsoft.com/office/officeart/2005/8/layout/hierarchy2"/>
    <dgm:cxn modelId="{6813604F-4BB5-4215-A7D4-2BB90AA20ED8}" type="presParOf" srcId="{538A7C77-E8DC-404D-9D58-D20678E45581}" destId="{89F24C06-DC64-4CC1-90AB-CD856BA30025}" srcOrd="1" destOrd="0" presId="urn:microsoft.com/office/officeart/2005/8/layout/hierarchy2"/>
    <dgm:cxn modelId="{C3CB50BD-D81B-4F40-8ADE-47E71B25C256}" type="presParOf" srcId="{89F24C06-DC64-4CC1-90AB-CD856BA30025}" destId="{4C4A0A5D-44DF-4056-8766-D5A9A8F83B78}" srcOrd="0" destOrd="0" presId="urn:microsoft.com/office/officeart/2005/8/layout/hierarchy2"/>
    <dgm:cxn modelId="{77C8670E-B65E-41CA-8354-D085D896442B}" type="presParOf" srcId="{89F24C06-DC64-4CC1-90AB-CD856BA30025}" destId="{8BEAE9F7-6C0C-4795-A9B6-AA86C03DDAA6}" srcOrd="1" destOrd="0" presId="urn:microsoft.com/office/officeart/2005/8/layout/hierarchy2"/>
    <dgm:cxn modelId="{3CAB09F8-84CC-4F14-B755-A1D12FC125C5}" type="presParOf" srcId="{C001A84F-8830-4428-8F33-B4DD9678F2F1}" destId="{C5BF7EA9-F4F6-44AB-97D8-FAC402588DEA}" srcOrd="2" destOrd="0" presId="urn:microsoft.com/office/officeart/2005/8/layout/hierarchy2"/>
    <dgm:cxn modelId="{4F4BDEEC-A245-4893-B5A1-5B9A2B146D4A}" type="presParOf" srcId="{C5BF7EA9-F4F6-44AB-97D8-FAC402588DEA}" destId="{D77B46AC-8B51-4826-A07A-82F0B58A230C}" srcOrd="0" destOrd="0" presId="urn:microsoft.com/office/officeart/2005/8/layout/hierarchy2"/>
    <dgm:cxn modelId="{0EF1A4FD-AE0C-4985-9A40-97A22EF3DA39}" type="presParOf" srcId="{C001A84F-8830-4428-8F33-B4DD9678F2F1}" destId="{5463CC41-3784-4B55-A1D2-3C2968D16B4A}" srcOrd="3" destOrd="0" presId="urn:microsoft.com/office/officeart/2005/8/layout/hierarchy2"/>
    <dgm:cxn modelId="{3DC69FF1-ED0B-4A42-9685-CA85A66CCF08}" type="presParOf" srcId="{5463CC41-3784-4B55-A1D2-3C2968D16B4A}" destId="{B6F6709F-983A-42C9-BED1-3A1152DFF161}" srcOrd="0" destOrd="0" presId="urn:microsoft.com/office/officeart/2005/8/layout/hierarchy2"/>
    <dgm:cxn modelId="{93E4E27B-89A8-482F-A023-24335A110C89}" type="presParOf" srcId="{5463CC41-3784-4B55-A1D2-3C2968D16B4A}" destId="{C7140912-3F39-44EB-A058-AB45B7250BC0}" srcOrd="1" destOrd="0" presId="urn:microsoft.com/office/officeart/2005/8/layout/hierarchy2"/>
    <dgm:cxn modelId="{9C314354-0CF9-4D4F-B0BF-97C3B83E5A58}" type="presParOf" srcId="{C7140912-3F39-44EB-A058-AB45B7250BC0}" destId="{8D51E2AD-DC72-46A3-9EDC-F0102E82689C}" srcOrd="0" destOrd="0" presId="urn:microsoft.com/office/officeart/2005/8/layout/hierarchy2"/>
    <dgm:cxn modelId="{2B1AF0FC-09E0-4982-888B-5FB563E0B2DC}" type="presParOf" srcId="{8D51E2AD-DC72-46A3-9EDC-F0102E82689C}" destId="{B689DEE1-6225-42A9-BB92-BCDC4BBA9B76}" srcOrd="0" destOrd="0" presId="urn:microsoft.com/office/officeart/2005/8/layout/hierarchy2"/>
    <dgm:cxn modelId="{FB94464B-02DB-4F56-AB01-38785B0D3D8D}" type="presParOf" srcId="{C7140912-3F39-44EB-A058-AB45B7250BC0}" destId="{4DA24159-C5CF-4814-AF51-2AC9E1A65C50}" srcOrd="1" destOrd="0" presId="urn:microsoft.com/office/officeart/2005/8/layout/hierarchy2"/>
    <dgm:cxn modelId="{9D5D53D5-2E4C-48FC-8BAC-E2CA14E3ADC4}" type="presParOf" srcId="{4DA24159-C5CF-4814-AF51-2AC9E1A65C50}" destId="{056728EF-A55C-483D-81CD-60F25A82B859}" srcOrd="0" destOrd="0" presId="urn:microsoft.com/office/officeart/2005/8/layout/hierarchy2"/>
    <dgm:cxn modelId="{62A8A9EB-1CBD-4492-9EDC-EECB229C3E2F}" type="presParOf" srcId="{4DA24159-C5CF-4814-AF51-2AC9E1A65C50}" destId="{F0150199-F659-4CB4-AD90-9239033668B9}" srcOrd="1" destOrd="0" presId="urn:microsoft.com/office/officeart/2005/8/layout/hierarchy2"/>
    <dgm:cxn modelId="{53051693-BF58-4CFD-BC33-CA84BC1E6440}" type="presParOf" srcId="{F0150199-F659-4CB4-AD90-9239033668B9}" destId="{3AC03707-86FF-42A6-AC1C-903F17822466}" srcOrd="0" destOrd="0" presId="urn:microsoft.com/office/officeart/2005/8/layout/hierarchy2"/>
    <dgm:cxn modelId="{0C1C07F8-C7A5-49CB-BDEF-F37DB2C7E59B}" type="presParOf" srcId="{3AC03707-86FF-42A6-AC1C-903F17822466}" destId="{38C82682-0420-4F31-B739-4951F67D2919}" srcOrd="0" destOrd="0" presId="urn:microsoft.com/office/officeart/2005/8/layout/hierarchy2"/>
    <dgm:cxn modelId="{186C63FD-C106-403E-8933-E233B1BE9DA5}" type="presParOf" srcId="{F0150199-F659-4CB4-AD90-9239033668B9}" destId="{21E23DC9-34E7-4DED-B96A-E9BD08220385}" srcOrd="1" destOrd="0" presId="urn:microsoft.com/office/officeart/2005/8/layout/hierarchy2"/>
    <dgm:cxn modelId="{8ACE033D-57C3-4C5B-B2E0-D90C4AFB6EAF}" type="presParOf" srcId="{21E23DC9-34E7-4DED-B96A-E9BD08220385}" destId="{A054D8A5-6691-43D7-80E5-5CF5E3850791}" srcOrd="0" destOrd="0" presId="urn:microsoft.com/office/officeart/2005/8/layout/hierarchy2"/>
    <dgm:cxn modelId="{BCAF4BBB-414F-4091-B786-42223674F546}" type="presParOf" srcId="{21E23DC9-34E7-4DED-B96A-E9BD08220385}" destId="{7091EF12-42A9-46AB-9F2B-D59F55037C1B}" srcOrd="1" destOrd="0" presId="urn:microsoft.com/office/officeart/2005/8/layout/hierarchy2"/>
    <dgm:cxn modelId="{5691E1FB-8C66-4004-A551-C3086A232447}" type="presParOf" srcId="{C001A84F-8830-4428-8F33-B4DD9678F2F1}" destId="{6506CF06-C12C-4352-9F42-76F66943EC5E}" srcOrd="4" destOrd="0" presId="urn:microsoft.com/office/officeart/2005/8/layout/hierarchy2"/>
    <dgm:cxn modelId="{6B35C66A-2D80-4522-AD63-E463CE5838ED}" type="presParOf" srcId="{6506CF06-C12C-4352-9F42-76F66943EC5E}" destId="{BE3DFC82-9A88-4944-A400-507EF3E9BC18}" srcOrd="0" destOrd="0" presId="urn:microsoft.com/office/officeart/2005/8/layout/hierarchy2"/>
    <dgm:cxn modelId="{54FC3B20-E168-4211-BACF-323FEAE845DA}" type="presParOf" srcId="{C001A84F-8830-4428-8F33-B4DD9678F2F1}" destId="{E6C48CB3-972E-416C-B682-AA6B90B43DB5}" srcOrd="5" destOrd="0" presId="urn:microsoft.com/office/officeart/2005/8/layout/hierarchy2"/>
    <dgm:cxn modelId="{B17014BF-ECCA-448A-B58D-1D5F8DAB0ED1}" type="presParOf" srcId="{E6C48CB3-972E-416C-B682-AA6B90B43DB5}" destId="{3C68E335-1FBE-4BF5-B663-16EAFA360432}" srcOrd="0" destOrd="0" presId="urn:microsoft.com/office/officeart/2005/8/layout/hierarchy2"/>
    <dgm:cxn modelId="{1ED3C8FC-04B6-48B8-98FB-D7B49EDEDEB0}" type="presParOf" srcId="{E6C48CB3-972E-416C-B682-AA6B90B43DB5}" destId="{9A49B604-C7AD-4D49-8E12-5359BE875B5C}" srcOrd="1" destOrd="0" presId="urn:microsoft.com/office/officeart/2005/8/layout/hierarchy2"/>
    <dgm:cxn modelId="{6027BF52-1D2B-41F0-80D0-08DD6F02EBA5}" type="presParOf" srcId="{9A49B604-C7AD-4D49-8E12-5359BE875B5C}" destId="{EF71F697-9ACA-459C-8A1F-6AA267FB5D74}" srcOrd="0" destOrd="0" presId="urn:microsoft.com/office/officeart/2005/8/layout/hierarchy2"/>
    <dgm:cxn modelId="{2747B04C-30FD-44ED-B3F2-007957E17BB4}" type="presParOf" srcId="{EF71F697-9ACA-459C-8A1F-6AA267FB5D74}" destId="{B2770FBE-A169-48BF-8C64-2721D1BE28AC}" srcOrd="0" destOrd="0" presId="urn:microsoft.com/office/officeart/2005/8/layout/hierarchy2"/>
    <dgm:cxn modelId="{4896267F-DAA6-4E05-BED3-6A3CF9CFDFAE}" type="presParOf" srcId="{9A49B604-C7AD-4D49-8E12-5359BE875B5C}" destId="{AEE30CEF-10A2-464F-BE2E-1EA49B736511}" srcOrd="1" destOrd="0" presId="urn:microsoft.com/office/officeart/2005/8/layout/hierarchy2"/>
    <dgm:cxn modelId="{44D2EF2B-F01C-40B8-99BD-599AA3C81A60}" type="presParOf" srcId="{AEE30CEF-10A2-464F-BE2E-1EA49B736511}" destId="{820341DB-D83E-4C22-A219-95EB35FDD3B8}" srcOrd="0" destOrd="0" presId="urn:microsoft.com/office/officeart/2005/8/layout/hierarchy2"/>
    <dgm:cxn modelId="{008821E6-1470-4A31-B584-1D4034A1581E}" type="presParOf" srcId="{AEE30CEF-10A2-464F-BE2E-1EA49B736511}" destId="{E384BCFF-A74E-4500-8DC2-911BE723FDE3}" srcOrd="1" destOrd="0" presId="urn:microsoft.com/office/officeart/2005/8/layout/hierarchy2"/>
    <dgm:cxn modelId="{60B4EE52-656E-4A16-B4D2-130A202A37BC}" type="presParOf" srcId="{E384BCFF-A74E-4500-8DC2-911BE723FDE3}" destId="{1FD5C97E-0668-45B7-B93D-0D5C9D7CA059}" srcOrd="0" destOrd="0" presId="urn:microsoft.com/office/officeart/2005/8/layout/hierarchy2"/>
    <dgm:cxn modelId="{7C5054D9-47C9-4CF2-BF7B-D8E006FDC619}" type="presParOf" srcId="{1FD5C97E-0668-45B7-B93D-0D5C9D7CA059}" destId="{4878D394-90E0-4855-8D02-C817C7B2FA02}" srcOrd="0" destOrd="0" presId="urn:microsoft.com/office/officeart/2005/8/layout/hierarchy2"/>
    <dgm:cxn modelId="{1810C765-05D4-4AD6-AF8A-6FD4AC3DBA60}" type="presParOf" srcId="{E384BCFF-A74E-4500-8DC2-911BE723FDE3}" destId="{DB57DC4F-A49E-4E6D-8356-9196753D6585}" srcOrd="1" destOrd="0" presId="urn:microsoft.com/office/officeart/2005/8/layout/hierarchy2"/>
    <dgm:cxn modelId="{2052849A-E251-4591-AC12-02F44D23BC16}" type="presParOf" srcId="{DB57DC4F-A49E-4E6D-8356-9196753D6585}" destId="{BA178411-6B0C-4614-A769-2852EFE3AFEE}" srcOrd="0" destOrd="0" presId="urn:microsoft.com/office/officeart/2005/8/layout/hierarchy2"/>
    <dgm:cxn modelId="{18E04C8F-678C-4E49-B639-F58062E2DE65}" type="presParOf" srcId="{DB57DC4F-A49E-4E6D-8356-9196753D6585}" destId="{792212D4-706F-44BF-91B5-21F214AE4054}" srcOrd="1" destOrd="0" presId="urn:microsoft.com/office/officeart/2005/8/layout/hierarchy2"/>
    <dgm:cxn modelId="{711546AA-F088-44C2-8BE7-D4890312DB3D}" type="presParOf" srcId="{F8B5465E-2C5D-4092-A636-28A449BAE32F}" destId="{CE054EA8-8C3D-42DC-A0DC-E0CC0DDC038F}" srcOrd="4" destOrd="0" presId="urn:microsoft.com/office/officeart/2005/8/layout/hierarchy2"/>
    <dgm:cxn modelId="{9E45830D-AD48-45EC-8662-51FBE002EA4A}" type="presParOf" srcId="{CE054EA8-8C3D-42DC-A0DC-E0CC0DDC038F}" destId="{A3EF70D3-A2EF-476E-8FCC-A64C1C8377CB}" srcOrd="0" destOrd="0" presId="urn:microsoft.com/office/officeart/2005/8/layout/hierarchy2"/>
    <dgm:cxn modelId="{93B7BCC8-DD28-45B1-8323-9D0FCE65EF35}" type="presParOf" srcId="{F8B5465E-2C5D-4092-A636-28A449BAE32F}" destId="{24D7BC60-4380-4AA5-A969-068F816C2554}" srcOrd="5" destOrd="0" presId="urn:microsoft.com/office/officeart/2005/8/layout/hierarchy2"/>
    <dgm:cxn modelId="{BAA1882F-AC47-4A84-B0E5-F87497C5FC84}" type="presParOf" srcId="{24D7BC60-4380-4AA5-A969-068F816C2554}" destId="{16095890-FB03-4FAE-9DEE-8CC3AF86B4DA}" srcOrd="0" destOrd="0" presId="urn:microsoft.com/office/officeart/2005/8/layout/hierarchy2"/>
    <dgm:cxn modelId="{0ECC2B6E-2EDC-4175-84EB-A9261D315157}" type="presParOf" srcId="{24D7BC60-4380-4AA5-A969-068F816C2554}" destId="{6DC8DB5B-91B6-41E5-9453-A6FFF4FC5DB8}" srcOrd="1" destOrd="0" presId="urn:microsoft.com/office/officeart/2005/8/layout/hierarchy2"/>
    <dgm:cxn modelId="{0315E8CE-CE27-447D-8499-D4C06DC478BC}" type="presParOf" srcId="{F87F221F-F78F-492F-BDD7-B936F7836852}" destId="{A7CE9535-D65E-4F68-8708-2F03B93945C9}" srcOrd="2" destOrd="0" presId="urn:microsoft.com/office/officeart/2005/8/layout/hierarchy2"/>
    <dgm:cxn modelId="{AF5D06B6-E1E6-44E1-AA88-70470A70873B}" type="presParOf" srcId="{A7CE9535-D65E-4F68-8708-2F03B93945C9}" destId="{FC45D4F0-A71C-43DC-ADF0-3D391FAE94FC}" srcOrd="0" destOrd="0" presId="urn:microsoft.com/office/officeart/2005/8/layout/hierarchy2"/>
    <dgm:cxn modelId="{CD40091D-3AD8-4DD8-B1AB-1CB7418A006E}" type="presParOf" srcId="{F87F221F-F78F-492F-BDD7-B936F7836852}" destId="{D8F5780D-8FDC-4A72-A07F-2A22E6133517}" srcOrd="3" destOrd="0" presId="urn:microsoft.com/office/officeart/2005/8/layout/hierarchy2"/>
    <dgm:cxn modelId="{479C14EB-5803-4D7E-AC4D-C35FD0845363}" type="presParOf" srcId="{D8F5780D-8FDC-4A72-A07F-2A22E6133517}" destId="{13D5F17E-8084-4B72-9F04-56A089E701D3}" srcOrd="0" destOrd="0" presId="urn:microsoft.com/office/officeart/2005/8/layout/hierarchy2"/>
    <dgm:cxn modelId="{FA1372B9-DABF-454A-8B65-DBF12C80CCAD}" type="presParOf" srcId="{D8F5780D-8FDC-4A72-A07F-2A22E6133517}" destId="{31455791-ACE3-431A-A12C-AE9B4D3D5024}" srcOrd="1" destOrd="0" presId="urn:microsoft.com/office/officeart/2005/8/layout/hierarchy2"/>
    <dgm:cxn modelId="{6C78A047-8FE2-4846-888C-49793D51A8E7}" type="presParOf" srcId="{F87F221F-F78F-492F-BDD7-B936F7836852}" destId="{683BB978-3339-4A8E-BF65-CBB9D1AC00DB}" srcOrd="4" destOrd="0" presId="urn:microsoft.com/office/officeart/2005/8/layout/hierarchy2"/>
    <dgm:cxn modelId="{36415CBC-97ED-4D01-851E-53B7A6851ED9}" type="presParOf" srcId="{683BB978-3339-4A8E-BF65-CBB9D1AC00DB}" destId="{4BDAB2D3-F499-4B23-B8B6-A7D2FCB4AF64}" srcOrd="0" destOrd="0" presId="urn:microsoft.com/office/officeart/2005/8/layout/hierarchy2"/>
    <dgm:cxn modelId="{BF8DB73F-9672-427F-A536-58208FC2666B}" type="presParOf" srcId="{F87F221F-F78F-492F-BDD7-B936F7836852}" destId="{87CEA590-1766-424C-8C5C-FA0C2C57593F}" srcOrd="5" destOrd="0" presId="urn:microsoft.com/office/officeart/2005/8/layout/hierarchy2"/>
    <dgm:cxn modelId="{6D275619-B6DD-43A1-B85E-FD7D2E7440D5}" type="presParOf" srcId="{87CEA590-1766-424C-8C5C-FA0C2C57593F}" destId="{0DA1F643-BCDA-4B38-B56E-C665C53777A5}" srcOrd="0" destOrd="0" presId="urn:microsoft.com/office/officeart/2005/8/layout/hierarchy2"/>
    <dgm:cxn modelId="{CBA4D200-CDF6-4A32-A82A-1E8178D7BF10}" type="presParOf" srcId="{87CEA590-1766-424C-8C5C-FA0C2C57593F}" destId="{1405956A-0736-4708-99F7-E139325CDA2D}" srcOrd="1" destOrd="0" presId="urn:microsoft.com/office/officeart/2005/8/layout/hierarchy2"/>
    <dgm:cxn modelId="{D856B9FF-BFA2-4DD1-A7B7-4983FCAAC356}" type="presParOf" srcId="{F87F221F-F78F-492F-BDD7-B936F7836852}" destId="{92589571-4DD4-46CA-B43E-7CA68092AF45}" srcOrd="6" destOrd="0" presId="urn:microsoft.com/office/officeart/2005/8/layout/hierarchy2"/>
    <dgm:cxn modelId="{5112C808-691B-4B77-9CF1-7C1D980F8225}" type="presParOf" srcId="{92589571-4DD4-46CA-B43E-7CA68092AF45}" destId="{BDF9E111-8D23-44B6-840F-12982A995D4B}" srcOrd="0" destOrd="0" presId="urn:microsoft.com/office/officeart/2005/8/layout/hierarchy2"/>
    <dgm:cxn modelId="{19A42743-AFF9-42F3-8916-CAC87B7230CB}" type="presParOf" srcId="{F87F221F-F78F-492F-BDD7-B936F7836852}" destId="{E0808858-53CC-4098-8FF6-80B7F08C5B25}" srcOrd="7" destOrd="0" presId="urn:microsoft.com/office/officeart/2005/8/layout/hierarchy2"/>
    <dgm:cxn modelId="{D9C93917-4BF7-4ACE-925B-6F2EDB6B5C24}" type="presParOf" srcId="{E0808858-53CC-4098-8FF6-80B7F08C5B25}" destId="{A1D7EFE2-794D-476C-9736-0CA292CDF581}" srcOrd="0" destOrd="0" presId="urn:microsoft.com/office/officeart/2005/8/layout/hierarchy2"/>
    <dgm:cxn modelId="{BAF786D8-94E7-4662-B549-F38038D89846}" type="presParOf" srcId="{E0808858-53CC-4098-8FF6-80B7F08C5B25}" destId="{DACECC54-EFFE-4002-88BE-60AC23A075C2}" srcOrd="1" destOrd="0" presId="urn:microsoft.com/office/officeart/2005/8/layout/hierarchy2"/>
    <dgm:cxn modelId="{DB614410-B12A-4F5A-A269-3A93DD58345D}" type="presParOf" srcId="{DACECC54-EFFE-4002-88BE-60AC23A075C2}" destId="{5096245B-7BAE-443C-BF77-9C53649E1A91}" srcOrd="0" destOrd="0" presId="urn:microsoft.com/office/officeart/2005/8/layout/hierarchy2"/>
    <dgm:cxn modelId="{151F641E-4EBF-46B8-A86B-3C7EB73485AD}" type="presParOf" srcId="{5096245B-7BAE-443C-BF77-9C53649E1A91}" destId="{839B0A27-C8D3-4BD8-A8EB-DAA0ED9BA6C2}" srcOrd="0" destOrd="0" presId="urn:microsoft.com/office/officeart/2005/8/layout/hierarchy2"/>
    <dgm:cxn modelId="{E1BFAFF7-99DF-475D-9E00-306A07460BA4}" type="presParOf" srcId="{DACECC54-EFFE-4002-88BE-60AC23A075C2}" destId="{303E9E90-67F5-4719-AC4D-788E67EBD915}" srcOrd="1" destOrd="0" presId="urn:microsoft.com/office/officeart/2005/8/layout/hierarchy2"/>
    <dgm:cxn modelId="{8E0BAF5A-2977-4650-A0A4-AC2B64E7859B}" type="presParOf" srcId="{303E9E90-67F5-4719-AC4D-788E67EBD915}" destId="{9118FA30-9ADC-49FA-9913-989D9EE59441}" srcOrd="0" destOrd="0" presId="urn:microsoft.com/office/officeart/2005/8/layout/hierarchy2"/>
    <dgm:cxn modelId="{9F6C1EF1-03DB-4B6A-BE53-10911D482561}" type="presParOf" srcId="{303E9E90-67F5-4719-AC4D-788E67EBD915}" destId="{1DA120DF-6350-46C8-917D-62CECCB55B4A}" srcOrd="1" destOrd="0" presId="urn:microsoft.com/office/officeart/2005/8/layout/hierarchy2"/>
    <dgm:cxn modelId="{BCEB7F5D-C372-4E8B-A20A-1000465BC462}" type="presParOf" srcId="{1DA120DF-6350-46C8-917D-62CECCB55B4A}" destId="{06DCCD70-4989-477A-A598-73336B5D167D}" srcOrd="0" destOrd="0" presId="urn:microsoft.com/office/officeart/2005/8/layout/hierarchy2"/>
    <dgm:cxn modelId="{24682783-72F1-4A0B-9131-96C5942BD60F}" type="presParOf" srcId="{06DCCD70-4989-477A-A598-73336B5D167D}" destId="{064859DA-2AFA-4F2C-92D6-5FB2A2DA1585}" srcOrd="0" destOrd="0" presId="urn:microsoft.com/office/officeart/2005/8/layout/hierarchy2"/>
    <dgm:cxn modelId="{FF5E27A3-73E3-4F46-BD82-E63C7393C491}" type="presParOf" srcId="{1DA120DF-6350-46C8-917D-62CECCB55B4A}" destId="{15D2AA8E-8294-42E2-8E7C-F156D6053350}" srcOrd="1" destOrd="0" presId="urn:microsoft.com/office/officeart/2005/8/layout/hierarchy2"/>
    <dgm:cxn modelId="{F969579A-211A-496D-AA7E-0EFCB6346567}" type="presParOf" srcId="{15D2AA8E-8294-42E2-8E7C-F156D6053350}" destId="{27CE4C14-F6FD-4D9A-B121-0B5BCBA0A1ED}" srcOrd="0" destOrd="0" presId="urn:microsoft.com/office/officeart/2005/8/layout/hierarchy2"/>
    <dgm:cxn modelId="{1BC03B1B-4322-48F0-9702-38A4FC1A2FB0}" type="presParOf" srcId="{15D2AA8E-8294-42E2-8E7C-F156D6053350}" destId="{D6E66503-5414-4509-98CD-325C2D5F242E}" srcOrd="1" destOrd="0" presId="urn:microsoft.com/office/officeart/2005/8/layout/hierarchy2"/>
    <dgm:cxn modelId="{69D13902-B3BE-4A60-923B-574987144F1F}" type="presParOf" srcId="{D6E66503-5414-4509-98CD-325C2D5F242E}" destId="{A8C176F8-573A-4A0C-998E-9A4C6A820B86}" srcOrd="0" destOrd="0" presId="urn:microsoft.com/office/officeart/2005/8/layout/hierarchy2"/>
    <dgm:cxn modelId="{85DBE258-01F6-498E-AF59-EB04B045EE2A}" type="presParOf" srcId="{A8C176F8-573A-4A0C-998E-9A4C6A820B86}" destId="{A9F2EAC5-5009-462F-A636-1F8D32BAD699}" srcOrd="0" destOrd="0" presId="urn:microsoft.com/office/officeart/2005/8/layout/hierarchy2"/>
    <dgm:cxn modelId="{A31E78E2-ED0D-43C2-B490-083C5D380FA7}" type="presParOf" srcId="{D6E66503-5414-4509-98CD-325C2D5F242E}" destId="{93651002-5B6D-4CCF-9753-CF2CDC49B04B}" srcOrd="1" destOrd="0" presId="urn:microsoft.com/office/officeart/2005/8/layout/hierarchy2"/>
    <dgm:cxn modelId="{7424F437-6A56-4D0A-B729-D700121B7DD6}" type="presParOf" srcId="{93651002-5B6D-4CCF-9753-CF2CDC49B04B}" destId="{A17D1525-5911-4415-9BD3-3B57153489D0}" srcOrd="0" destOrd="0" presId="urn:microsoft.com/office/officeart/2005/8/layout/hierarchy2"/>
    <dgm:cxn modelId="{BA0712E5-6365-495E-BE82-1DED24EB1650}" type="presParOf" srcId="{93651002-5B6D-4CCF-9753-CF2CDC49B04B}" destId="{F12E9C05-7394-4C19-9AE9-CEF3834AFE77}" srcOrd="1" destOrd="0" presId="urn:microsoft.com/office/officeart/2005/8/layout/hierarchy2"/>
    <dgm:cxn modelId="{73E3B50B-F6A1-484E-B887-B3B7D22BAB49}" type="presParOf" srcId="{F12E9C05-7394-4C19-9AE9-CEF3834AFE77}" destId="{9AFE0321-4A8C-4753-828A-C22907F1A5BD}" srcOrd="0" destOrd="0" presId="urn:microsoft.com/office/officeart/2005/8/layout/hierarchy2"/>
    <dgm:cxn modelId="{23DFD906-90E7-4497-BD29-59C189F032ED}" type="presParOf" srcId="{9AFE0321-4A8C-4753-828A-C22907F1A5BD}" destId="{E0983C16-03EF-4951-A639-8044B0C8D366}" srcOrd="0" destOrd="0" presId="urn:microsoft.com/office/officeart/2005/8/layout/hierarchy2"/>
    <dgm:cxn modelId="{A10AEA00-865C-4C01-8E5D-0056687B1C2A}" type="presParOf" srcId="{F12E9C05-7394-4C19-9AE9-CEF3834AFE77}" destId="{C7D958E0-3DEF-4BC7-8946-00D594C55146}" srcOrd="1" destOrd="0" presId="urn:microsoft.com/office/officeart/2005/8/layout/hierarchy2"/>
    <dgm:cxn modelId="{ADD4F0D4-33B9-40B4-9647-A9FF40548336}" type="presParOf" srcId="{C7D958E0-3DEF-4BC7-8946-00D594C55146}" destId="{32D2B3BA-CC5B-41C7-BA8D-D0DEEAE28D36}" srcOrd="0" destOrd="0" presId="urn:microsoft.com/office/officeart/2005/8/layout/hierarchy2"/>
    <dgm:cxn modelId="{118558ED-C18B-4455-85B7-21CCF188042C}" type="presParOf" srcId="{C7D958E0-3DEF-4BC7-8946-00D594C55146}" destId="{EF3A04FC-848C-492A-BDED-253AF842EAC8}" srcOrd="1" destOrd="0" presId="urn:microsoft.com/office/officeart/2005/8/layout/hierarchy2"/>
    <dgm:cxn modelId="{736F66BF-A52A-4D1D-BA21-33355818A3F1}" type="presParOf" srcId="{1DA120DF-6350-46C8-917D-62CECCB55B4A}" destId="{9D607204-B294-4AA4-ABFC-780BDB528217}" srcOrd="2" destOrd="0" presId="urn:microsoft.com/office/officeart/2005/8/layout/hierarchy2"/>
    <dgm:cxn modelId="{CDD514D3-CF8D-4F5A-9748-E3AF03399C41}" type="presParOf" srcId="{9D607204-B294-4AA4-ABFC-780BDB528217}" destId="{C46EB028-777E-4209-A72D-BAD9C9F6D3B6}" srcOrd="0" destOrd="0" presId="urn:microsoft.com/office/officeart/2005/8/layout/hierarchy2"/>
    <dgm:cxn modelId="{1C6CFE5C-08DD-49B4-827C-2993B88F2884}" type="presParOf" srcId="{1DA120DF-6350-46C8-917D-62CECCB55B4A}" destId="{88FB82A0-FE12-4DA5-AF44-5AA423C17336}" srcOrd="3" destOrd="0" presId="urn:microsoft.com/office/officeart/2005/8/layout/hierarchy2"/>
    <dgm:cxn modelId="{7730886B-E4C2-40F5-B776-2800D9AA7069}" type="presParOf" srcId="{88FB82A0-FE12-4DA5-AF44-5AA423C17336}" destId="{4EDB0470-8CCA-48D0-8C79-797DA1B9F31C}" srcOrd="0" destOrd="0" presId="urn:microsoft.com/office/officeart/2005/8/layout/hierarchy2"/>
    <dgm:cxn modelId="{DC6956F4-18E1-4423-BE19-4C76147F9F75}" type="presParOf" srcId="{88FB82A0-FE12-4DA5-AF44-5AA423C17336}" destId="{6FCABF87-1959-40D5-AA2E-8861A6145648}" srcOrd="1" destOrd="0" presId="urn:microsoft.com/office/officeart/2005/8/layout/hierarchy2"/>
    <dgm:cxn modelId="{6B61523A-C12C-4B78-87F0-210D5EA56F37}" type="presParOf" srcId="{6FCABF87-1959-40D5-AA2E-8861A6145648}" destId="{67D5BC62-10FA-42F5-B237-3D6C9EEA678C}" srcOrd="0" destOrd="0" presId="urn:microsoft.com/office/officeart/2005/8/layout/hierarchy2"/>
    <dgm:cxn modelId="{5BA7722A-374A-4F1F-8130-7A5083E3B0A4}" type="presParOf" srcId="{67D5BC62-10FA-42F5-B237-3D6C9EEA678C}" destId="{86594709-59C5-483A-82DD-746F70364987}" srcOrd="0" destOrd="0" presId="urn:microsoft.com/office/officeart/2005/8/layout/hierarchy2"/>
    <dgm:cxn modelId="{AE329DFF-98DB-4EEA-8BEE-8BBB5DDC60AD}" type="presParOf" srcId="{6FCABF87-1959-40D5-AA2E-8861A6145648}" destId="{242274A3-511B-4497-8A83-461E9C55DE61}" srcOrd="1" destOrd="0" presId="urn:microsoft.com/office/officeart/2005/8/layout/hierarchy2"/>
    <dgm:cxn modelId="{5FFE8A88-ADE2-4B86-9B23-0F79B60425F1}" type="presParOf" srcId="{242274A3-511B-4497-8A83-461E9C55DE61}" destId="{0E24562B-F3DA-49BE-AB50-841548E8DA44}" srcOrd="0" destOrd="0" presId="urn:microsoft.com/office/officeart/2005/8/layout/hierarchy2"/>
    <dgm:cxn modelId="{EE268EA6-9AA0-42B2-8CB3-C367620B3C27}" type="presParOf" srcId="{242274A3-511B-4497-8A83-461E9C55DE61}" destId="{73908903-CFC8-4D6F-94D9-6F562784AA63}" srcOrd="1" destOrd="0" presId="urn:microsoft.com/office/officeart/2005/8/layout/hierarchy2"/>
    <dgm:cxn modelId="{76884C77-8CC2-4E5D-A28E-2A571D9EB7C5}" type="presParOf" srcId="{73908903-CFC8-4D6F-94D9-6F562784AA63}" destId="{40922907-DFD0-40DC-92BE-AB3E9DADD273}" srcOrd="0" destOrd="0" presId="urn:microsoft.com/office/officeart/2005/8/layout/hierarchy2"/>
    <dgm:cxn modelId="{1A76D71B-2E55-455D-9E09-9D8BA1B8E301}" type="presParOf" srcId="{40922907-DFD0-40DC-92BE-AB3E9DADD273}" destId="{B7584805-5372-422F-A900-F7ABA0E37B72}" srcOrd="0" destOrd="0" presId="urn:microsoft.com/office/officeart/2005/8/layout/hierarchy2"/>
    <dgm:cxn modelId="{57DA475E-DB13-4F2F-ABE0-24FC02A5D264}" type="presParOf" srcId="{73908903-CFC8-4D6F-94D9-6F562784AA63}" destId="{FD17BB21-37CB-44DA-A5BE-A375AF9F24B0}" srcOrd="1" destOrd="0" presId="urn:microsoft.com/office/officeart/2005/8/layout/hierarchy2"/>
    <dgm:cxn modelId="{C386ED53-3999-434C-B9BE-2C7228E007E5}" type="presParOf" srcId="{FD17BB21-37CB-44DA-A5BE-A375AF9F24B0}" destId="{F039B747-7BCA-4383-8702-C0A6D358BE92}" srcOrd="0" destOrd="0" presId="urn:microsoft.com/office/officeart/2005/8/layout/hierarchy2"/>
    <dgm:cxn modelId="{B80C1A0C-D855-4BCF-AEFB-1C92F3CC14D2}" type="presParOf" srcId="{FD17BB21-37CB-44DA-A5BE-A375AF9F24B0}" destId="{0B907AC5-F752-41C5-BB38-FF5A015C8F48}" srcOrd="1" destOrd="0" presId="urn:microsoft.com/office/officeart/2005/8/layout/hierarchy2"/>
    <dgm:cxn modelId="{F79AABD4-668E-49B7-8720-AAB74C1C5903}" type="presParOf" srcId="{1DA120DF-6350-46C8-917D-62CECCB55B4A}" destId="{61C6398E-75F5-41B2-9D13-9A69DEA590F6}" srcOrd="4" destOrd="0" presId="urn:microsoft.com/office/officeart/2005/8/layout/hierarchy2"/>
    <dgm:cxn modelId="{36019A78-57B5-44A5-AC7A-60149E92CD36}" type="presParOf" srcId="{61C6398E-75F5-41B2-9D13-9A69DEA590F6}" destId="{DB9449DD-EBE3-4D54-BB8D-22A78C90E4AD}" srcOrd="0" destOrd="0" presId="urn:microsoft.com/office/officeart/2005/8/layout/hierarchy2"/>
    <dgm:cxn modelId="{0B74BCBA-6CFD-4C62-9FF5-D427D12D2667}" type="presParOf" srcId="{1DA120DF-6350-46C8-917D-62CECCB55B4A}" destId="{CE39B9FF-23CF-48AE-BC0F-65604273664D}" srcOrd="5" destOrd="0" presId="urn:microsoft.com/office/officeart/2005/8/layout/hierarchy2"/>
    <dgm:cxn modelId="{1CEC3F13-7FC4-4546-8B89-07BB32CCE11E}" type="presParOf" srcId="{CE39B9FF-23CF-48AE-BC0F-65604273664D}" destId="{8E0A5308-A822-4D95-AB1C-EEE18A6DCA60}" srcOrd="0" destOrd="0" presId="urn:microsoft.com/office/officeart/2005/8/layout/hierarchy2"/>
    <dgm:cxn modelId="{22287461-E574-445F-AC2A-0CCFBD571FF3}" type="presParOf" srcId="{CE39B9FF-23CF-48AE-BC0F-65604273664D}" destId="{881155B4-628C-434B-80E4-149426C9AF1F}" srcOrd="1" destOrd="0" presId="urn:microsoft.com/office/officeart/2005/8/layout/hierarchy2"/>
    <dgm:cxn modelId="{F7C36EF7-4F73-4F50-A1EA-037221CA2D2A}" type="presParOf" srcId="{881155B4-628C-434B-80E4-149426C9AF1F}" destId="{1FE2903B-8832-44F4-84F4-82349AABB2AE}" srcOrd="0" destOrd="0" presId="urn:microsoft.com/office/officeart/2005/8/layout/hierarchy2"/>
    <dgm:cxn modelId="{3B8B9F5D-A097-428D-8956-6ED05C3C5AC6}" type="presParOf" srcId="{1FE2903B-8832-44F4-84F4-82349AABB2AE}" destId="{BF05AAA7-3700-4C9A-A700-BE4A2A222493}" srcOrd="0" destOrd="0" presId="urn:microsoft.com/office/officeart/2005/8/layout/hierarchy2"/>
    <dgm:cxn modelId="{BBE4C0D7-CC29-45B0-8067-7196F62CFD65}" type="presParOf" srcId="{881155B4-628C-434B-80E4-149426C9AF1F}" destId="{43E0ECD2-D574-4D10-8D8C-8B74EB066089}" srcOrd="1" destOrd="0" presId="urn:microsoft.com/office/officeart/2005/8/layout/hierarchy2"/>
    <dgm:cxn modelId="{4F54D4D7-FB3D-41C6-9D4A-88F15388C82D}" type="presParOf" srcId="{43E0ECD2-D574-4D10-8D8C-8B74EB066089}" destId="{D712443A-58CB-4A73-B56D-2481BB9654F1}" srcOrd="0" destOrd="0" presId="urn:microsoft.com/office/officeart/2005/8/layout/hierarchy2"/>
    <dgm:cxn modelId="{1EC67160-ECE1-4819-A187-B79E888DB122}" type="presParOf" srcId="{43E0ECD2-D574-4D10-8D8C-8B74EB066089}" destId="{9005BA72-6EE8-46C2-A7C2-A5360670F4BF}" srcOrd="1" destOrd="0" presId="urn:microsoft.com/office/officeart/2005/8/layout/hierarchy2"/>
    <dgm:cxn modelId="{9A75D810-4153-4168-9AFA-EB01E12F4758}" type="presParOf" srcId="{9005BA72-6EE8-46C2-A7C2-A5360670F4BF}" destId="{06EE0DC0-619D-4991-A420-32A96B267021}" srcOrd="0" destOrd="0" presId="urn:microsoft.com/office/officeart/2005/8/layout/hierarchy2"/>
    <dgm:cxn modelId="{0EDA3233-BEB7-42EF-BE72-F0298C4B6D3B}" type="presParOf" srcId="{06EE0DC0-619D-4991-A420-32A96B267021}" destId="{35D062BA-6F19-459C-9F7F-6837A9BE1341}" srcOrd="0" destOrd="0" presId="urn:microsoft.com/office/officeart/2005/8/layout/hierarchy2"/>
    <dgm:cxn modelId="{8A7BEF80-5DD8-41D4-B5DB-A3A90A2CE4A1}" type="presParOf" srcId="{9005BA72-6EE8-46C2-A7C2-A5360670F4BF}" destId="{E9CB90C6-34DC-4B8C-80A2-6A67ED28E488}" srcOrd="1" destOrd="0" presId="urn:microsoft.com/office/officeart/2005/8/layout/hierarchy2"/>
    <dgm:cxn modelId="{C0094150-4710-4D32-8E67-90E5714F6352}" type="presParOf" srcId="{E9CB90C6-34DC-4B8C-80A2-6A67ED28E488}" destId="{B865784A-4175-4B9B-881C-9848CEE15B9A}" srcOrd="0" destOrd="0" presId="urn:microsoft.com/office/officeart/2005/8/layout/hierarchy2"/>
    <dgm:cxn modelId="{9D478EDD-794D-4822-AAAC-8C2CE848C7A4}" type="presParOf" srcId="{E9CB90C6-34DC-4B8C-80A2-6A67ED28E488}" destId="{B6C200E9-2A94-4914-8EC4-8E05114D8FB3}" srcOrd="1" destOrd="0" presId="urn:microsoft.com/office/officeart/2005/8/layout/hierarchy2"/>
    <dgm:cxn modelId="{D315E0C3-5EDC-4634-9718-B7EFBD513306}" type="presParOf" srcId="{DACECC54-EFFE-4002-88BE-60AC23A075C2}" destId="{0B80EA1B-6623-4BB3-A0D6-D2CFB6B306E7}" srcOrd="2" destOrd="0" presId="urn:microsoft.com/office/officeart/2005/8/layout/hierarchy2"/>
    <dgm:cxn modelId="{727ABC1D-9413-451A-B004-8EEAB7DE5979}" type="presParOf" srcId="{0B80EA1B-6623-4BB3-A0D6-D2CFB6B306E7}" destId="{E9F4B5E7-70CF-4865-B71A-F97ED71DE71B}" srcOrd="0" destOrd="0" presId="urn:microsoft.com/office/officeart/2005/8/layout/hierarchy2"/>
    <dgm:cxn modelId="{C3DEC02F-4FC4-447A-9A1C-C4FB298BAAFA}" type="presParOf" srcId="{DACECC54-EFFE-4002-88BE-60AC23A075C2}" destId="{F97C820E-2446-4399-94F3-B1F5F2AA62A9}" srcOrd="3" destOrd="0" presId="urn:microsoft.com/office/officeart/2005/8/layout/hierarchy2"/>
    <dgm:cxn modelId="{AD8BCA96-45AD-432C-B705-09C6D5CF875B}" type="presParOf" srcId="{F97C820E-2446-4399-94F3-B1F5F2AA62A9}" destId="{5313DD18-2AA9-437F-A599-4C91CB8D295D}" srcOrd="0" destOrd="0" presId="urn:microsoft.com/office/officeart/2005/8/layout/hierarchy2"/>
    <dgm:cxn modelId="{AC3926AE-9513-442B-867A-8DE7F5FECF3C}" type="presParOf" srcId="{F97C820E-2446-4399-94F3-B1F5F2AA62A9}" destId="{9F81E765-7D06-4ADA-A44A-1C804D5A6540}" srcOrd="1" destOrd="0" presId="urn:microsoft.com/office/officeart/2005/8/layout/hierarchy2"/>
    <dgm:cxn modelId="{1A5F6831-BC39-434A-9805-CC44F77E660B}" type="presParOf" srcId="{9F81E765-7D06-4ADA-A44A-1C804D5A6540}" destId="{66F9C8C7-8B74-4AA8-B36E-1C67DF4A7B1A}" srcOrd="0" destOrd="0" presId="urn:microsoft.com/office/officeart/2005/8/layout/hierarchy2"/>
    <dgm:cxn modelId="{81014206-4430-40AD-ABDF-9FF3AB0F9E91}" type="presParOf" srcId="{66F9C8C7-8B74-4AA8-B36E-1C67DF4A7B1A}" destId="{262ABBE9-9E2D-455B-8E24-992808884595}" srcOrd="0" destOrd="0" presId="urn:microsoft.com/office/officeart/2005/8/layout/hierarchy2"/>
    <dgm:cxn modelId="{FBFC94BC-E458-4EA7-A04E-2E77A65AF256}" type="presParOf" srcId="{9F81E765-7D06-4ADA-A44A-1C804D5A6540}" destId="{66378ADB-616E-4490-B605-5ADCC6224C9F}" srcOrd="1" destOrd="0" presId="urn:microsoft.com/office/officeart/2005/8/layout/hierarchy2"/>
    <dgm:cxn modelId="{DFCDE3A6-8856-4721-9C64-D69A0C7B2F68}" type="presParOf" srcId="{66378ADB-616E-4490-B605-5ADCC6224C9F}" destId="{E5C0017F-946D-4279-9A20-9CCEBDC9310D}" srcOrd="0" destOrd="0" presId="urn:microsoft.com/office/officeart/2005/8/layout/hierarchy2"/>
    <dgm:cxn modelId="{540D1DBF-0434-4E13-AD31-DEB842746267}" type="presParOf" srcId="{66378ADB-616E-4490-B605-5ADCC6224C9F}" destId="{8B47AAD4-B250-40F3-8E83-972BB471024A}" srcOrd="1" destOrd="0" presId="urn:microsoft.com/office/officeart/2005/8/layout/hierarchy2"/>
    <dgm:cxn modelId="{DCDA71AE-7597-4F0A-BB58-2D88FB9E2670}" type="presParOf" srcId="{8B47AAD4-B250-40F3-8E83-972BB471024A}" destId="{A4FF2A36-350A-4DFC-AA0A-FFD6AF00BDD7}" srcOrd="0" destOrd="0" presId="urn:microsoft.com/office/officeart/2005/8/layout/hierarchy2"/>
    <dgm:cxn modelId="{9627E81F-53B1-4741-9A4E-3C57385F19FC}" type="presParOf" srcId="{A4FF2A36-350A-4DFC-AA0A-FFD6AF00BDD7}" destId="{B234EE68-BEDF-47F7-A82B-D7D5BB5ADA0F}" srcOrd="0" destOrd="0" presId="urn:microsoft.com/office/officeart/2005/8/layout/hierarchy2"/>
    <dgm:cxn modelId="{5E735C2E-A602-46A5-97DB-AC99A6456653}" type="presParOf" srcId="{8B47AAD4-B250-40F3-8E83-972BB471024A}" destId="{7F982218-152A-44F8-A902-9337F6332141}" srcOrd="1" destOrd="0" presId="urn:microsoft.com/office/officeart/2005/8/layout/hierarchy2"/>
    <dgm:cxn modelId="{40B04BAA-8B26-4C75-A970-87592E9131C0}" type="presParOf" srcId="{7F982218-152A-44F8-A902-9337F6332141}" destId="{301CE99F-50B7-4443-9FFE-2DF1DC28BF6D}" srcOrd="0" destOrd="0" presId="urn:microsoft.com/office/officeart/2005/8/layout/hierarchy2"/>
    <dgm:cxn modelId="{7FB9276E-C011-49DC-9372-5132C3C0771C}" type="presParOf" srcId="{7F982218-152A-44F8-A902-9337F6332141}" destId="{1BBA5972-D1D3-47E7-81AC-3CCDBEBB752B}" srcOrd="1" destOrd="0" presId="urn:microsoft.com/office/officeart/2005/8/layout/hierarchy2"/>
    <dgm:cxn modelId="{79CD690B-8955-4A55-9778-8FC34190728E}" type="presParOf" srcId="{1BBA5972-D1D3-47E7-81AC-3CCDBEBB752B}" destId="{97827725-FD8C-42BF-9BA4-277DA043FC16}" srcOrd="0" destOrd="0" presId="urn:microsoft.com/office/officeart/2005/8/layout/hierarchy2"/>
    <dgm:cxn modelId="{168F13CE-24E6-45EA-8364-FDE4A7466398}" type="presParOf" srcId="{97827725-FD8C-42BF-9BA4-277DA043FC16}" destId="{3E3D7FFA-550E-4282-9CF5-1D1B53B788CB}" srcOrd="0" destOrd="0" presId="urn:microsoft.com/office/officeart/2005/8/layout/hierarchy2"/>
    <dgm:cxn modelId="{2C94363C-77F3-46E8-9AB6-88460917469A}" type="presParOf" srcId="{1BBA5972-D1D3-47E7-81AC-3CCDBEBB752B}" destId="{40F32E80-47BA-4202-A89B-6A06EA477FDE}" srcOrd="1" destOrd="0" presId="urn:microsoft.com/office/officeart/2005/8/layout/hierarchy2"/>
    <dgm:cxn modelId="{7A21BF7D-5F5E-411F-BE78-88BF98CC8153}" type="presParOf" srcId="{40F32E80-47BA-4202-A89B-6A06EA477FDE}" destId="{E3012FCF-5B39-4F03-8437-17CA601B516B}" srcOrd="0" destOrd="0" presId="urn:microsoft.com/office/officeart/2005/8/layout/hierarchy2"/>
    <dgm:cxn modelId="{9AD5780A-8089-4007-97FD-52471BE838BA}" type="presParOf" srcId="{40F32E80-47BA-4202-A89B-6A06EA477FDE}" destId="{23E4D228-D416-40FB-B66B-192BE7D96BE4}" srcOrd="1" destOrd="0" presId="urn:microsoft.com/office/officeart/2005/8/layout/hierarchy2"/>
    <dgm:cxn modelId="{616DB7DA-3543-4269-96E3-73E6CFBB836A}" type="presParOf" srcId="{9F81E765-7D06-4ADA-A44A-1C804D5A6540}" destId="{64CBC78F-8907-4BF2-8E76-E9100325F05D}" srcOrd="2" destOrd="0" presId="urn:microsoft.com/office/officeart/2005/8/layout/hierarchy2"/>
    <dgm:cxn modelId="{F06F9BA1-9EF4-4E01-A9DA-8DB8F39B0CF6}" type="presParOf" srcId="{64CBC78F-8907-4BF2-8E76-E9100325F05D}" destId="{E217DA48-F5B5-4457-82BB-65C762158116}" srcOrd="0" destOrd="0" presId="urn:microsoft.com/office/officeart/2005/8/layout/hierarchy2"/>
    <dgm:cxn modelId="{79372104-897F-4215-B38B-96F3C7DDB646}" type="presParOf" srcId="{9F81E765-7D06-4ADA-A44A-1C804D5A6540}" destId="{60E9B6BF-4B24-4D61-AE89-8A7BC4EA75E7}" srcOrd="3" destOrd="0" presId="urn:microsoft.com/office/officeart/2005/8/layout/hierarchy2"/>
    <dgm:cxn modelId="{133D4AE9-2368-47B3-8D25-08EC4DA3A42F}" type="presParOf" srcId="{60E9B6BF-4B24-4D61-AE89-8A7BC4EA75E7}" destId="{F94A638F-BF85-4CE7-A62E-8F8D91FEF458}" srcOrd="0" destOrd="0" presId="urn:microsoft.com/office/officeart/2005/8/layout/hierarchy2"/>
    <dgm:cxn modelId="{1B5F9482-8017-47C8-8805-7A0C844C4101}" type="presParOf" srcId="{60E9B6BF-4B24-4D61-AE89-8A7BC4EA75E7}" destId="{512A775B-3FED-4B45-B103-426A85FB1AD7}" srcOrd="1" destOrd="0" presId="urn:microsoft.com/office/officeart/2005/8/layout/hierarchy2"/>
    <dgm:cxn modelId="{F1F5EDE8-0C2E-4F64-ADBA-A434015F07FF}" type="presParOf" srcId="{512A775B-3FED-4B45-B103-426A85FB1AD7}" destId="{27119960-C944-4E6D-A93C-F4358964A23C}" srcOrd="0" destOrd="0" presId="urn:microsoft.com/office/officeart/2005/8/layout/hierarchy2"/>
    <dgm:cxn modelId="{0343DC76-59F9-4499-A094-00C329ED9DE5}" type="presParOf" srcId="{27119960-C944-4E6D-A93C-F4358964A23C}" destId="{B5A75AA3-F7E6-4579-B881-BBE6E31E1006}" srcOrd="0" destOrd="0" presId="urn:microsoft.com/office/officeart/2005/8/layout/hierarchy2"/>
    <dgm:cxn modelId="{6805B540-72A9-4535-BF25-E7933F754E4B}" type="presParOf" srcId="{512A775B-3FED-4B45-B103-426A85FB1AD7}" destId="{24DB6FD2-8A67-473D-B179-B9E9B6950449}" srcOrd="1" destOrd="0" presId="urn:microsoft.com/office/officeart/2005/8/layout/hierarchy2"/>
    <dgm:cxn modelId="{8DE22219-A069-4FF8-BD46-F530B0D3B21A}" type="presParOf" srcId="{24DB6FD2-8A67-473D-B179-B9E9B6950449}" destId="{D04A649D-8AC1-47D8-BD49-770E5454D41E}" srcOrd="0" destOrd="0" presId="urn:microsoft.com/office/officeart/2005/8/layout/hierarchy2"/>
    <dgm:cxn modelId="{050EA81B-9EBB-49FA-B6E7-FD7FC35A02E6}" type="presParOf" srcId="{24DB6FD2-8A67-473D-B179-B9E9B6950449}" destId="{2A814AF3-D693-48A7-9A79-515800DAAA80}"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246C051-FCD7-4BB3-828C-F4FDA8AAAFCD}" type="doc">
      <dgm:prSet loTypeId="urn:microsoft.com/office/officeart/2008/layout/AccentedPicture" loCatId="picture" qsTypeId="urn:microsoft.com/office/officeart/2005/8/quickstyle/simple2" qsCatId="simple" csTypeId="urn:microsoft.com/office/officeart/2005/8/colors/accent2_2" csCatId="accent2" phldr="1"/>
      <dgm:spPr/>
      <dgm:t>
        <a:bodyPr/>
        <a:lstStyle/>
        <a:p>
          <a:endParaRPr lang="en-US"/>
        </a:p>
      </dgm:t>
    </dgm:pt>
    <dgm:pt modelId="{BE957EC3-3AB8-4F87-84B5-6DA34F630729}">
      <dgm:prSet/>
      <dgm:spPr/>
      <dgm:t>
        <a:bodyPr/>
        <a:lstStyle/>
        <a:p>
          <a:endParaRPr lang="en-US" dirty="0"/>
        </a:p>
      </dgm:t>
    </dgm:pt>
    <dgm:pt modelId="{4E7498A9-DACC-4E74-9A4F-A0FAEAE486A2}" type="sibTrans" cxnId="{14C05858-A97E-4101-9F03-04B6A8EB14A1}">
      <dgm:prSet/>
      <dgm:spPr/>
      <dgm:t>
        <a:bodyPr/>
        <a:lstStyle/>
        <a:p>
          <a:endParaRPr lang="en-US"/>
        </a:p>
      </dgm:t>
    </dgm:pt>
    <dgm:pt modelId="{2A06BB0B-F985-43A8-944B-996FB4805E33}" type="parTrans" cxnId="{14C05858-A97E-4101-9F03-04B6A8EB14A1}">
      <dgm:prSet/>
      <dgm:spPr/>
      <dgm:t>
        <a:bodyPr/>
        <a:lstStyle/>
        <a:p>
          <a:endParaRPr lang="en-US"/>
        </a:p>
      </dgm:t>
    </dgm:pt>
    <dgm:pt modelId="{22284D83-A558-4C50-928E-C2C00E11C5D3}">
      <dgm:prSet phldrT="[Text]"/>
      <dgm:spPr/>
      <dgm:t>
        <a:bodyPr/>
        <a:lstStyle/>
        <a:p>
          <a:r>
            <a:rPr lang="en-US" dirty="0"/>
            <a:t> </a:t>
          </a:r>
          <a:r>
            <a:rPr lang="en-US" dirty="0" smtClean="0"/>
            <a:t>Extreme Heat</a:t>
          </a:r>
          <a:endParaRPr lang="en-US" dirty="0"/>
        </a:p>
      </dgm:t>
    </dgm:pt>
    <dgm:pt modelId="{89497D68-6D65-40A4-A6C4-14D2DF60F6D8}" type="sibTrans" cxnId="{C6627D09-F643-4FE5-8B67-00B466190233}">
      <dgm:prSet/>
      <dgm:spPr/>
      <dgm:t>
        <a:bodyPr/>
        <a:lstStyle/>
        <a:p>
          <a:endParaRPr lang="en-US"/>
        </a:p>
      </dgm:t>
    </dgm:pt>
    <dgm:pt modelId="{52302786-3CD4-4870-991A-7AEADB79B1F8}" type="parTrans" cxnId="{C6627D09-F643-4FE5-8B67-00B466190233}">
      <dgm:prSet/>
      <dgm:spPr/>
      <dgm:t>
        <a:bodyPr/>
        <a:lstStyle/>
        <a:p>
          <a:endParaRPr lang="en-US"/>
        </a:p>
      </dgm:t>
    </dgm:pt>
    <dgm:pt modelId="{C0A9A5DC-B261-4506-B005-CF6BFE0E02EF}">
      <dgm:prSet phldrT="[Text]"/>
      <dgm:spPr/>
      <dgm:t>
        <a:bodyPr/>
        <a:lstStyle/>
        <a:p>
          <a:r>
            <a:rPr lang="en-US" dirty="0"/>
            <a:t> </a:t>
          </a:r>
          <a:r>
            <a:rPr lang="en-US" dirty="0" smtClean="0"/>
            <a:t>Extreme Cold</a:t>
          </a:r>
          <a:endParaRPr lang="en-US" dirty="0"/>
        </a:p>
      </dgm:t>
    </dgm:pt>
    <dgm:pt modelId="{F4D55190-4D31-481F-A8DA-5395FB478FF1}" type="sibTrans" cxnId="{1675AF1D-4ACC-4B6B-974E-C375E381EB53}">
      <dgm:prSet/>
      <dgm:spPr/>
      <dgm:t>
        <a:bodyPr/>
        <a:lstStyle/>
        <a:p>
          <a:endParaRPr lang="en-US"/>
        </a:p>
      </dgm:t>
    </dgm:pt>
    <dgm:pt modelId="{97696877-088E-41B7-AA79-B583368A744D}" type="parTrans" cxnId="{1675AF1D-4ACC-4B6B-974E-C375E381EB53}">
      <dgm:prSet/>
      <dgm:spPr/>
      <dgm:t>
        <a:bodyPr/>
        <a:lstStyle/>
        <a:p>
          <a:endParaRPr lang="en-US"/>
        </a:p>
      </dgm:t>
    </dgm:pt>
    <dgm:pt modelId="{5FD3416B-C662-4337-8384-71258C742187}">
      <dgm:prSet phldrT="[Text]"/>
      <dgm:spPr/>
      <dgm:t>
        <a:bodyPr/>
        <a:lstStyle/>
        <a:p>
          <a:r>
            <a:rPr lang="en-US" dirty="0" smtClean="0"/>
            <a:t>Sea Level Rise</a:t>
          </a:r>
          <a:endParaRPr lang="en-US" dirty="0"/>
        </a:p>
      </dgm:t>
    </dgm:pt>
    <dgm:pt modelId="{0242DD3A-A365-47A9-96DB-A0D421B8DFD2}" type="sibTrans" cxnId="{265FC24A-E4C5-4895-99E9-F80411959246}">
      <dgm:prSet/>
      <dgm:spPr/>
      <dgm:t>
        <a:bodyPr/>
        <a:lstStyle/>
        <a:p>
          <a:endParaRPr lang="en-US"/>
        </a:p>
      </dgm:t>
    </dgm:pt>
    <dgm:pt modelId="{5D19858E-F776-4E17-927C-22315F2DA476}" type="parTrans" cxnId="{265FC24A-E4C5-4895-99E9-F80411959246}">
      <dgm:prSet/>
      <dgm:spPr/>
      <dgm:t>
        <a:bodyPr/>
        <a:lstStyle/>
        <a:p>
          <a:endParaRPr lang="en-US"/>
        </a:p>
      </dgm:t>
    </dgm:pt>
    <dgm:pt modelId="{2E9A5D43-CA27-491C-9CE4-F18147CF1EAD}">
      <dgm:prSet/>
      <dgm:spPr/>
      <dgm:t>
        <a:bodyPr/>
        <a:lstStyle/>
        <a:p>
          <a:r>
            <a:rPr lang="en-US" dirty="0" smtClean="0"/>
            <a:t>Precipitation</a:t>
          </a:r>
          <a:endParaRPr lang="en-US" dirty="0"/>
        </a:p>
      </dgm:t>
    </dgm:pt>
    <dgm:pt modelId="{D94998FF-55D8-47DE-9C1E-81FCB72F5A06}" type="parTrans" cxnId="{08408272-E42E-4B98-95D0-7E94138E31CD}">
      <dgm:prSet/>
      <dgm:spPr/>
      <dgm:t>
        <a:bodyPr/>
        <a:lstStyle/>
        <a:p>
          <a:endParaRPr lang="en-US"/>
        </a:p>
      </dgm:t>
    </dgm:pt>
    <dgm:pt modelId="{39B3ACEF-E8C0-48AD-9CDA-B5562162B906}" type="sibTrans" cxnId="{08408272-E42E-4B98-95D0-7E94138E31CD}">
      <dgm:prSet/>
      <dgm:spPr/>
      <dgm:t>
        <a:bodyPr/>
        <a:lstStyle/>
        <a:p>
          <a:endParaRPr lang="en-US"/>
        </a:p>
      </dgm:t>
    </dgm:pt>
    <dgm:pt modelId="{624C342D-B7E3-4A13-A68F-334D83A4B253}">
      <dgm:prSet/>
      <dgm:spPr/>
      <dgm:t>
        <a:bodyPr/>
        <a:lstStyle/>
        <a:p>
          <a:r>
            <a:rPr lang="en-US" dirty="0" smtClean="0"/>
            <a:t>Surface Flooding</a:t>
          </a:r>
          <a:endParaRPr lang="en-US" dirty="0"/>
        </a:p>
      </dgm:t>
    </dgm:pt>
    <dgm:pt modelId="{53AE15D5-798E-4A8B-886D-B95FFDB61125}" type="parTrans" cxnId="{CFD4358F-B3BB-4178-B6EF-6AE37C15DCAA}">
      <dgm:prSet/>
      <dgm:spPr/>
      <dgm:t>
        <a:bodyPr/>
        <a:lstStyle/>
        <a:p>
          <a:endParaRPr lang="en-US"/>
        </a:p>
      </dgm:t>
    </dgm:pt>
    <dgm:pt modelId="{7EA30237-BD57-4615-B272-E037E936E4CC}" type="sibTrans" cxnId="{CFD4358F-B3BB-4178-B6EF-6AE37C15DCAA}">
      <dgm:prSet/>
      <dgm:spPr/>
      <dgm:t>
        <a:bodyPr/>
        <a:lstStyle/>
        <a:p>
          <a:endParaRPr lang="en-US"/>
        </a:p>
      </dgm:t>
    </dgm:pt>
    <dgm:pt modelId="{844B1604-6BF2-4238-9A8A-B7DF4AFA1B6B}">
      <dgm:prSet/>
      <dgm:spPr/>
      <dgm:t>
        <a:bodyPr/>
        <a:lstStyle/>
        <a:p>
          <a:r>
            <a:rPr lang="en-US" dirty="0" smtClean="0"/>
            <a:t>Riverine flooding</a:t>
          </a:r>
          <a:endParaRPr lang="en-US" dirty="0"/>
        </a:p>
      </dgm:t>
    </dgm:pt>
    <dgm:pt modelId="{E72B98FD-10CF-43CA-B76D-A2460BBBB50D}" type="parTrans" cxnId="{D24DC2E1-7085-4033-89BE-E87EC90E8C4F}">
      <dgm:prSet/>
      <dgm:spPr/>
      <dgm:t>
        <a:bodyPr/>
        <a:lstStyle/>
        <a:p>
          <a:endParaRPr lang="en-US"/>
        </a:p>
      </dgm:t>
    </dgm:pt>
    <dgm:pt modelId="{2675119D-ECCA-43AB-A22E-56C5FBEFECA8}" type="sibTrans" cxnId="{D24DC2E1-7085-4033-89BE-E87EC90E8C4F}">
      <dgm:prSet/>
      <dgm:spPr/>
      <dgm:t>
        <a:bodyPr/>
        <a:lstStyle/>
        <a:p>
          <a:endParaRPr lang="en-US"/>
        </a:p>
      </dgm:t>
    </dgm:pt>
    <dgm:pt modelId="{81ED0FFF-04A2-4223-88B8-ED71CEA7DFE8}">
      <dgm:prSet phldrT="[Text]"/>
      <dgm:spPr/>
      <dgm:t>
        <a:bodyPr/>
        <a:lstStyle/>
        <a:p>
          <a:r>
            <a:rPr lang="en-US" dirty="0" smtClean="0"/>
            <a:t>Coastal Flooding</a:t>
          </a:r>
          <a:endParaRPr lang="en-US" dirty="0"/>
        </a:p>
      </dgm:t>
    </dgm:pt>
    <dgm:pt modelId="{1DC11871-59C1-4F7F-BCF6-37A9782E5680}" type="parTrans" cxnId="{55D2CB5E-95F3-490C-A43A-7346BF81A271}">
      <dgm:prSet/>
      <dgm:spPr/>
      <dgm:t>
        <a:bodyPr/>
        <a:lstStyle/>
        <a:p>
          <a:endParaRPr lang="en-US"/>
        </a:p>
      </dgm:t>
    </dgm:pt>
    <dgm:pt modelId="{3D02FF99-E074-4649-9289-D1B922DA0B51}" type="sibTrans" cxnId="{55D2CB5E-95F3-490C-A43A-7346BF81A271}">
      <dgm:prSet/>
      <dgm:spPr/>
      <dgm:t>
        <a:bodyPr/>
        <a:lstStyle/>
        <a:p>
          <a:endParaRPr lang="en-US"/>
        </a:p>
      </dgm:t>
    </dgm:pt>
    <dgm:pt modelId="{696B06A7-5F1B-4EB6-A176-EC009594C00B}">
      <dgm:prSet phldrT="[Text]"/>
      <dgm:spPr/>
      <dgm:t>
        <a:bodyPr/>
        <a:lstStyle/>
        <a:p>
          <a:r>
            <a:rPr lang="en-US" dirty="0" smtClean="0"/>
            <a:t>Storm Surging</a:t>
          </a:r>
          <a:endParaRPr lang="en-US" dirty="0"/>
        </a:p>
      </dgm:t>
    </dgm:pt>
    <dgm:pt modelId="{FD8527DB-6C6F-4321-B66E-B67A001D4E20}" type="parTrans" cxnId="{82A2A35B-1CD4-47B7-AC8F-FAFAF26F4D61}">
      <dgm:prSet/>
      <dgm:spPr/>
      <dgm:t>
        <a:bodyPr/>
        <a:lstStyle/>
        <a:p>
          <a:endParaRPr lang="en-US"/>
        </a:p>
      </dgm:t>
    </dgm:pt>
    <dgm:pt modelId="{491F5CE0-D250-40E8-B7F1-DF7534D23014}" type="sibTrans" cxnId="{82A2A35B-1CD4-47B7-AC8F-FAFAF26F4D61}">
      <dgm:prSet/>
      <dgm:spPr/>
      <dgm:t>
        <a:bodyPr/>
        <a:lstStyle/>
        <a:p>
          <a:endParaRPr lang="en-US"/>
        </a:p>
      </dgm:t>
    </dgm:pt>
    <dgm:pt modelId="{29388FAF-3EC5-4A9F-9A66-F031CE0F7851}">
      <dgm:prSet phldrT="[Text]"/>
      <dgm:spPr/>
      <dgm:t>
        <a:bodyPr/>
        <a:lstStyle/>
        <a:p>
          <a:r>
            <a:rPr lang="en-US" dirty="0" smtClean="0"/>
            <a:t>Material Deformation</a:t>
          </a:r>
          <a:endParaRPr lang="en-US" dirty="0"/>
        </a:p>
      </dgm:t>
    </dgm:pt>
    <dgm:pt modelId="{9473A7EB-5E65-4063-BD30-8DCAB053A44C}" type="parTrans" cxnId="{AE0D430D-FC52-4590-8BF7-793E570CFE55}">
      <dgm:prSet/>
      <dgm:spPr/>
      <dgm:t>
        <a:bodyPr/>
        <a:lstStyle/>
        <a:p>
          <a:endParaRPr lang="en-US"/>
        </a:p>
      </dgm:t>
    </dgm:pt>
    <dgm:pt modelId="{353CC85F-33DF-4E84-A059-93FD608DAE10}" type="sibTrans" cxnId="{AE0D430D-FC52-4590-8BF7-793E570CFE55}">
      <dgm:prSet/>
      <dgm:spPr/>
      <dgm:t>
        <a:bodyPr/>
        <a:lstStyle/>
        <a:p>
          <a:endParaRPr lang="en-US"/>
        </a:p>
      </dgm:t>
    </dgm:pt>
    <dgm:pt modelId="{DAF354FC-FE29-4D1E-848F-3425EED29199}">
      <dgm:prSet phldrT="[Text]"/>
      <dgm:spPr/>
      <dgm:t>
        <a:bodyPr/>
        <a:lstStyle/>
        <a:p>
          <a:r>
            <a:rPr lang="en-US" dirty="0" smtClean="0"/>
            <a:t>Snow</a:t>
          </a:r>
          <a:endParaRPr lang="en-US" dirty="0"/>
        </a:p>
      </dgm:t>
    </dgm:pt>
    <dgm:pt modelId="{89D8AEC3-B222-4178-807F-4D96FF826281}" type="parTrans" cxnId="{41944B44-34E1-4E24-BBCF-A4CB7AFAD480}">
      <dgm:prSet/>
      <dgm:spPr/>
      <dgm:t>
        <a:bodyPr/>
        <a:lstStyle/>
        <a:p>
          <a:endParaRPr lang="en-US"/>
        </a:p>
      </dgm:t>
    </dgm:pt>
    <dgm:pt modelId="{56510461-178F-4850-B76D-AAE48F2B130D}" type="sibTrans" cxnId="{41944B44-34E1-4E24-BBCF-A4CB7AFAD480}">
      <dgm:prSet/>
      <dgm:spPr/>
      <dgm:t>
        <a:bodyPr/>
        <a:lstStyle/>
        <a:p>
          <a:endParaRPr lang="en-US"/>
        </a:p>
      </dgm:t>
    </dgm:pt>
    <dgm:pt modelId="{AB40CC5F-0AFC-4977-894A-EDF9F7F62D17}">
      <dgm:prSet phldrT="[Text]"/>
      <dgm:spPr/>
      <dgm:t>
        <a:bodyPr/>
        <a:lstStyle/>
        <a:p>
          <a:r>
            <a:rPr lang="en-US" dirty="0" smtClean="0"/>
            <a:t>Ice</a:t>
          </a:r>
          <a:endParaRPr lang="en-US" dirty="0"/>
        </a:p>
      </dgm:t>
    </dgm:pt>
    <dgm:pt modelId="{0A318F1F-5E73-4787-9F4D-4DE359DBAA4F}" type="parTrans" cxnId="{8FE113CE-65ED-4F05-9764-1DBFF572A971}">
      <dgm:prSet/>
      <dgm:spPr/>
      <dgm:t>
        <a:bodyPr/>
        <a:lstStyle/>
        <a:p>
          <a:endParaRPr lang="en-US"/>
        </a:p>
      </dgm:t>
    </dgm:pt>
    <dgm:pt modelId="{13F30782-1A5C-47EC-8A81-7855B9FF28D0}" type="sibTrans" cxnId="{8FE113CE-65ED-4F05-9764-1DBFF572A971}">
      <dgm:prSet/>
      <dgm:spPr/>
      <dgm:t>
        <a:bodyPr/>
        <a:lstStyle/>
        <a:p>
          <a:endParaRPr lang="en-US"/>
        </a:p>
      </dgm:t>
    </dgm:pt>
    <dgm:pt modelId="{DC4B5FDC-CC1D-46A8-BC8B-9201FCB04CB6}">
      <dgm:prSet phldrT="[Text]"/>
      <dgm:spPr/>
      <dgm:t>
        <a:bodyPr/>
        <a:lstStyle/>
        <a:p>
          <a:r>
            <a:rPr lang="en-US" dirty="0" smtClean="0"/>
            <a:t>Fire</a:t>
          </a:r>
          <a:endParaRPr lang="en-US" dirty="0"/>
        </a:p>
      </dgm:t>
    </dgm:pt>
    <dgm:pt modelId="{9248885A-F6A1-4905-8F87-53E47CAF3887}" type="parTrans" cxnId="{CFF773AC-1F70-4629-AA63-D36ECDE39338}">
      <dgm:prSet/>
      <dgm:spPr/>
      <dgm:t>
        <a:bodyPr/>
        <a:lstStyle/>
        <a:p>
          <a:endParaRPr lang="en-US"/>
        </a:p>
      </dgm:t>
    </dgm:pt>
    <dgm:pt modelId="{9BE653CF-2509-4DDE-A0AF-B1FF8C021A8F}" type="sibTrans" cxnId="{CFF773AC-1F70-4629-AA63-D36ECDE39338}">
      <dgm:prSet/>
      <dgm:spPr/>
      <dgm:t>
        <a:bodyPr/>
        <a:lstStyle/>
        <a:p>
          <a:endParaRPr lang="en-US"/>
        </a:p>
      </dgm:t>
    </dgm:pt>
    <dgm:pt modelId="{74AFC008-2645-4D0B-AC7F-14874790DBBA}">
      <dgm:prSet/>
      <dgm:spPr/>
      <dgm:t>
        <a:bodyPr/>
        <a:lstStyle/>
        <a:p>
          <a:endParaRPr lang="en-US" dirty="0"/>
        </a:p>
      </dgm:t>
    </dgm:pt>
    <dgm:pt modelId="{D945B4D0-57F8-4224-B09A-1610F9D3C092}" type="parTrans" cxnId="{6C31C162-E75C-4EAB-87C8-620B3530578D}">
      <dgm:prSet/>
      <dgm:spPr/>
      <dgm:t>
        <a:bodyPr/>
        <a:lstStyle/>
        <a:p>
          <a:endParaRPr lang="en-US"/>
        </a:p>
      </dgm:t>
    </dgm:pt>
    <dgm:pt modelId="{2EAB6BBA-3AF7-45F1-A37A-5091C9C51F6B}" type="sibTrans" cxnId="{6C31C162-E75C-4EAB-87C8-620B3530578D}">
      <dgm:prSet/>
      <dgm:spPr/>
      <dgm:t>
        <a:bodyPr/>
        <a:lstStyle/>
        <a:p>
          <a:endParaRPr lang="en-US"/>
        </a:p>
      </dgm:t>
    </dgm:pt>
    <dgm:pt modelId="{AC3FF0CE-91B3-4D29-BEF2-B5C1C40DD19B}">
      <dgm:prSet phldrT="[Text]"/>
      <dgm:spPr/>
      <dgm:t>
        <a:bodyPr/>
        <a:lstStyle/>
        <a:p>
          <a:endParaRPr lang="en-US" dirty="0"/>
        </a:p>
      </dgm:t>
    </dgm:pt>
    <dgm:pt modelId="{79FFDA62-5B24-4FCB-830D-A6C5042E5D39}" type="parTrans" cxnId="{85556B2E-77C3-42DF-A0D8-70791DD0882A}">
      <dgm:prSet/>
      <dgm:spPr/>
      <dgm:t>
        <a:bodyPr/>
        <a:lstStyle/>
        <a:p>
          <a:endParaRPr lang="en-US"/>
        </a:p>
      </dgm:t>
    </dgm:pt>
    <dgm:pt modelId="{EA301ED5-7E1B-41B0-B1FC-84D0C78E8BB5}" type="sibTrans" cxnId="{85556B2E-77C3-42DF-A0D8-70791DD0882A}">
      <dgm:prSet/>
      <dgm:spPr/>
      <dgm:t>
        <a:bodyPr/>
        <a:lstStyle/>
        <a:p>
          <a:endParaRPr lang="en-US"/>
        </a:p>
      </dgm:t>
    </dgm:pt>
    <dgm:pt modelId="{F30669D0-CFB2-4FD7-93D6-138FA83B4672}">
      <dgm:prSet phldrT="[Text]"/>
      <dgm:spPr/>
      <dgm:t>
        <a:bodyPr/>
        <a:lstStyle/>
        <a:p>
          <a:endParaRPr lang="en-US" dirty="0"/>
        </a:p>
      </dgm:t>
    </dgm:pt>
    <dgm:pt modelId="{AEDC66E5-664F-4710-A0E4-692FAE20C29E}" type="parTrans" cxnId="{C7DBD5C8-78F3-450C-9628-2EAEF6365F6D}">
      <dgm:prSet/>
      <dgm:spPr/>
      <dgm:t>
        <a:bodyPr/>
        <a:lstStyle/>
        <a:p>
          <a:endParaRPr lang="en-US"/>
        </a:p>
      </dgm:t>
    </dgm:pt>
    <dgm:pt modelId="{7C306573-44D9-4123-A4E8-3080FF2705CF}" type="sibTrans" cxnId="{C7DBD5C8-78F3-450C-9628-2EAEF6365F6D}">
      <dgm:prSet/>
      <dgm:spPr/>
      <dgm:t>
        <a:bodyPr/>
        <a:lstStyle/>
        <a:p>
          <a:endParaRPr lang="en-US"/>
        </a:p>
      </dgm:t>
    </dgm:pt>
    <dgm:pt modelId="{FF0AD8A5-C258-4B08-86A1-128CD8E3059C}">
      <dgm:prSet phldrT="[Text]"/>
      <dgm:spPr/>
      <dgm:t>
        <a:bodyPr/>
        <a:lstStyle/>
        <a:p>
          <a:endParaRPr lang="en-US" dirty="0"/>
        </a:p>
      </dgm:t>
    </dgm:pt>
    <dgm:pt modelId="{6D7E8A3A-B88F-4B92-8A9D-6C148534FDF2}" type="parTrans" cxnId="{36FD1D63-E27A-4572-AE79-57E0EEFEA920}">
      <dgm:prSet/>
      <dgm:spPr/>
      <dgm:t>
        <a:bodyPr/>
        <a:lstStyle/>
        <a:p>
          <a:endParaRPr lang="en-US"/>
        </a:p>
      </dgm:t>
    </dgm:pt>
    <dgm:pt modelId="{76B914BD-2745-4DED-B8D3-BFEBEABFF942}" type="sibTrans" cxnId="{36FD1D63-E27A-4572-AE79-57E0EEFEA920}">
      <dgm:prSet/>
      <dgm:spPr/>
      <dgm:t>
        <a:bodyPr/>
        <a:lstStyle/>
        <a:p>
          <a:endParaRPr lang="en-US"/>
        </a:p>
      </dgm:t>
    </dgm:pt>
    <dgm:pt modelId="{6255BB09-0EC8-4357-96F7-79FE3D3B8095}" type="pres">
      <dgm:prSet presAssocID="{4246C051-FCD7-4BB3-828C-F4FDA8AAAFCD}" presName="Name0" presStyleCnt="0">
        <dgm:presLayoutVars>
          <dgm:dir/>
        </dgm:presLayoutVars>
      </dgm:prSet>
      <dgm:spPr/>
      <dgm:t>
        <a:bodyPr/>
        <a:lstStyle/>
        <a:p>
          <a:endParaRPr lang="en-US"/>
        </a:p>
      </dgm:t>
    </dgm:pt>
    <dgm:pt modelId="{9BE1C306-2CA4-4074-84B1-B9BFC0D31AF5}" type="pres">
      <dgm:prSet presAssocID="{4E7498A9-DACC-4E74-9A4F-A0FAEAE486A2}" presName="picture_1" presStyleLbl="bgImgPlace1" presStyleIdx="0" presStyleCnt="1" custFlipHor="1" custScaleX="108692" custScaleY="110011" custLinFactNeighborX="86197" custLinFactNeighborY="97"/>
      <dgm:spPr/>
      <dgm:t>
        <a:bodyPr/>
        <a:lstStyle/>
        <a:p>
          <a:endParaRPr lang="en-US"/>
        </a:p>
      </dgm:t>
    </dgm:pt>
    <dgm:pt modelId="{0BE5945A-5E54-4941-AA71-AEAE25209639}" type="pres">
      <dgm:prSet presAssocID="{BE957EC3-3AB8-4F87-84B5-6DA34F630729}" presName="text_1" presStyleLbl="node1" presStyleIdx="0" presStyleCnt="0">
        <dgm:presLayoutVars>
          <dgm:bulletEnabled val="1"/>
        </dgm:presLayoutVars>
      </dgm:prSet>
      <dgm:spPr/>
      <dgm:t>
        <a:bodyPr/>
        <a:lstStyle/>
        <a:p>
          <a:endParaRPr lang="en-US"/>
        </a:p>
      </dgm:t>
    </dgm:pt>
    <dgm:pt modelId="{718EA28D-01CE-41F7-87DE-134A02C5165B}" type="pres">
      <dgm:prSet presAssocID="{4246C051-FCD7-4BB3-828C-F4FDA8AAAFCD}" presName="linV" presStyleCnt="0"/>
      <dgm:spPr/>
      <dgm:t>
        <a:bodyPr/>
        <a:lstStyle/>
        <a:p>
          <a:endParaRPr lang="en-US"/>
        </a:p>
      </dgm:t>
    </dgm:pt>
    <dgm:pt modelId="{D2D38F9E-7FE6-4944-8F0A-9A3A1901DB03}" type="pres">
      <dgm:prSet presAssocID="{2E9A5D43-CA27-491C-9CE4-F18147CF1EAD}" presName="pair" presStyleCnt="0"/>
      <dgm:spPr/>
      <dgm:t>
        <a:bodyPr/>
        <a:lstStyle/>
        <a:p>
          <a:endParaRPr lang="en-US"/>
        </a:p>
      </dgm:t>
    </dgm:pt>
    <dgm:pt modelId="{0C5FD108-040C-44D4-95A7-107E505EDE65}" type="pres">
      <dgm:prSet presAssocID="{2E9A5D43-CA27-491C-9CE4-F18147CF1EAD}" presName="spaceH" presStyleLbl="node1" presStyleIdx="0" presStyleCnt="0"/>
      <dgm:spPr/>
      <dgm:t>
        <a:bodyPr/>
        <a:lstStyle/>
        <a:p>
          <a:endParaRPr lang="en-US"/>
        </a:p>
      </dgm:t>
    </dgm:pt>
    <dgm:pt modelId="{58BEC78A-E748-4AA5-9F8D-1E0851BBB91E}" type="pres">
      <dgm:prSet presAssocID="{2E9A5D43-CA27-491C-9CE4-F18147CF1EAD}" presName="desPictures" presStyleLbl="align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dgm:spPr>
      <dgm:t>
        <a:bodyPr/>
        <a:lstStyle/>
        <a:p>
          <a:endParaRPr lang="en-US"/>
        </a:p>
      </dgm:t>
    </dgm:pt>
    <dgm:pt modelId="{32C0D71A-67AB-461E-A841-13C860CFC327}" type="pres">
      <dgm:prSet presAssocID="{2E9A5D43-CA27-491C-9CE4-F18147CF1EAD}" presName="desTextWrapper" presStyleCnt="0"/>
      <dgm:spPr/>
      <dgm:t>
        <a:bodyPr/>
        <a:lstStyle/>
        <a:p>
          <a:endParaRPr lang="en-US"/>
        </a:p>
      </dgm:t>
    </dgm:pt>
    <dgm:pt modelId="{B6E2AEA7-9D17-4D9F-BF98-992626917D36}" type="pres">
      <dgm:prSet presAssocID="{2E9A5D43-CA27-491C-9CE4-F18147CF1EAD}" presName="desText" presStyleLbl="revTx" presStyleIdx="0" presStyleCnt="4">
        <dgm:presLayoutVars>
          <dgm:bulletEnabled val="1"/>
        </dgm:presLayoutVars>
      </dgm:prSet>
      <dgm:spPr/>
      <dgm:t>
        <a:bodyPr/>
        <a:lstStyle/>
        <a:p>
          <a:endParaRPr lang="en-US"/>
        </a:p>
      </dgm:t>
    </dgm:pt>
    <dgm:pt modelId="{C318C36C-DB81-42A4-A246-9043855CFF77}" type="pres">
      <dgm:prSet presAssocID="{39B3ACEF-E8C0-48AD-9CDA-B5562162B906}" presName="spaceV" presStyleCnt="0"/>
      <dgm:spPr/>
      <dgm:t>
        <a:bodyPr/>
        <a:lstStyle/>
        <a:p>
          <a:endParaRPr lang="en-US"/>
        </a:p>
      </dgm:t>
    </dgm:pt>
    <dgm:pt modelId="{80485F38-1042-42B8-913F-7B2DF5575D48}" type="pres">
      <dgm:prSet presAssocID="{22284D83-A558-4C50-928E-C2C00E11C5D3}" presName="pair" presStyleCnt="0"/>
      <dgm:spPr/>
      <dgm:t>
        <a:bodyPr/>
        <a:lstStyle/>
        <a:p>
          <a:endParaRPr lang="en-US"/>
        </a:p>
      </dgm:t>
    </dgm:pt>
    <dgm:pt modelId="{CD9D7518-6580-40FB-8A20-B9018EFA1A0C}" type="pres">
      <dgm:prSet presAssocID="{22284D83-A558-4C50-928E-C2C00E11C5D3}" presName="spaceH" presStyleLbl="node1" presStyleIdx="0" presStyleCnt="0"/>
      <dgm:spPr/>
      <dgm:t>
        <a:bodyPr/>
        <a:lstStyle/>
        <a:p>
          <a:endParaRPr lang="en-US"/>
        </a:p>
      </dgm:t>
    </dgm:pt>
    <dgm:pt modelId="{78413FD4-08FA-4382-AA29-48CB56D11F16}" type="pres">
      <dgm:prSet presAssocID="{22284D83-A558-4C50-928E-C2C00E11C5D3}" presName="desPictures" presStyleLbl="align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23000" r="-23000"/>
          </a:stretch>
        </a:blipFill>
      </dgm:spPr>
      <dgm:t>
        <a:bodyPr/>
        <a:lstStyle/>
        <a:p>
          <a:endParaRPr lang="en-US"/>
        </a:p>
      </dgm:t>
    </dgm:pt>
    <dgm:pt modelId="{0BEFD1B7-4AF8-4F13-8A2C-071480425CCF}" type="pres">
      <dgm:prSet presAssocID="{22284D83-A558-4C50-928E-C2C00E11C5D3}" presName="desTextWrapper" presStyleCnt="0"/>
      <dgm:spPr/>
      <dgm:t>
        <a:bodyPr/>
        <a:lstStyle/>
        <a:p>
          <a:endParaRPr lang="en-US"/>
        </a:p>
      </dgm:t>
    </dgm:pt>
    <dgm:pt modelId="{1E3FCE25-16C6-4707-834B-4C4AABE8EEE9}" type="pres">
      <dgm:prSet presAssocID="{22284D83-A558-4C50-928E-C2C00E11C5D3}" presName="desText" presStyleLbl="revTx" presStyleIdx="1" presStyleCnt="4">
        <dgm:presLayoutVars>
          <dgm:bulletEnabled val="1"/>
        </dgm:presLayoutVars>
      </dgm:prSet>
      <dgm:spPr/>
      <dgm:t>
        <a:bodyPr/>
        <a:lstStyle/>
        <a:p>
          <a:endParaRPr lang="en-US"/>
        </a:p>
      </dgm:t>
    </dgm:pt>
    <dgm:pt modelId="{361B8AA1-7769-469F-BC9B-644E9E1EECE2}" type="pres">
      <dgm:prSet presAssocID="{89497D68-6D65-40A4-A6C4-14D2DF60F6D8}" presName="spaceV" presStyleCnt="0"/>
      <dgm:spPr/>
      <dgm:t>
        <a:bodyPr/>
        <a:lstStyle/>
        <a:p>
          <a:endParaRPr lang="en-US"/>
        </a:p>
      </dgm:t>
    </dgm:pt>
    <dgm:pt modelId="{0A59C0C0-0ABC-4D21-865C-4C6EBC4C472B}" type="pres">
      <dgm:prSet presAssocID="{C0A9A5DC-B261-4506-B005-CF6BFE0E02EF}" presName="pair" presStyleCnt="0"/>
      <dgm:spPr/>
      <dgm:t>
        <a:bodyPr/>
        <a:lstStyle/>
        <a:p>
          <a:endParaRPr lang="en-US"/>
        </a:p>
      </dgm:t>
    </dgm:pt>
    <dgm:pt modelId="{8A3C78C6-580E-4584-A86E-5601C515166C}" type="pres">
      <dgm:prSet presAssocID="{C0A9A5DC-B261-4506-B005-CF6BFE0E02EF}" presName="spaceH" presStyleLbl="node1" presStyleIdx="0" presStyleCnt="0"/>
      <dgm:spPr/>
      <dgm:t>
        <a:bodyPr/>
        <a:lstStyle/>
        <a:p>
          <a:endParaRPr lang="en-US"/>
        </a:p>
      </dgm:t>
    </dgm:pt>
    <dgm:pt modelId="{B897D277-5C1C-491D-8AD9-6079B3389156}" type="pres">
      <dgm:prSet presAssocID="{C0A9A5DC-B261-4506-B005-CF6BFE0E02EF}" presName="desPictures" presStyleLbl="align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B02F28BE-56B5-4B92-9E1F-F41676609931}" type="pres">
      <dgm:prSet presAssocID="{C0A9A5DC-B261-4506-B005-CF6BFE0E02EF}" presName="desTextWrapper" presStyleCnt="0"/>
      <dgm:spPr/>
      <dgm:t>
        <a:bodyPr/>
        <a:lstStyle/>
        <a:p>
          <a:endParaRPr lang="en-US"/>
        </a:p>
      </dgm:t>
    </dgm:pt>
    <dgm:pt modelId="{46F94229-04DE-4AAF-92AA-5BDC6BB793CA}" type="pres">
      <dgm:prSet presAssocID="{C0A9A5DC-B261-4506-B005-CF6BFE0E02EF}" presName="desText" presStyleLbl="revTx" presStyleIdx="2" presStyleCnt="4">
        <dgm:presLayoutVars>
          <dgm:bulletEnabled val="1"/>
        </dgm:presLayoutVars>
      </dgm:prSet>
      <dgm:spPr/>
      <dgm:t>
        <a:bodyPr/>
        <a:lstStyle/>
        <a:p>
          <a:endParaRPr lang="en-US"/>
        </a:p>
      </dgm:t>
    </dgm:pt>
    <dgm:pt modelId="{669B2514-EF99-48D5-B6F3-A9BC747CFBC0}" type="pres">
      <dgm:prSet presAssocID="{F4D55190-4D31-481F-A8DA-5395FB478FF1}" presName="spaceV" presStyleCnt="0"/>
      <dgm:spPr/>
      <dgm:t>
        <a:bodyPr/>
        <a:lstStyle/>
        <a:p>
          <a:endParaRPr lang="en-US"/>
        </a:p>
      </dgm:t>
    </dgm:pt>
    <dgm:pt modelId="{D24977A3-F44F-4C56-9939-08F88EDA87F3}" type="pres">
      <dgm:prSet presAssocID="{5FD3416B-C662-4337-8384-71258C742187}" presName="pair" presStyleCnt="0"/>
      <dgm:spPr/>
      <dgm:t>
        <a:bodyPr/>
        <a:lstStyle/>
        <a:p>
          <a:endParaRPr lang="en-US"/>
        </a:p>
      </dgm:t>
    </dgm:pt>
    <dgm:pt modelId="{4DD541C2-0637-4A67-AD98-FD0AFC8B6632}" type="pres">
      <dgm:prSet presAssocID="{5FD3416B-C662-4337-8384-71258C742187}" presName="spaceH" presStyleLbl="node1" presStyleIdx="0" presStyleCnt="0"/>
      <dgm:spPr/>
      <dgm:t>
        <a:bodyPr/>
        <a:lstStyle/>
        <a:p>
          <a:endParaRPr lang="en-US"/>
        </a:p>
      </dgm:t>
    </dgm:pt>
    <dgm:pt modelId="{57EC1BD6-18E4-4015-8F7A-092B0F9617C5}" type="pres">
      <dgm:prSet presAssocID="{5FD3416B-C662-4337-8384-71258C742187}" presName="desPictures" presStyleLbl="align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dgm:spPr>
      <dgm:t>
        <a:bodyPr/>
        <a:lstStyle/>
        <a:p>
          <a:endParaRPr lang="en-US"/>
        </a:p>
      </dgm:t>
    </dgm:pt>
    <dgm:pt modelId="{14DA1B9C-A1B5-4363-BB76-5451B3F06BA5}" type="pres">
      <dgm:prSet presAssocID="{5FD3416B-C662-4337-8384-71258C742187}" presName="desTextWrapper" presStyleCnt="0"/>
      <dgm:spPr/>
      <dgm:t>
        <a:bodyPr/>
        <a:lstStyle/>
        <a:p>
          <a:endParaRPr lang="en-US"/>
        </a:p>
      </dgm:t>
    </dgm:pt>
    <dgm:pt modelId="{018370E7-8634-4BC6-9249-99505A31F8E3}" type="pres">
      <dgm:prSet presAssocID="{5FD3416B-C662-4337-8384-71258C742187}" presName="desText" presStyleLbl="revTx" presStyleIdx="3" presStyleCnt="4">
        <dgm:presLayoutVars>
          <dgm:bulletEnabled val="1"/>
        </dgm:presLayoutVars>
      </dgm:prSet>
      <dgm:spPr/>
      <dgm:t>
        <a:bodyPr/>
        <a:lstStyle/>
        <a:p>
          <a:endParaRPr lang="en-US"/>
        </a:p>
      </dgm:t>
    </dgm:pt>
    <dgm:pt modelId="{33AAE507-9FE2-4DC5-9ED4-C2D9C49A1A7F}" type="pres">
      <dgm:prSet presAssocID="{4246C051-FCD7-4BB3-828C-F4FDA8AAAFCD}" presName="maxNode" presStyleCnt="0"/>
      <dgm:spPr/>
      <dgm:t>
        <a:bodyPr/>
        <a:lstStyle/>
        <a:p>
          <a:endParaRPr lang="en-US"/>
        </a:p>
      </dgm:t>
    </dgm:pt>
    <dgm:pt modelId="{6B1C3C7E-F4C7-4BB2-821A-38D7994F1C97}" type="pres">
      <dgm:prSet presAssocID="{4246C051-FCD7-4BB3-828C-F4FDA8AAAFCD}" presName="Name33" presStyleCnt="0"/>
      <dgm:spPr/>
      <dgm:t>
        <a:bodyPr/>
        <a:lstStyle/>
        <a:p>
          <a:endParaRPr lang="en-US"/>
        </a:p>
      </dgm:t>
    </dgm:pt>
  </dgm:ptLst>
  <dgm:cxnLst>
    <dgm:cxn modelId="{82A2A35B-1CD4-47B7-AC8F-FAFAF26F4D61}" srcId="{5FD3416B-C662-4337-8384-71258C742187}" destId="{696B06A7-5F1B-4EB6-A176-EC009594C00B}" srcOrd="1" destOrd="0" parTransId="{FD8527DB-6C6F-4321-B66E-B67A001D4E20}" sibTransId="{491F5CE0-D250-40E8-B7F1-DF7534D23014}"/>
    <dgm:cxn modelId="{D24DC2E1-7085-4033-89BE-E87EC90E8C4F}" srcId="{2E9A5D43-CA27-491C-9CE4-F18147CF1EAD}" destId="{844B1604-6BF2-4238-9A8A-B7DF4AFA1B6B}" srcOrd="1" destOrd="0" parTransId="{E72B98FD-10CF-43CA-B76D-A2460BBBB50D}" sibTransId="{2675119D-ECCA-43AB-A22E-56C5FBEFECA8}"/>
    <dgm:cxn modelId="{FC0398F6-3004-4163-BFED-5C8A4567F963}" type="presOf" srcId="{4E7498A9-DACC-4E74-9A4F-A0FAEAE486A2}" destId="{9BE1C306-2CA4-4074-84B1-B9BFC0D31AF5}" srcOrd="0" destOrd="0" presId="urn:microsoft.com/office/officeart/2008/layout/AccentedPicture"/>
    <dgm:cxn modelId="{5460B193-49AF-4F90-BB08-769F1B1B9B16}" type="presOf" srcId="{DC4B5FDC-CC1D-46A8-BC8B-9201FCB04CB6}" destId="{1E3FCE25-16C6-4707-834B-4C4AABE8EEE9}" srcOrd="0" destOrd="2" presId="urn:microsoft.com/office/officeart/2008/layout/AccentedPicture"/>
    <dgm:cxn modelId="{D049F63A-C445-46C3-8A2B-82CEA2828A93}" type="presOf" srcId="{74AFC008-2645-4D0B-AC7F-14874790DBBA}" destId="{B6E2AEA7-9D17-4D9F-BF98-992626917D36}" srcOrd="0" destOrd="3" presId="urn:microsoft.com/office/officeart/2008/layout/AccentedPicture"/>
    <dgm:cxn modelId="{A0E59897-D918-4693-BDBB-72CA7D3CAB36}" type="presOf" srcId="{22284D83-A558-4C50-928E-C2C00E11C5D3}" destId="{1E3FCE25-16C6-4707-834B-4C4AABE8EEE9}" srcOrd="0" destOrd="0" presId="urn:microsoft.com/office/officeart/2008/layout/AccentedPicture"/>
    <dgm:cxn modelId="{6704E351-0F76-4F65-A0D4-27390B4AE423}" type="presOf" srcId="{696B06A7-5F1B-4EB6-A176-EC009594C00B}" destId="{018370E7-8634-4BC6-9249-99505A31F8E3}" srcOrd="0" destOrd="2" presId="urn:microsoft.com/office/officeart/2008/layout/AccentedPicture"/>
    <dgm:cxn modelId="{C6627D09-F643-4FE5-8B67-00B466190233}" srcId="{4246C051-FCD7-4BB3-828C-F4FDA8AAAFCD}" destId="{22284D83-A558-4C50-928E-C2C00E11C5D3}" srcOrd="2" destOrd="0" parTransId="{52302786-3CD4-4870-991A-7AEADB79B1F8}" sibTransId="{89497D68-6D65-40A4-A6C4-14D2DF60F6D8}"/>
    <dgm:cxn modelId="{337CFFC9-5C50-4C12-8565-5774D5B1AD02}" type="presOf" srcId="{BE957EC3-3AB8-4F87-84B5-6DA34F630729}" destId="{0BE5945A-5E54-4941-AA71-AEAE25209639}" srcOrd="0" destOrd="0" presId="urn:microsoft.com/office/officeart/2008/layout/AccentedPicture"/>
    <dgm:cxn modelId="{42F6CA18-BEB3-4750-B07A-87C22868C799}" type="presOf" srcId="{81ED0FFF-04A2-4223-88B8-ED71CEA7DFE8}" destId="{018370E7-8634-4BC6-9249-99505A31F8E3}" srcOrd="0" destOrd="1" presId="urn:microsoft.com/office/officeart/2008/layout/AccentedPicture"/>
    <dgm:cxn modelId="{CFD4358F-B3BB-4178-B6EF-6AE37C15DCAA}" srcId="{2E9A5D43-CA27-491C-9CE4-F18147CF1EAD}" destId="{624C342D-B7E3-4A13-A68F-334D83A4B253}" srcOrd="0" destOrd="0" parTransId="{53AE15D5-798E-4A8B-886D-B95FFDB61125}" sibTransId="{7EA30237-BD57-4615-B272-E037E936E4CC}"/>
    <dgm:cxn modelId="{AE0D430D-FC52-4590-8BF7-793E570CFE55}" srcId="{22284D83-A558-4C50-928E-C2C00E11C5D3}" destId="{29388FAF-3EC5-4A9F-9A66-F031CE0F7851}" srcOrd="0" destOrd="0" parTransId="{9473A7EB-5E65-4063-BD30-8DCAB053A44C}" sibTransId="{353CC85F-33DF-4E84-A059-93FD608DAE10}"/>
    <dgm:cxn modelId="{F86493DB-B651-4A6D-A5B2-76D5973FD781}" type="presOf" srcId="{F30669D0-CFB2-4FD7-93D6-138FA83B4672}" destId="{46F94229-04DE-4AAF-92AA-5BDC6BB793CA}" srcOrd="0" destOrd="3" presId="urn:microsoft.com/office/officeart/2008/layout/AccentedPicture"/>
    <dgm:cxn modelId="{4BFC8418-4BD8-45AB-AE11-CDF8D1121552}" type="presOf" srcId="{2E9A5D43-CA27-491C-9CE4-F18147CF1EAD}" destId="{B6E2AEA7-9D17-4D9F-BF98-992626917D36}" srcOrd="0" destOrd="0" presId="urn:microsoft.com/office/officeart/2008/layout/AccentedPicture"/>
    <dgm:cxn modelId="{9007F5AB-3E32-4BE8-9964-E64A0D548570}" type="presOf" srcId="{AC3FF0CE-91B3-4D29-BEF2-B5C1C40DD19B}" destId="{1E3FCE25-16C6-4707-834B-4C4AABE8EEE9}" srcOrd="0" destOrd="3" presId="urn:microsoft.com/office/officeart/2008/layout/AccentedPicture"/>
    <dgm:cxn modelId="{0E353004-CEEF-4C95-82C4-80E4250F9A95}" type="presOf" srcId="{FF0AD8A5-C258-4B08-86A1-128CD8E3059C}" destId="{018370E7-8634-4BC6-9249-99505A31F8E3}" srcOrd="0" destOrd="3" presId="urn:microsoft.com/office/officeart/2008/layout/AccentedPicture"/>
    <dgm:cxn modelId="{85556B2E-77C3-42DF-A0D8-70791DD0882A}" srcId="{22284D83-A558-4C50-928E-C2C00E11C5D3}" destId="{AC3FF0CE-91B3-4D29-BEF2-B5C1C40DD19B}" srcOrd="2" destOrd="0" parTransId="{79FFDA62-5B24-4FCB-830D-A6C5042E5D39}" sibTransId="{EA301ED5-7E1B-41B0-B1FC-84D0C78E8BB5}"/>
    <dgm:cxn modelId="{E4958574-6F23-433B-A98F-613B328F2EDF}" type="presOf" srcId="{29388FAF-3EC5-4A9F-9A66-F031CE0F7851}" destId="{1E3FCE25-16C6-4707-834B-4C4AABE8EEE9}" srcOrd="0" destOrd="1" presId="urn:microsoft.com/office/officeart/2008/layout/AccentedPicture"/>
    <dgm:cxn modelId="{36FD1D63-E27A-4572-AE79-57E0EEFEA920}" srcId="{5FD3416B-C662-4337-8384-71258C742187}" destId="{FF0AD8A5-C258-4B08-86A1-128CD8E3059C}" srcOrd="2" destOrd="0" parTransId="{6D7E8A3A-B88F-4B92-8A9D-6C148534FDF2}" sibTransId="{76B914BD-2745-4DED-B8D3-BFEBEABFF942}"/>
    <dgm:cxn modelId="{7FB8196E-0CEC-46E1-9986-A835C2CCC64A}" type="presOf" srcId="{624C342D-B7E3-4A13-A68F-334D83A4B253}" destId="{B6E2AEA7-9D17-4D9F-BF98-992626917D36}" srcOrd="0" destOrd="1" presId="urn:microsoft.com/office/officeart/2008/layout/AccentedPicture"/>
    <dgm:cxn modelId="{08408272-E42E-4B98-95D0-7E94138E31CD}" srcId="{4246C051-FCD7-4BB3-828C-F4FDA8AAAFCD}" destId="{2E9A5D43-CA27-491C-9CE4-F18147CF1EAD}" srcOrd="1" destOrd="0" parTransId="{D94998FF-55D8-47DE-9C1E-81FCB72F5A06}" sibTransId="{39B3ACEF-E8C0-48AD-9CDA-B5562162B906}"/>
    <dgm:cxn modelId="{8FE113CE-65ED-4F05-9764-1DBFF572A971}" srcId="{C0A9A5DC-B261-4506-B005-CF6BFE0E02EF}" destId="{AB40CC5F-0AFC-4977-894A-EDF9F7F62D17}" srcOrd="1" destOrd="0" parTransId="{0A318F1F-5E73-4787-9F4D-4DE359DBAA4F}" sibTransId="{13F30782-1A5C-47EC-8A81-7855B9FF28D0}"/>
    <dgm:cxn modelId="{D9C91B6D-A366-45FD-9557-02FEC50428BA}" type="presOf" srcId="{DAF354FC-FE29-4D1E-848F-3425EED29199}" destId="{46F94229-04DE-4AAF-92AA-5BDC6BB793CA}" srcOrd="0" destOrd="1" presId="urn:microsoft.com/office/officeart/2008/layout/AccentedPicture"/>
    <dgm:cxn modelId="{55D2CB5E-95F3-490C-A43A-7346BF81A271}" srcId="{5FD3416B-C662-4337-8384-71258C742187}" destId="{81ED0FFF-04A2-4223-88B8-ED71CEA7DFE8}" srcOrd="0" destOrd="0" parTransId="{1DC11871-59C1-4F7F-BCF6-37A9782E5680}" sibTransId="{3D02FF99-E074-4649-9289-D1B922DA0B51}"/>
    <dgm:cxn modelId="{265FC24A-E4C5-4895-99E9-F80411959246}" srcId="{4246C051-FCD7-4BB3-828C-F4FDA8AAAFCD}" destId="{5FD3416B-C662-4337-8384-71258C742187}" srcOrd="4" destOrd="0" parTransId="{5D19858E-F776-4E17-927C-22315F2DA476}" sibTransId="{0242DD3A-A365-47A9-96DB-A0D421B8DFD2}"/>
    <dgm:cxn modelId="{36975EE6-435F-43AC-AA3A-2EDB2B573A71}" type="presOf" srcId="{844B1604-6BF2-4238-9A8A-B7DF4AFA1B6B}" destId="{B6E2AEA7-9D17-4D9F-BF98-992626917D36}" srcOrd="0" destOrd="2" presId="urn:microsoft.com/office/officeart/2008/layout/AccentedPicture"/>
    <dgm:cxn modelId="{E582EC4E-F2CD-4756-884A-35C3B44CDB84}" type="presOf" srcId="{AB40CC5F-0AFC-4977-894A-EDF9F7F62D17}" destId="{46F94229-04DE-4AAF-92AA-5BDC6BB793CA}" srcOrd="0" destOrd="2" presId="urn:microsoft.com/office/officeart/2008/layout/AccentedPicture"/>
    <dgm:cxn modelId="{E953B539-56C1-44AE-8A69-CEDE9C47669B}" type="presOf" srcId="{4246C051-FCD7-4BB3-828C-F4FDA8AAAFCD}" destId="{6255BB09-0EC8-4357-96F7-79FE3D3B8095}" srcOrd="0" destOrd="0" presId="urn:microsoft.com/office/officeart/2008/layout/AccentedPicture"/>
    <dgm:cxn modelId="{41944B44-34E1-4E24-BBCF-A4CB7AFAD480}" srcId="{C0A9A5DC-B261-4506-B005-CF6BFE0E02EF}" destId="{DAF354FC-FE29-4D1E-848F-3425EED29199}" srcOrd="0" destOrd="0" parTransId="{89D8AEC3-B222-4178-807F-4D96FF826281}" sibTransId="{56510461-178F-4850-B76D-AAE48F2B130D}"/>
    <dgm:cxn modelId="{C7DBD5C8-78F3-450C-9628-2EAEF6365F6D}" srcId="{C0A9A5DC-B261-4506-B005-CF6BFE0E02EF}" destId="{F30669D0-CFB2-4FD7-93D6-138FA83B4672}" srcOrd="2" destOrd="0" parTransId="{AEDC66E5-664F-4710-A0E4-692FAE20C29E}" sibTransId="{7C306573-44D9-4123-A4E8-3080FF2705CF}"/>
    <dgm:cxn modelId="{C6BD528B-CB5B-4454-A385-C9C9D1668566}" type="presOf" srcId="{C0A9A5DC-B261-4506-B005-CF6BFE0E02EF}" destId="{46F94229-04DE-4AAF-92AA-5BDC6BB793CA}" srcOrd="0" destOrd="0" presId="urn:microsoft.com/office/officeart/2008/layout/AccentedPicture"/>
    <dgm:cxn modelId="{1675AF1D-4ACC-4B6B-974E-C375E381EB53}" srcId="{4246C051-FCD7-4BB3-828C-F4FDA8AAAFCD}" destId="{C0A9A5DC-B261-4506-B005-CF6BFE0E02EF}" srcOrd="3" destOrd="0" parTransId="{97696877-088E-41B7-AA79-B583368A744D}" sibTransId="{F4D55190-4D31-481F-A8DA-5395FB478FF1}"/>
    <dgm:cxn modelId="{6C31C162-E75C-4EAB-87C8-620B3530578D}" srcId="{2E9A5D43-CA27-491C-9CE4-F18147CF1EAD}" destId="{74AFC008-2645-4D0B-AC7F-14874790DBBA}" srcOrd="2" destOrd="0" parTransId="{D945B4D0-57F8-4224-B09A-1610F9D3C092}" sibTransId="{2EAB6BBA-3AF7-45F1-A37A-5091C9C51F6B}"/>
    <dgm:cxn modelId="{14C05858-A97E-4101-9F03-04B6A8EB14A1}" srcId="{4246C051-FCD7-4BB3-828C-F4FDA8AAAFCD}" destId="{BE957EC3-3AB8-4F87-84B5-6DA34F630729}" srcOrd="0" destOrd="0" parTransId="{2A06BB0B-F985-43A8-944B-996FB4805E33}" sibTransId="{4E7498A9-DACC-4E74-9A4F-A0FAEAE486A2}"/>
    <dgm:cxn modelId="{CFF773AC-1F70-4629-AA63-D36ECDE39338}" srcId="{22284D83-A558-4C50-928E-C2C00E11C5D3}" destId="{DC4B5FDC-CC1D-46A8-BC8B-9201FCB04CB6}" srcOrd="1" destOrd="0" parTransId="{9248885A-F6A1-4905-8F87-53E47CAF3887}" sibTransId="{9BE653CF-2509-4DDE-A0AF-B1FF8C021A8F}"/>
    <dgm:cxn modelId="{00971B64-9142-4FFD-B213-285DE51D9AA8}" type="presOf" srcId="{5FD3416B-C662-4337-8384-71258C742187}" destId="{018370E7-8634-4BC6-9249-99505A31F8E3}" srcOrd="0" destOrd="0" presId="urn:microsoft.com/office/officeart/2008/layout/AccentedPicture"/>
    <dgm:cxn modelId="{402C6959-079F-4B66-8BDE-671AA1A0C380}" type="presParOf" srcId="{6255BB09-0EC8-4357-96F7-79FE3D3B8095}" destId="{9BE1C306-2CA4-4074-84B1-B9BFC0D31AF5}" srcOrd="0" destOrd="0" presId="urn:microsoft.com/office/officeart/2008/layout/AccentedPicture"/>
    <dgm:cxn modelId="{BF6CEAF1-632D-4282-BFE5-902229418F78}" type="presParOf" srcId="{6255BB09-0EC8-4357-96F7-79FE3D3B8095}" destId="{0BE5945A-5E54-4941-AA71-AEAE25209639}" srcOrd="1" destOrd="0" presId="urn:microsoft.com/office/officeart/2008/layout/AccentedPicture"/>
    <dgm:cxn modelId="{EBC90A8A-E2EC-4409-8513-E940A8DCB8B9}" type="presParOf" srcId="{6255BB09-0EC8-4357-96F7-79FE3D3B8095}" destId="{718EA28D-01CE-41F7-87DE-134A02C5165B}" srcOrd="2" destOrd="0" presId="urn:microsoft.com/office/officeart/2008/layout/AccentedPicture"/>
    <dgm:cxn modelId="{6B4D1718-CA0B-4C7F-9C1C-88095ACA371A}" type="presParOf" srcId="{718EA28D-01CE-41F7-87DE-134A02C5165B}" destId="{D2D38F9E-7FE6-4944-8F0A-9A3A1901DB03}" srcOrd="0" destOrd="0" presId="urn:microsoft.com/office/officeart/2008/layout/AccentedPicture"/>
    <dgm:cxn modelId="{5E13E2F5-195C-4A33-927C-50976A2F6082}" type="presParOf" srcId="{D2D38F9E-7FE6-4944-8F0A-9A3A1901DB03}" destId="{0C5FD108-040C-44D4-95A7-107E505EDE65}" srcOrd="0" destOrd="0" presId="urn:microsoft.com/office/officeart/2008/layout/AccentedPicture"/>
    <dgm:cxn modelId="{57983959-A29D-48B1-AE84-3748D3D77F22}" type="presParOf" srcId="{D2D38F9E-7FE6-4944-8F0A-9A3A1901DB03}" destId="{58BEC78A-E748-4AA5-9F8D-1E0851BBB91E}" srcOrd="1" destOrd="0" presId="urn:microsoft.com/office/officeart/2008/layout/AccentedPicture"/>
    <dgm:cxn modelId="{B07043F8-75CD-48DC-8F4E-8D3D0D55238D}" type="presParOf" srcId="{D2D38F9E-7FE6-4944-8F0A-9A3A1901DB03}" destId="{32C0D71A-67AB-461E-A841-13C860CFC327}" srcOrd="2" destOrd="0" presId="urn:microsoft.com/office/officeart/2008/layout/AccentedPicture"/>
    <dgm:cxn modelId="{F9887708-2772-406F-9F67-3EA4629DF09A}" type="presParOf" srcId="{32C0D71A-67AB-461E-A841-13C860CFC327}" destId="{B6E2AEA7-9D17-4D9F-BF98-992626917D36}" srcOrd="0" destOrd="0" presId="urn:microsoft.com/office/officeart/2008/layout/AccentedPicture"/>
    <dgm:cxn modelId="{9FE65115-F4EC-4F6C-848D-E5DC696DB8E5}" type="presParOf" srcId="{718EA28D-01CE-41F7-87DE-134A02C5165B}" destId="{C318C36C-DB81-42A4-A246-9043855CFF77}" srcOrd="1" destOrd="0" presId="urn:microsoft.com/office/officeart/2008/layout/AccentedPicture"/>
    <dgm:cxn modelId="{A0899DCE-4587-45B4-A162-35C733D6842C}" type="presParOf" srcId="{718EA28D-01CE-41F7-87DE-134A02C5165B}" destId="{80485F38-1042-42B8-913F-7B2DF5575D48}" srcOrd="2" destOrd="0" presId="urn:microsoft.com/office/officeart/2008/layout/AccentedPicture"/>
    <dgm:cxn modelId="{2221C5AF-4DB4-4456-ABC6-0C26E0BF7D3D}" type="presParOf" srcId="{80485F38-1042-42B8-913F-7B2DF5575D48}" destId="{CD9D7518-6580-40FB-8A20-B9018EFA1A0C}" srcOrd="0" destOrd="0" presId="urn:microsoft.com/office/officeart/2008/layout/AccentedPicture"/>
    <dgm:cxn modelId="{6C71A039-8293-4E1D-AB53-ED9B4E92059C}" type="presParOf" srcId="{80485F38-1042-42B8-913F-7B2DF5575D48}" destId="{78413FD4-08FA-4382-AA29-48CB56D11F16}" srcOrd="1" destOrd="0" presId="urn:microsoft.com/office/officeart/2008/layout/AccentedPicture"/>
    <dgm:cxn modelId="{D89921D4-124F-4214-86E4-541A30BAC643}" type="presParOf" srcId="{80485F38-1042-42B8-913F-7B2DF5575D48}" destId="{0BEFD1B7-4AF8-4F13-8A2C-071480425CCF}" srcOrd="2" destOrd="0" presId="urn:microsoft.com/office/officeart/2008/layout/AccentedPicture"/>
    <dgm:cxn modelId="{ACD9AEDD-2B75-408D-83BE-BF47170247F9}" type="presParOf" srcId="{0BEFD1B7-4AF8-4F13-8A2C-071480425CCF}" destId="{1E3FCE25-16C6-4707-834B-4C4AABE8EEE9}" srcOrd="0" destOrd="0" presId="urn:microsoft.com/office/officeart/2008/layout/AccentedPicture"/>
    <dgm:cxn modelId="{5BFD8259-104F-435C-8180-E098D5B8C0A1}" type="presParOf" srcId="{718EA28D-01CE-41F7-87DE-134A02C5165B}" destId="{361B8AA1-7769-469F-BC9B-644E9E1EECE2}" srcOrd="3" destOrd="0" presId="urn:microsoft.com/office/officeart/2008/layout/AccentedPicture"/>
    <dgm:cxn modelId="{EE55C173-948A-4482-993F-0E8C82CD7397}" type="presParOf" srcId="{718EA28D-01CE-41F7-87DE-134A02C5165B}" destId="{0A59C0C0-0ABC-4D21-865C-4C6EBC4C472B}" srcOrd="4" destOrd="0" presId="urn:microsoft.com/office/officeart/2008/layout/AccentedPicture"/>
    <dgm:cxn modelId="{B1D3739F-4E09-4112-B6C3-4E5A1F6A5B7F}" type="presParOf" srcId="{0A59C0C0-0ABC-4D21-865C-4C6EBC4C472B}" destId="{8A3C78C6-580E-4584-A86E-5601C515166C}" srcOrd="0" destOrd="0" presId="urn:microsoft.com/office/officeart/2008/layout/AccentedPicture"/>
    <dgm:cxn modelId="{514C2F87-313C-491C-BA39-1D67813D5C26}" type="presParOf" srcId="{0A59C0C0-0ABC-4D21-865C-4C6EBC4C472B}" destId="{B897D277-5C1C-491D-8AD9-6079B3389156}" srcOrd="1" destOrd="0" presId="urn:microsoft.com/office/officeart/2008/layout/AccentedPicture"/>
    <dgm:cxn modelId="{39514F57-6C6C-4465-B9FD-A4F2BAA4DE77}" type="presParOf" srcId="{0A59C0C0-0ABC-4D21-865C-4C6EBC4C472B}" destId="{B02F28BE-56B5-4B92-9E1F-F41676609931}" srcOrd="2" destOrd="0" presId="urn:microsoft.com/office/officeart/2008/layout/AccentedPicture"/>
    <dgm:cxn modelId="{FC50F603-F6C8-43DF-8197-C4D9BDAF2991}" type="presParOf" srcId="{B02F28BE-56B5-4B92-9E1F-F41676609931}" destId="{46F94229-04DE-4AAF-92AA-5BDC6BB793CA}" srcOrd="0" destOrd="0" presId="urn:microsoft.com/office/officeart/2008/layout/AccentedPicture"/>
    <dgm:cxn modelId="{1E350E58-8BEA-4724-8DB8-E3D12D4139C2}" type="presParOf" srcId="{718EA28D-01CE-41F7-87DE-134A02C5165B}" destId="{669B2514-EF99-48D5-B6F3-A9BC747CFBC0}" srcOrd="5" destOrd="0" presId="urn:microsoft.com/office/officeart/2008/layout/AccentedPicture"/>
    <dgm:cxn modelId="{2EA788ED-C289-4766-B8D5-670DAD0A4BC2}" type="presParOf" srcId="{718EA28D-01CE-41F7-87DE-134A02C5165B}" destId="{D24977A3-F44F-4C56-9939-08F88EDA87F3}" srcOrd="6" destOrd="0" presId="urn:microsoft.com/office/officeart/2008/layout/AccentedPicture"/>
    <dgm:cxn modelId="{91D2A277-E436-441B-BB0B-CF0DBF3C0293}" type="presParOf" srcId="{D24977A3-F44F-4C56-9939-08F88EDA87F3}" destId="{4DD541C2-0637-4A67-AD98-FD0AFC8B6632}" srcOrd="0" destOrd="0" presId="urn:microsoft.com/office/officeart/2008/layout/AccentedPicture"/>
    <dgm:cxn modelId="{19E4A870-E92F-449F-ACEB-0E33F045D671}" type="presParOf" srcId="{D24977A3-F44F-4C56-9939-08F88EDA87F3}" destId="{57EC1BD6-18E4-4015-8F7A-092B0F9617C5}" srcOrd="1" destOrd="0" presId="urn:microsoft.com/office/officeart/2008/layout/AccentedPicture"/>
    <dgm:cxn modelId="{CE0B0B2C-35FB-400C-BA5E-9451B43D2057}" type="presParOf" srcId="{D24977A3-F44F-4C56-9939-08F88EDA87F3}" destId="{14DA1B9C-A1B5-4363-BB76-5451B3F06BA5}" srcOrd="2" destOrd="0" presId="urn:microsoft.com/office/officeart/2008/layout/AccentedPicture"/>
    <dgm:cxn modelId="{0FDF53CF-CACF-4D72-9310-8BD70EFDECB6}" type="presParOf" srcId="{14DA1B9C-A1B5-4363-BB76-5451B3F06BA5}" destId="{018370E7-8634-4BC6-9249-99505A31F8E3}" srcOrd="0" destOrd="0" presId="urn:microsoft.com/office/officeart/2008/layout/AccentedPicture"/>
    <dgm:cxn modelId="{94C48A67-7D6E-4D75-940A-165D9613EBE9}" type="presParOf" srcId="{6255BB09-0EC8-4357-96F7-79FE3D3B8095}" destId="{33AAE507-9FE2-4DC5-9ED4-C2D9C49A1A7F}" srcOrd="3" destOrd="0" presId="urn:microsoft.com/office/officeart/2008/layout/AccentedPicture"/>
    <dgm:cxn modelId="{F54584ED-B200-48B3-B27D-C15C92597AE0}" type="presParOf" srcId="{33AAE507-9FE2-4DC5-9ED4-C2D9C49A1A7F}" destId="{6B1C3C7E-F4C7-4BB2-821A-38D7994F1C97}" srcOrd="0" destOrd="0" presId="urn:microsoft.com/office/officeart/2008/layout/AccentedPi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F68A551-7E43-408A-B317-B66459EA04D9}" type="doc">
      <dgm:prSet loTypeId="urn:microsoft.com/office/officeart/2005/8/layout/lProcess2" loCatId="list" qsTypeId="urn:microsoft.com/office/officeart/2005/8/quickstyle/simple2" qsCatId="simple" csTypeId="urn:microsoft.com/office/officeart/2005/8/colors/accent3_2" csCatId="accent3" phldr="1"/>
      <dgm:spPr/>
      <dgm:t>
        <a:bodyPr/>
        <a:lstStyle/>
        <a:p>
          <a:endParaRPr lang="en-US"/>
        </a:p>
      </dgm:t>
    </dgm:pt>
    <dgm:pt modelId="{3F3F95B3-9EEB-48B0-9B79-C84406B165FC}">
      <dgm:prSet phldrT="[Text]" custT="1"/>
      <dgm:spPr>
        <a:ln>
          <a:noFill/>
        </a:ln>
      </dgm:spPr>
      <dgm:t>
        <a:bodyPr/>
        <a:lstStyle/>
        <a:p>
          <a:r>
            <a:rPr lang="en-US" sz="1200" b="1"/>
            <a:t>Location</a:t>
          </a:r>
        </a:p>
      </dgm:t>
    </dgm:pt>
    <dgm:pt modelId="{2E4DE36E-D491-49AA-8DB8-57902F107C9F}" type="parTrans" cxnId="{71432C69-62CE-4A90-B5A4-780DECB4A97B}">
      <dgm:prSet/>
      <dgm:spPr/>
      <dgm:t>
        <a:bodyPr/>
        <a:lstStyle/>
        <a:p>
          <a:endParaRPr lang="en-US" sz="1200"/>
        </a:p>
      </dgm:t>
    </dgm:pt>
    <dgm:pt modelId="{754B3D68-21A5-456C-8C02-DC8D25C45CDD}" type="sibTrans" cxnId="{71432C69-62CE-4A90-B5A4-780DECB4A97B}">
      <dgm:prSet/>
      <dgm:spPr/>
      <dgm:t>
        <a:bodyPr/>
        <a:lstStyle/>
        <a:p>
          <a:endParaRPr lang="en-US" sz="1200"/>
        </a:p>
      </dgm:t>
    </dgm:pt>
    <dgm:pt modelId="{4CE9E562-3FE6-407F-8CE1-30BC68127994}">
      <dgm:prSet phldrT="[Text]" custT="1"/>
      <dgm:spPr/>
      <dgm:t>
        <a:bodyPr/>
        <a:lstStyle/>
        <a:p>
          <a:r>
            <a:rPr lang="en-US" sz="1200" dirty="0"/>
            <a:t>Country</a:t>
          </a:r>
        </a:p>
      </dgm:t>
    </dgm:pt>
    <dgm:pt modelId="{D8776E7A-98C7-4564-B0E9-512B122EA563}" type="parTrans" cxnId="{C55C3E49-43A1-4CB7-9DF6-1487AB76A42E}">
      <dgm:prSet/>
      <dgm:spPr/>
      <dgm:t>
        <a:bodyPr/>
        <a:lstStyle/>
        <a:p>
          <a:endParaRPr lang="en-US" sz="1200"/>
        </a:p>
      </dgm:t>
    </dgm:pt>
    <dgm:pt modelId="{DB85C9A5-FB34-4EC5-8913-D5342840D893}" type="sibTrans" cxnId="{C55C3E49-43A1-4CB7-9DF6-1487AB76A42E}">
      <dgm:prSet/>
      <dgm:spPr/>
      <dgm:t>
        <a:bodyPr/>
        <a:lstStyle/>
        <a:p>
          <a:endParaRPr lang="en-US" sz="1200"/>
        </a:p>
      </dgm:t>
    </dgm:pt>
    <dgm:pt modelId="{CD65D893-C799-4D92-8E45-5805D2381044}">
      <dgm:prSet phldrT="[Text]" custT="1"/>
      <dgm:spPr/>
      <dgm:t>
        <a:bodyPr/>
        <a:lstStyle/>
        <a:p>
          <a:r>
            <a:rPr lang="en-US" sz="1200" dirty="0"/>
            <a:t>Length</a:t>
          </a:r>
        </a:p>
      </dgm:t>
    </dgm:pt>
    <dgm:pt modelId="{CD2B79F7-365E-42DC-9EAE-32415ECA9D10}" type="parTrans" cxnId="{99DFA347-ACD4-4E4A-A1CA-5927E4EB6A63}">
      <dgm:prSet/>
      <dgm:spPr/>
      <dgm:t>
        <a:bodyPr/>
        <a:lstStyle/>
        <a:p>
          <a:endParaRPr lang="en-US" sz="1200"/>
        </a:p>
      </dgm:t>
    </dgm:pt>
    <dgm:pt modelId="{ECA16C36-420E-498F-855F-C482CF664C8E}" type="sibTrans" cxnId="{99DFA347-ACD4-4E4A-A1CA-5927E4EB6A63}">
      <dgm:prSet/>
      <dgm:spPr/>
      <dgm:t>
        <a:bodyPr/>
        <a:lstStyle/>
        <a:p>
          <a:endParaRPr lang="en-US" sz="1200"/>
        </a:p>
      </dgm:t>
    </dgm:pt>
    <dgm:pt modelId="{D9F5310C-4511-455F-92A9-00BA44C19991}">
      <dgm:prSet phldrT="[Text]" custT="1"/>
      <dgm:spPr>
        <a:solidFill>
          <a:schemeClr val="accent3">
            <a:lumMod val="40000"/>
            <a:lumOff val="60000"/>
          </a:schemeClr>
        </a:solidFill>
        <a:ln>
          <a:solidFill>
            <a:schemeClr val="accent3">
              <a:lumMod val="60000"/>
              <a:lumOff val="40000"/>
            </a:schemeClr>
          </a:solidFill>
        </a:ln>
      </dgm:spPr>
      <dgm:t>
        <a:bodyPr/>
        <a:lstStyle/>
        <a:p>
          <a:r>
            <a:rPr lang="en-US" sz="1200" b="1"/>
            <a:t>Classification</a:t>
          </a:r>
        </a:p>
      </dgm:t>
    </dgm:pt>
    <dgm:pt modelId="{F876E5C5-70A4-4EB4-9ACC-9655F9E43614}" type="parTrans" cxnId="{D4A3403F-B5B7-4048-B404-AD9043F74445}">
      <dgm:prSet/>
      <dgm:spPr/>
      <dgm:t>
        <a:bodyPr/>
        <a:lstStyle/>
        <a:p>
          <a:endParaRPr lang="en-US" sz="1200"/>
        </a:p>
      </dgm:t>
    </dgm:pt>
    <dgm:pt modelId="{47F70D03-E16E-493E-818D-4523158665EF}" type="sibTrans" cxnId="{D4A3403F-B5B7-4048-B404-AD9043F74445}">
      <dgm:prSet/>
      <dgm:spPr/>
      <dgm:t>
        <a:bodyPr/>
        <a:lstStyle/>
        <a:p>
          <a:endParaRPr lang="en-US" sz="1200"/>
        </a:p>
      </dgm:t>
    </dgm:pt>
    <dgm:pt modelId="{6ECD7908-6F5B-4AB4-B281-C507AFBD4C3E}">
      <dgm:prSet phldrT="[Text]" custT="1"/>
      <dgm:spPr/>
      <dgm:t>
        <a:bodyPr/>
        <a:lstStyle/>
        <a:p>
          <a:r>
            <a:rPr lang="en-US" sz="1200"/>
            <a:t>National</a:t>
          </a:r>
        </a:p>
      </dgm:t>
    </dgm:pt>
    <dgm:pt modelId="{002E5A4A-5820-4F27-93AA-C5A5122CD0A1}" type="parTrans" cxnId="{FD6BEDF7-1082-421B-A488-56BC16FBFAB9}">
      <dgm:prSet/>
      <dgm:spPr/>
      <dgm:t>
        <a:bodyPr/>
        <a:lstStyle/>
        <a:p>
          <a:endParaRPr lang="en-US" sz="1200"/>
        </a:p>
      </dgm:t>
    </dgm:pt>
    <dgm:pt modelId="{7AAB4C61-513F-4B36-BF6A-9C61E0A72952}" type="sibTrans" cxnId="{FD6BEDF7-1082-421B-A488-56BC16FBFAB9}">
      <dgm:prSet/>
      <dgm:spPr/>
      <dgm:t>
        <a:bodyPr/>
        <a:lstStyle/>
        <a:p>
          <a:endParaRPr lang="en-US" sz="1200"/>
        </a:p>
      </dgm:t>
    </dgm:pt>
    <dgm:pt modelId="{275EEAF1-577E-4BCD-AAEF-014FB2B06FA3}">
      <dgm:prSet phldrT="[Text]" custT="1"/>
      <dgm:spPr>
        <a:ln>
          <a:solidFill>
            <a:schemeClr val="bg1"/>
          </a:solidFill>
        </a:ln>
      </dgm:spPr>
      <dgm:t>
        <a:bodyPr/>
        <a:lstStyle/>
        <a:p>
          <a:r>
            <a:rPr lang="en-US" sz="1200"/>
            <a:t>Regional</a:t>
          </a:r>
        </a:p>
      </dgm:t>
    </dgm:pt>
    <dgm:pt modelId="{2EDCF14C-E1BB-4208-A3F5-50A1BE82CA15}" type="parTrans" cxnId="{B5A8A77C-71C5-4644-831B-A74D1B54CA83}">
      <dgm:prSet/>
      <dgm:spPr/>
      <dgm:t>
        <a:bodyPr/>
        <a:lstStyle/>
        <a:p>
          <a:endParaRPr lang="en-US" sz="1200"/>
        </a:p>
      </dgm:t>
    </dgm:pt>
    <dgm:pt modelId="{68D82382-2019-4151-857B-07961035C5BF}" type="sibTrans" cxnId="{B5A8A77C-71C5-4644-831B-A74D1B54CA83}">
      <dgm:prSet/>
      <dgm:spPr/>
      <dgm:t>
        <a:bodyPr/>
        <a:lstStyle/>
        <a:p>
          <a:endParaRPr lang="en-US" sz="1200"/>
        </a:p>
      </dgm:t>
    </dgm:pt>
    <dgm:pt modelId="{A630C113-DA40-478A-9754-EC83605356CA}">
      <dgm:prSet phldrT="[Text]" custT="1"/>
      <dgm:spPr/>
      <dgm:t>
        <a:bodyPr/>
        <a:lstStyle/>
        <a:p>
          <a:r>
            <a:rPr lang="en-US" sz="1200" b="1"/>
            <a:t>Redundancy</a:t>
          </a:r>
        </a:p>
      </dgm:t>
    </dgm:pt>
    <dgm:pt modelId="{E16659A8-9B51-4CF4-AA64-4920F3F5DD41}" type="parTrans" cxnId="{BAD3E0E3-C01B-4610-9848-4B170CE2BB44}">
      <dgm:prSet/>
      <dgm:spPr/>
      <dgm:t>
        <a:bodyPr/>
        <a:lstStyle/>
        <a:p>
          <a:endParaRPr lang="en-US" sz="1200"/>
        </a:p>
      </dgm:t>
    </dgm:pt>
    <dgm:pt modelId="{A3B7FF09-911C-49BF-98BB-E2FD6BBF744B}" type="sibTrans" cxnId="{BAD3E0E3-C01B-4610-9848-4B170CE2BB44}">
      <dgm:prSet/>
      <dgm:spPr/>
      <dgm:t>
        <a:bodyPr/>
        <a:lstStyle/>
        <a:p>
          <a:endParaRPr lang="en-US" sz="1200"/>
        </a:p>
      </dgm:t>
    </dgm:pt>
    <dgm:pt modelId="{BBD7B213-F004-4007-B073-BA0AFB9DAE02}">
      <dgm:prSet phldrT="[Text]" custT="1"/>
      <dgm:spPr/>
      <dgm:t>
        <a:bodyPr/>
        <a:lstStyle/>
        <a:p>
          <a:r>
            <a:rPr lang="en-US" sz="1200"/>
            <a:t>Isolation</a:t>
          </a:r>
        </a:p>
      </dgm:t>
    </dgm:pt>
    <dgm:pt modelId="{B626C08D-5656-409A-8635-7025CD88A70C}" type="parTrans" cxnId="{53BA3C5B-0019-403F-BC20-B04A62A436CF}">
      <dgm:prSet/>
      <dgm:spPr/>
      <dgm:t>
        <a:bodyPr/>
        <a:lstStyle/>
        <a:p>
          <a:endParaRPr lang="en-US" sz="1200"/>
        </a:p>
      </dgm:t>
    </dgm:pt>
    <dgm:pt modelId="{6A03D9BE-7993-4DE8-921D-10A623A540EB}" type="sibTrans" cxnId="{53BA3C5B-0019-403F-BC20-B04A62A436CF}">
      <dgm:prSet/>
      <dgm:spPr/>
      <dgm:t>
        <a:bodyPr/>
        <a:lstStyle/>
        <a:p>
          <a:endParaRPr lang="en-US" sz="1200"/>
        </a:p>
      </dgm:t>
    </dgm:pt>
    <dgm:pt modelId="{AADA39AB-6D47-4C65-86F2-018D34AB3663}">
      <dgm:prSet phldrT="[Text]" custT="1"/>
      <dgm:spPr>
        <a:ln>
          <a:solidFill>
            <a:schemeClr val="tx1"/>
          </a:solidFill>
        </a:ln>
      </dgm:spPr>
      <dgm:t>
        <a:bodyPr/>
        <a:lstStyle/>
        <a:p>
          <a:r>
            <a:rPr lang="en-US" sz="1200"/>
            <a:t>Alternative Route</a:t>
          </a:r>
        </a:p>
      </dgm:t>
    </dgm:pt>
    <dgm:pt modelId="{7E7949C2-71AB-4E16-858B-90F5FBC24EB3}" type="parTrans" cxnId="{D505EBF9-7B8A-41F7-86D7-3C863E2EDA71}">
      <dgm:prSet/>
      <dgm:spPr/>
      <dgm:t>
        <a:bodyPr/>
        <a:lstStyle/>
        <a:p>
          <a:endParaRPr lang="en-US" sz="1200"/>
        </a:p>
      </dgm:t>
    </dgm:pt>
    <dgm:pt modelId="{CC205FCF-9D14-465D-8899-5A14C941DD7F}" type="sibTrans" cxnId="{D505EBF9-7B8A-41F7-86D7-3C863E2EDA71}">
      <dgm:prSet/>
      <dgm:spPr/>
      <dgm:t>
        <a:bodyPr/>
        <a:lstStyle/>
        <a:p>
          <a:endParaRPr lang="en-US" sz="1200"/>
        </a:p>
      </dgm:t>
    </dgm:pt>
    <dgm:pt modelId="{CADE6A3C-0098-4BAF-9975-D9A973030982}">
      <dgm:prSet phldrT="[Text]" custT="1"/>
      <dgm:spPr/>
      <dgm:t>
        <a:bodyPr/>
        <a:lstStyle/>
        <a:p>
          <a:r>
            <a:rPr lang="en-US" sz="1200" b="1"/>
            <a:t>Economic</a:t>
          </a:r>
        </a:p>
      </dgm:t>
    </dgm:pt>
    <dgm:pt modelId="{2C6D08D8-77A6-4E71-8622-D93E803294E6}" type="parTrans" cxnId="{07A99C1C-F229-4FCE-8114-D974C903079C}">
      <dgm:prSet/>
      <dgm:spPr/>
      <dgm:t>
        <a:bodyPr/>
        <a:lstStyle/>
        <a:p>
          <a:endParaRPr lang="en-US" sz="1200"/>
        </a:p>
      </dgm:t>
    </dgm:pt>
    <dgm:pt modelId="{2F6BEC9C-D18D-431C-94A1-65F0FB6826DF}" type="sibTrans" cxnId="{07A99C1C-F229-4FCE-8114-D974C903079C}">
      <dgm:prSet/>
      <dgm:spPr/>
      <dgm:t>
        <a:bodyPr/>
        <a:lstStyle/>
        <a:p>
          <a:endParaRPr lang="en-US" sz="1200"/>
        </a:p>
      </dgm:t>
    </dgm:pt>
    <dgm:pt modelId="{B56DA29E-7137-4D44-96FE-08794490ABBD}">
      <dgm:prSet phldrT="[Text]" custT="1"/>
      <dgm:spPr/>
      <dgm:t>
        <a:bodyPr/>
        <a:lstStyle/>
        <a:p>
          <a:r>
            <a:rPr lang="en-US" sz="1200" b="1"/>
            <a:t>Social</a:t>
          </a:r>
        </a:p>
      </dgm:t>
    </dgm:pt>
    <dgm:pt modelId="{5C308700-BCA5-40CD-9848-48B6FDF0A893}" type="parTrans" cxnId="{29FF8C78-0F9C-422F-8404-AF40EC660FDC}">
      <dgm:prSet/>
      <dgm:spPr/>
      <dgm:t>
        <a:bodyPr/>
        <a:lstStyle/>
        <a:p>
          <a:endParaRPr lang="en-US" sz="1200"/>
        </a:p>
      </dgm:t>
    </dgm:pt>
    <dgm:pt modelId="{B60F70D2-D5FC-467C-9E30-7E4E891A5BEF}" type="sibTrans" cxnId="{29FF8C78-0F9C-422F-8404-AF40EC660FDC}">
      <dgm:prSet/>
      <dgm:spPr/>
      <dgm:t>
        <a:bodyPr/>
        <a:lstStyle/>
        <a:p>
          <a:endParaRPr lang="en-US" sz="1200"/>
        </a:p>
      </dgm:t>
    </dgm:pt>
    <dgm:pt modelId="{FC18CE6A-449B-4A3B-9028-BBFAB655BD7A}">
      <dgm:prSet phldrT="[Text]" custT="1"/>
      <dgm:spPr/>
      <dgm:t>
        <a:bodyPr/>
        <a:lstStyle/>
        <a:p>
          <a:r>
            <a:rPr lang="en-US" sz="1200"/>
            <a:t>Electrical</a:t>
          </a:r>
        </a:p>
      </dgm:t>
    </dgm:pt>
    <dgm:pt modelId="{CED02176-047B-45E3-868A-F9167B277FD7}" type="parTrans" cxnId="{67F9E18A-65F0-453F-883F-59CF097395EB}">
      <dgm:prSet/>
      <dgm:spPr/>
      <dgm:t>
        <a:bodyPr/>
        <a:lstStyle/>
        <a:p>
          <a:endParaRPr lang="en-US" sz="1200"/>
        </a:p>
      </dgm:t>
    </dgm:pt>
    <dgm:pt modelId="{AF3F569A-192E-461F-83F5-6FF9EE1D7250}" type="sibTrans" cxnId="{67F9E18A-65F0-453F-883F-59CF097395EB}">
      <dgm:prSet/>
      <dgm:spPr/>
      <dgm:t>
        <a:bodyPr/>
        <a:lstStyle/>
        <a:p>
          <a:endParaRPr lang="en-US" sz="1200"/>
        </a:p>
      </dgm:t>
    </dgm:pt>
    <dgm:pt modelId="{933B4235-B9EE-4E5D-8761-341F2E948354}">
      <dgm:prSet phldrT="[Text]" custT="1"/>
      <dgm:spPr>
        <a:ln>
          <a:solidFill>
            <a:schemeClr val="tx1"/>
          </a:solidFill>
        </a:ln>
      </dgm:spPr>
      <dgm:t>
        <a:bodyPr/>
        <a:lstStyle/>
        <a:p>
          <a:r>
            <a:rPr lang="en-US" sz="1200"/>
            <a:t>Collector</a:t>
          </a:r>
        </a:p>
      </dgm:t>
    </dgm:pt>
    <dgm:pt modelId="{7EF6A037-0875-44F6-A230-69D97EB86EB2}" type="parTrans" cxnId="{E7025D99-D8A6-4208-8898-903D06B6A9D3}">
      <dgm:prSet/>
      <dgm:spPr/>
      <dgm:t>
        <a:bodyPr/>
        <a:lstStyle/>
        <a:p>
          <a:endParaRPr lang="en-US" sz="1200"/>
        </a:p>
      </dgm:t>
    </dgm:pt>
    <dgm:pt modelId="{D279A540-C18D-4BB0-8C07-E7D4F81DE624}" type="sibTrans" cxnId="{E7025D99-D8A6-4208-8898-903D06B6A9D3}">
      <dgm:prSet/>
      <dgm:spPr/>
      <dgm:t>
        <a:bodyPr/>
        <a:lstStyle/>
        <a:p>
          <a:endParaRPr lang="en-US" sz="1200"/>
        </a:p>
      </dgm:t>
    </dgm:pt>
    <dgm:pt modelId="{4F6C6010-6085-4CD8-A619-0D9356D7AA13}">
      <dgm:prSet phldrT="[Text]" custT="1"/>
      <dgm:spPr/>
      <dgm:t>
        <a:bodyPr/>
        <a:lstStyle/>
        <a:p>
          <a:r>
            <a:rPr lang="en-US" sz="1200"/>
            <a:t>Rural</a:t>
          </a:r>
        </a:p>
      </dgm:t>
    </dgm:pt>
    <dgm:pt modelId="{B268E04C-629D-4885-B845-B485255B43B1}" type="parTrans" cxnId="{B1618473-F121-40B7-9370-DB8F567929DD}">
      <dgm:prSet/>
      <dgm:spPr/>
      <dgm:t>
        <a:bodyPr/>
        <a:lstStyle/>
        <a:p>
          <a:endParaRPr lang="en-US" sz="1200"/>
        </a:p>
      </dgm:t>
    </dgm:pt>
    <dgm:pt modelId="{4467CF7A-C73F-4C72-B5BF-39B857E3835E}" type="sibTrans" cxnId="{B1618473-F121-40B7-9370-DB8F567929DD}">
      <dgm:prSet/>
      <dgm:spPr/>
      <dgm:t>
        <a:bodyPr/>
        <a:lstStyle/>
        <a:p>
          <a:endParaRPr lang="en-US" sz="1200"/>
        </a:p>
      </dgm:t>
    </dgm:pt>
    <dgm:pt modelId="{43703691-E754-44A8-A040-F8F1EC0C6F76}">
      <dgm:prSet phldrT="[Text]" custT="1"/>
      <dgm:spPr/>
      <dgm:t>
        <a:bodyPr/>
        <a:lstStyle/>
        <a:p>
          <a:r>
            <a:rPr lang="en-US" sz="1200"/>
            <a:t>Time Loss</a:t>
          </a:r>
        </a:p>
      </dgm:t>
    </dgm:pt>
    <dgm:pt modelId="{A8AB847D-DB1D-4E1F-A0CE-22DB06006DC7}" type="parTrans" cxnId="{EDC632F6-D16E-4BA4-8A50-6CFB8A85C652}">
      <dgm:prSet/>
      <dgm:spPr/>
      <dgm:t>
        <a:bodyPr/>
        <a:lstStyle/>
        <a:p>
          <a:endParaRPr lang="en-US" sz="1200"/>
        </a:p>
      </dgm:t>
    </dgm:pt>
    <dgm:pt modelId="{0508D420-AF99-433F-BD6C-15C66B209E61}" type="sibTrans" cxnId="{EDC632F6-D16E-4BA4-8A50-6CFB8A85C652}">
      <dgm:prSet/>
      <dgm:spPr/>
      <dgm:t>
        <a:bodyPr/>
        <a:lstStyle/>
        <a:p>
          <a:endParaRPr lang="en-US" sz="1200"/>
        </a:p>
      </dgm:t>
    </dgm:pt>
    <dgm:pt modelId="{A0F4D169-DCC9-4023-B0DD-7E525E81FE53}">
      <dgm:prSet phldrT="[Text]" custT="1"/>
      <dgm:spPr/>
      <dgm:t>
        <a:bodyPr/>
        <a:lstStyle/>
        <a:p>
          <a:r>
            <a:rPr lang="en-US" sz="1200"/>
            <a:t>Travel Time</a:t>
          </a:r>
        </a:p>
      </dgm:t>
    </dgm:pt>
    <dgm:pt modelId="{1FEB3BA0-08EC-48E5-A99D-0D41A10D1777}" type="parTrans" cxnId="{715C433B-85B1-4115-812D-73F2B3F59399}">
      <dgm:prSet/>
      <dgm:spPr/>
      <dgm:t>
        <a:bodyPr/>
        <a:lstStyle/>
        <a:p>
          <a:endParaRPr lang="en-US" sz="1200"/>
        </a:p>
      </dgm:t>
    </dgm:pt>
    <dgm:pt modelId="{7B235FFC-0721-47CD-AC9C-ACAFB6E6B4F9}" type="sibTrans" cxnId="{715C433B-85B1-4115-812D-73F2B3F59399}">
      <dgm:prSet/>
      <dgm:spPr/>
      <dgm:t>
        <a:bodyPr/>
        <a:lstStyle/>
        <a:p>
          <a:endParaRPr lang="en-US" sz="1200"/>
        </a:p>
      </dgm:t>
    </dgm:pt>
    <dgm:pt modelId="{6AC65BD5-34BA-4139-87EB-D1B5B27C765C}">
      <dgm:prSet phldrT="[Text]" custT="1"/>
      <dgm:spPr/>
      <dgm:t>
        <a:bodyPr/>
        <a:lstStyle/>
        <a:p>
          <a:r>
            <a:rPr lang="en-US" sz="1200"/>
            <a:t>Average Daily Trips</a:t>
          </a:r>
        </a:p>
      </dgm:t>
    </dgm:pt>
    <dgm:pt modelId="{EE6D3760-844D-49FD-8880-9B22941DD764}" type="parTrans" cxnId="{24449DF4-C9DD-405C-96CC-3BA8EDA9DB71}">
      <dgm:prSet/>
      <dgm:spPr/>
      <dgm:t>
        <a:bodyPr/>
        <a:lstStyle/>
        <a:p>
          <a:endParaRPr lang="en-US" sz="1200"/>
        </a:p>
      </dgm:t>
    </dgm:pt>
    <dgm:pt modelId="{9E740A04-EE96-4F00-AA4A-AC69E181D0C5}" type="sibTrans" cxnId="{24449DF4-C9DD-405C-96CC-3BA8EDA9DB71}">
      <dgm:prSet/>
      <dgm:spPr/>
      <dgm:t>
        <a:bodyPr/>
        <a:lstStyle/>
        <a:p>
          <a:endParaRPr lang="en-US" sz="1200"/>
        </a:p>
      </dgm:t>
    </dgm:pt>
    <dgm:pt modelId="{934AD681-DBD8-45AF-AAB6-CEC2DC16A520}">
      <dgm:prSet phldrT="[Text]" custT="1"/>
      <dgm:spPr>
        <a:ln>
          <a:solidFill>
            <a:schemeClr val="bg1"/>
          </a:solidFill>
        </a:ln>
      </dgm:spPr>
      <dgm:t>
        <a:bodyPr/>
        <a:lstStyle/>
        <a:p>
          <a:r>
            <a:rPr lang="en-US" sz="1200" b="0"/>
            <a:t>Commercial Hubs</a:t>
          </a:r>
        </a:p>
      </dgm:t>
    </dgm:pt>
    <dgm:pt modelId="{EA86F5E3-C6A4-4E6C-AB62-210CAAF1D3EF}" type="parTrans" cxnId="{CF6BF33D-4C5A-4B05-8C7F-5B4CEEA8AAE3}">
      <dgm:prSet/>
      <dgm:spPr/>
      <dgm:t>
        <a:bodyPr/>
        <a:lstStyle/>
        <a:p>
          <a:endParaRPr lang="en-US" sz="1200"/>
        </a:p>
      </dgm:t>
    </dgm:pt>
    <dgm:pt modelId="{7FD2EBD7-5519-483C-8C33-BFC033668FDE}" type="sibTrans" cxnId="{CF6BF33D-4C5A-4B05-8C7F-5B4CEEA8AAE3}">
      <dgm:prSet/>
      <dgm:spPr/>
      <dgm:t>
        <a:bodyPr/>
        <a:lstStyle/>
        <a:p>
          <a:endParaRPr lang="en-US" sz="1200"/>
        </a:p>
      </dgm:t>
    </dgm:pt>
    <dgm:pt modelId="{B98DA5E3-382F-4F3E-8E46-9C50722A93E2}">
      <dgm:prSet phldrT="[Text]" custT="1"/>
      <dgm:spPr/>
      <dgm:t>
        <a:bodyPr/>
        <a:lstStyle/>
        <a:p>
          <a:r>
            <a:rPr lang="en-US" sz="1200"/>
            <a:t>Ports</a:t>
          </a:r>
        </a:p>
      </dgm:t>
    </dgm:pt>
    <dgm:pt modelId="{A3BF2493-ABA4-4E97-87F6-A66A026BFBF0}" type="parTrans" cxnId="{1E9EC789-F19C-4D1F-A30F-0A8018EDA7E1}">
      <dgm:prSet/>
      <dgm:spPr/>
      <dgm:t>
        <a:bodyPr/>
        <a:lstStyle/>
        <a:p>
          <a:endParaRPr lang="en-US" sz="1200"/>
        </a:p>
      </dgm:t>
    </dgm:pt>
    <dgm:pt modelId="{4767942D-930C-46A2-9D7D-31E304BA2FE5}" type="sibTrans" cxnId="{1E9EC789-F19C-4D1F-A30F-0A8018EDA7E1}">
      <dgm:prSet/>
      <dgm:spPr/>
      <dgm:t>
        <a:bodyPr/>
        <a:lstStyle/>
        <a:p>
          <a:endParaRPr lang="en-US" sz="1200"/>
        </a:p>
      </dgm:t>
    </dgm:pt>
    <dgm:pt modelId="{70667BF5-46DF-4CDA-872E-A18C0587B9B9}">
      <dgm:prSet phldrT="[Text]" custT="1"/>
      <dgm:spPr/>
      <dgm:t>
        <a:bodyPr/>
        <a:lstStyle/>
        <a:p>
          <a:r>
            <a:rPr lang="en-US" sz="1200" b="0"/>
            <a:t>Imports</a:t>
          </a:r>
        </a:p>
      </dgm:t>
    </dgm:pt>
    <dgm:pt modelId="{E03B73EB-892A-4C98-8D22-4D66918C7C84}" type="parTrans" cxnId="{45713A10-3D00-4045-9F5C-8866E4365A33}">
      <dgm:prSet/>
      <dgm:spPr/>
      <dgm:t>
        <a:bodyPr/>
        <a:lstStyle/>
        <a:p>
          <a:endParaRPr lang="en-US" sz="1200"/>
        </a:p>
      </dgm:t>
    </dgm:pt>
    <dgm:pt modelId="{D6C5EF56-7D14-402A-97BE-FF86B01E26A0}" type="sibTrans" cxnId="{45713A10-3D00-4045-9F5C-8866E4365A33}">
      <dgm:prSet/>
      <dgm:spPr/>
      <dgm:t>
        <a:bodyPr/>
        <a:lstStyle/>
        <a:p>
          <a:endParaRPr lang="en-US" sz="1200"/>
        </a:p>
      </dgm:t>
    </dgm:pt>
    <dgm:pt modelId="{84381DA8-F502-4601-807E-A1A09A078113}">
      <dgm:prSet phldrT="[Text]" custT="1"/>
      <dgm:spPr/>
      <dgm:t>
        <a:bodyPr/>
        <a:lstStyle/>
        <a:p>
          <a:r>
            <a:rPr lang="en-US" sz="1200" b="0"/>
            <a:t>Exports</a:t>
          </a:r>
        </a:p>
      </dgm:t>
    </dgm:pt>
    <dgm:pt modelId="{C03E1958-F260-4EF3-8214-B8A6E6577C2D}" type="parTrans" cxnId="{FA096446-4F0D-4E00-B4E5-559D7ADB71D7}">
      <dgm:prSet/>
      <dgm:spPr/>
      <dgm:t>
        <a:bodyPr/>
        <a:lstStyle/>
        <a:p>
          <a:endParaRPr lang="en-US" sz="1200"/>
        </a:p>
      </dgm:t>
    </dgm:pt>
    <dgm:pt modelId="{136C6480-73F4-478D-A9EB-F2C8D05B9E95}" type="sibTrans" cxnId="{FA096446-4F0D-4E00-B4E5-559D7ADB71D7}">
      <dgm:prSet/>
      <dgm:spPr/>
      <dgm:t>
        <a:bodyPr/>
        <a:lstStyle/>
        <a:p>
          <a:endParaRPr lang="en-US" sz="1200"/>
        </a:p>
      </dgm:t>
    </dgm:pt>
    <dgm:pt modelId="{F0DD0977-C6E0-438E-83E4-3417848CA9CF}">
      <dgm:prSet phldrT="[Text]" custT="1"/>
      <dgm:spPr>
        <a:ln>
          <a:solidFill>
            <a:schemeClr val="tx1"/>
          </a:solidFill>
        </a:ln>
      </dgm:spPr>
      <dgm:t>
        <a:bodyPr/>
        <a:lstStyle/>
        <a:p>
          <a:r>
            <a:rPr lang="en-US" sz="1200" b="0"/>
            <a:t>Employment</a:t>
          </a:r>
        </a:p>
      </dgm:t>
    </dgm:pt>
    <dgm:pt modelId="{7CA1D974-4397-4C4C-9CF0-BAC1B5C06B3F}" type="parTrans" cxnId="{C4D096CF-FBCC-4CAC-8228-4332B63E2D90}">
      <dgm:prSet/>
      <dgm:spPr/>
      <dgm:t>
        <a:bodyPr/>
        <a:lstStyle/>
        <a:p>
          <a:endParaRPr lang="en-US" sz="1200"/>
        </a:p>
      </dgm:t>
    </dgm:pt>
    <dgm:pt modelId="{A40B7C63-8871-4EA5-9A4B-53D9029E80D2}" type="sibTrans" cxnId="{C4D096CF-FBCC-4CAC-8228-4332B63E2D90}">
      <dgm:prSet/>
      <dgm:spPr/>
      <dgm:t>
        <a:bodyPr/>
        <a:lstStyle/>
        <a:p>
          <a:endParaRPr lang="en-US" sz="1200"/>
        </a:p>
      </dgm:t>
    </dgm:pt>
    <dgm:pt modelId="{140A6599-5910-41FC-BB64-77983132B9C9}">
      <dgm:prSet phldrT="[Text]" custT="1"/>
      <dgm:spPr/>
      <dgm:t>
        <a:bodyPr/>
        <a:lstStyle/>
        <a:p>
          <a:r>
            <a:rPr lang="en-US" sz="1200"/>
            <a:t>Hospitals</a:t>
          </a:r>
        </a:p>
      </dgm:t>
    </dgm:pt>
    <dgm:pt modelId="{68F87FF9-C418-4370-9C7D-6C9DBAC1B342}" type="parTrans" cxnId="{189F365C-500E-4E32-98D7-B2CF12F95072}">
      <dgm:prSet/>
      <dgm:spPr/>
      <dgm:t>
        <a:bodyPr/>
        <a:lstStyle/>
        <a:p>
          <a:endParaRPr lang="en-US" sz="1200"/>
        </a:p>
      </dgm:t>
    </dgm:pt>
    <dgm:pt modelId="{0E1ABC6A-3787-4BE1-9329-B82EB2375971}" type="sibTrans" cxnId="{189F365C-500E-4E32-98D7-B2CF12F95072}">
      <dgm:prSet/>
      <dgm:spPr/>
      <dgm:t>
        <a:bodyPr/>
        <a:lstStyle/>
        <a:p>
          <a:endParaRPr lang="en-US" sz="1200"/>
        </a:p>
      </dgm:t>
    </dgm:pt>
    <dgm:pt modelId="{A15EA1DA-247C-484A-80A0-DF1752D9D38F}">
      <dgm:prSet phldrT="[Text]" custT="1"/>
      <dgm:spPr/>
      <dgm:t>
        <a:bodyPr/>
        <a:lstStyle/>
        <a:p>
          <a:r>
            <a:rPr lang="en-US" sz="1200"/>
            <a:t>Evacuation</a:t>
          </a:r>
        </a:p>
      </dgm:t>
    </dgm:pt>
    <dgm:pt modelId="{EF20EC1D-F171-45D0-BCBE-0130A6990045}" type="parTrans" cxnId="{73C2E74E-2744-46A0-A3DF-52A813604B1E}">
      <dgm:prSet/>
      <dgm:spPr/>
      <dgm:t>
        <a:bodyPr/>
        <a:lstStyle/>
        <a:p>
          <a:endParaRPr lang="en-US" sz="1200"/>
        </a:p>
      </dgm:t>
    </dgm:pt>
    <dgm:pt modelId="{71777BA1-5B5B-48F7-8AE9-C24CBE90250D}" type="sibTrans" cxnId="{73C2E74E-2744-46A0-A3DF-52A813604B1E}">
      <dgm:prSet/>
      <dgm:spPr/>
      <dgm:t>
        <a:bodyPr/>
        <a:lstStyle/>
        <a:p>
          <a:endParaRPr lang="en-US" sz="1200"/>
        </a:p>
      </dgm:t>
    </dgm:pt>
    <dgm:pt modelId="{400310BD-61A9-4097-AF09-E54D3F9C5DF9}">
      <dgm:prSet phldrT="[Text]" custT="1"/>
      <dgm:spPr/>
      <dgm:t>
        <a:bodyPr/>
        <a:lstStyle/>
        <a:p>
          <a:r>
            <a:rPr lang="en-US" sz="1200" b="1"/>
            <a:t>Infrastructure</a:t>
          </a:r>
        </a:p>
      </dgm:t>
    </dgm:pt>
    <dgm:pt modelId="{BD8783B0-8053-4D1D-9F2F-50B20B1ADBE2}" type="sibTrans" cxnId="{7A22EAF1-F940-4D8D-BCD9-67F184A745F2}">
      <dgm:prSet/>
      <dgm:spPr/>
      <dgm:t>
        <a:bodyPr/>
        <a:lstStyle/>
        <a:p>
          <a:endParaRPr lang="en-US" sz="1200"/>
        </a:p>
      </dgm:t>
    </dgm:pt>
    <dgm:pt modelId="{EC8EA5D0-EDF7-49AE-ACE7-CDAC293981BA}" type="parTrans" cxnId="{7A22EAF1-F940-4D8D-BCD9-67F184A745F2}">
      <dgm:prSet/>
      <dgm:spPr/>
      <dgm:t>
        <a:bodyPr/>
        <a:lstStyle/>
        <a:p>
          <a:endParaRPr lang="en-US" sz="1200"/>
        </a:p>
      </dgm:t>
    </dgm:pt>
    <dgm:pt modelId="{CE43C5AD-6C07-4999-B158-D74B4201C3C2}">
      <dgm:prSet phldrT="[Text]" custT="1"/>
      <dgm:spPr>
        <a:ln>
          <a:solidFill>
            <a:schemeClr val="tx1"/>
          </a:solidFill>
        </a:ln>
      </dgm:spPr>
      <dgm:t>
        <a:bodyPr/>
        <a:lstStyle/>
        <a:p>
          <a:r>
            <a:rPr lang="en-US" sz="1200"/>
            <a:t>Schools</a:t>
          </a:r>
        </a:p>
      </dgm:t>
    </dgm:pt>
    <dgm:pt modelId="{492BEB85-7847-46F4-BAD2-B2821454D6FD}" type="parTrans" cxnId="{509BA472-BFEE-4ABB-AAE4-3154BA36FB94}">
      <dgm:prSet/>
      <dgm:spPr/>
      <dgm:t>
        <a:bodyPr/>
        <a:lstStyle/>
        <a:p>
          <a:endParaRPr lang="en-US" sz="1200"/>
        </a:p>
      </dgm:t>
    </dgm:pt>
    <dgm:pt modelId="{6385CAAC-B73E-4850-819A-D1C807CAB220}" type="sibTrans" cxnId="{509BA472-BFEE-4ABB-AAE4-3154BA36FB94}">
      <dgm:prSet/>
      <dgm:spPr/>
      <dgm:t>
        <a:bodyPr/>
        <a:lstStyle/>
        <a:p>
          <a:endParaRPr lang="en-US" sz="1200"/>
        </a:p>
      </dgm:t>
    </dgm:pt>
    <dgm:pt modelId="{7B131C83-CC4C-4E63-94DD-A3BD1973DDDF}">
      <dgm:prSet phldrT="[Text]" custT="1"/>
      <dgm:spPr/>
      <dgm:t>
        <a:bodyPr/>
        <a:lstStyle/>
        <a:p>
          <a:r>
            <a:rPr lang="en-US" sz="1200"/>
            <a:t>Emergency Services</a:t>
          </a:r>
        </a:p>
      </dgm:t>
    </dgm:pt>
    <dgm:pt modelId="{FC75F043-90A3-432C-9187-8F1EA23883CD}" type="parTrans" cxnId="{C6ACAA80-4206-469D-97CF-C1C90990572B}">
      <dgm:prSet/>
      <dgm:spPr/>
      <dgm:t>
        <a:bodyPr/>
        <a:lstStyle/>
        <a:p>
          <a:endParaRPr lang="en-US" sz="1200"/>
        </a:p>
      </dgm:t>
    </dgm:pt>
    <dgm:pt modelId="{5FF405EE-8993-4104-8543-38CCD2A6F1F3}" type="sibTrans" cxnId="{C6ACAA80-4206-469D-97CF-C1C90990572B}">
      <dgm:prSet/>
      <dgm:spPr/>
      <dgm:t>
        <a:bodyPr/>
        <a:lstStyle/>
        <a:p>
          <a:endParaRPr lang="en-US" sz="1200"/>
        </a:p>
      </dgm:t>
    </dgm:pt>
    <dgm:pt modelId="{B4B241C2-B24F-44D0-BFE0-497648340376}">
      <dgm:prSet phldrT="[Text]" custT="1"/>
      <dgm:spPr/>
      <dgm:t>
        <a:bodyPr/>
        <a:lstStyle/>
        <a:p>
          <a:r>
            <a:rPr lang="en-US" sz="1200" dirty="0" smtClean="0"/>
            <a:t>Tech</a:t>
          </a:r>
          <a:endParaRPr lang="en-US" sz="1200" dirty="0"/>
        </a:p>
      </dgm:t>
    </dgm:pt>
    <dgm:pt modelId="{222A7C1B-A9D3-423B-9CFF-B1DA15EF6498}" type="parTrans" cxnId="{5FC3245D-9CF5-477A-B20A-AFB900C2C2FB}">
      <dgm:prSet/>
      <dgm:spPr/>
      <dgm:t>
        <a:bodyPr/>
        <a:lstStyle/>
        <a:p>
          <a:endParaRPr lang="en-US" sz="1200"/>
        </a:p>
      </dgm:t>
    </dgm:pt>
    <dgm:pt modelId="{0A48D954-19FC-4028-B6B4-848C6909EE25}" type="sibTrans" cxnId="{5FC3245D-9CF5-477A-B20A-AFB900C2C2FB}">
      <dgm:prSet/>
      <dgm:spPr/>
      <dgm:t>
        <a:bodyPr/>
        <a:lstStyle/>
        <a:p>
          <a:endParaRPr lang="en-US" sz="1200"/>
        </a:p>
      </dgm:t>
    </dgm:pt>
    <dgm:pt modelId="{C53A8E8F-3008-45AC-BDC4-77C74BEA6B69}">
      <dgm:prSet phldrT="[Text]" custT="1"/>
      <dgm:spPr/>
      <dgm:t>
        <a:bodyPr/>
        <a:lstStyle/>
        <a:p>
          <a:r>
            <a:rPr lang="en-US" sz="1200"/>
            <a:t>Water</a:t>
          </a:r>
        </a:p>
      </dgm:t>
    </dgm:pt>
    <dgm:pt modelId="{5CAB1F03-C6BB-4D43-AEAA-2A51B514C2E1}" type="parTrans" cxnId="{BC15A87E-C36B-43CA-92C8-5C41B698250A}">
      <dgm:prSet/>
      <dgm:spPr/>
      <dgm:t>
        <a:bodyPr/>
        <a:lstStyle/>
        <a:p>
          <a:endParaRPr lang="en-US" sz="1200"/>
        </a:p>
      </dgm:t>
    </dgm:pt>
    <dgm:pt modelId="{52BC8F2B-A096-40D4-831E-7325BECA275B}" type="sibTrans" cxnId="{BC15A87E-C36B-43CA-92C8-5C41B698250A}">
      <dgm:prSet/>
      <dgm:spPr/>
      <dgm:t>
        <a:bodyPr/>
        <a:lstStyle/>
        <a:p>
          <a:endParaRPr lang="en-US" sz="1200"/>
        </a:p>
      </dgm:t>
    </dgm:pt>
    <dgm:pt modelId="{56840AF8-A4B2-4180-A974-7136CEC3457D}">
      <dgm:prSet phldrT="[Text]" custT="1"/>
      <dgm:spPr/>
      <dgm:t>
        <a:bodyPr/>
        <a:lstStyle/>
        <a:p>
          <a:r>
            <a:rPr lang="en-US" sz="1200"/>
            <a:t>Wastewater</a:t>
          </a:r>
        </a:p>
      </dgm:t>
    </dgm:pt>
    <dgm:pt modelId="{F75D8F29-9692-4A3D-9F80-9815377B3086}" type="parTrans" cxnId="{710773A7-479F-4A3D-A091-BC8DF2D37EAF}">
      <dgm:prSet/>
      <dgm:spPr/>
      <dgm:t>
        <a:bodyPr/>
        <a:lstStyle/>
        <a:p>
          <a:endParaRPr lang="en-US" sz="1200"/>
        </a:p>
      </dgm:t>
    </dgm:pt>
    <dgm:pt modelId="{B1B3056A-0184-4D41-96F5-6E8ACA8AE08C}" type="sibTrans" cxnId="{710773A7-479F-4A3D-A091-BC8DF2D37EAF}">
      <dgm:prSet/>
      <dgm:spPr/>
      <dgm:t>
        <a:bodyPr/>
        <a:lstStyle/>
        <a:p>
          <a:endParaRPr lang="en-US" sz="1200"/>
        </a:p>
      </dgm:t>
    </dgm:pt>
    <dgm:pt modelId="{BA776F6D-0DC5-4843-A8D1-E5A16DA6EF75}" type="pres">
      <dgm:prSet presAssocID="{6F68A551-7E43-408A-B317-B66459EA04D9}" presName="theList" presStyleCnt="0">
        <dgm:presLayoutVars>
          <dgm:dir/>
          <dgm:animLvl val="lvl"/>
          <dgm:resizeHandles val="exact"/>
        </dgm:presLayoutVars>
      </dgm:prSet>
      <dgm:spPr/>
      <dgm:t>
        <a:bodyPr/>
        <a:lstStyle/>
        <a:p>
          <a:endParaRPr lang="en-US"/>
        </a:p>
      </dgm:t>
    </dgm:pt>
    <dgm:pt modelId="{DFFD2A39-2B2B-421F-B7D5-03DCBB84CBBD}" type="pres">
      <dgm:prSet presAssocID="{3F3F95B3-9EEB-48B0-9B79-C84406B165FC}" presName="compNode" presStyleCnt="0"/>
      <dgm:spPr/>
    </dgm:pt>
    <dgm:pt modelId="{5ECD674B-59C4-45CB-A869-13F804A21B37}" type="pres">
      <dgm:prSet presAssocID="{3F3F95B3-9EEB-48B0-9B79-C84406B165FC}" presName="aNode" presStyleLbl="bgShp" presStyleIdx="0" presStyleCnt="6"/>
      <dgm:spPr/>
      <dgm:t>
        <a:bodyPr/>
        <a:lstStyle/>
        <a:p>
          <a:endParaRPr lang="en-US"/>
        </a:p>
      </dgm:t>
    </dgm:pt>
    <dgm:pt modelId="{F6B90731-AF9D-4AD3-8530-D589AC931B10}" type="pres">
      <dgm:prSet presAssocID="{3F3F95B3-9EEB-48B0-9B79-C84406B165FC}" presName="textNode" presStyleLbl="bgShp" presStyleIdx="0" presStyleCnt="6"/>
      <dgm:spPr/>
      <dgm:t>
        <a:bodyPr/>
        <a:lstStyle/>
        <a:p>
          <a:endParaRPr lang="en-US"/>
        </a:p>
      </dgm:t>
    </dgm:pt>
    <dgm:pt modelId="{71D24F0D-30D3-44B5-8743-9B2259EE9E23}" type="pres">
      <dgm:prSet presAssocID="{3F3F95B3-9EEB-48B0-9B79-C84406B165FC}" presName="compChildNode" presStyleCnt="0"/>
      <dgm:spPr/>
    </dgm:pt>
    <dgm:pt modelId="{526FBE79-40EC-45B8-A3ED-B56ACFE684DE}" type="pres">
      <dgm:prSet presAssocID="{3F3F95B3-9EEB-48B0-9B79-C84406B165FC}" presName="theInnerList" presStyleCnt="0"/>
      <dgm:spPr/>
    </dgm:pt>
    <dgm:pt modelId="{0DAADCD3-46E8-4D71-B2CF-616F7C463787}" type="pres">
      <dgm:prSet presAssocID="{4CE9E562-3FE6-407F-8CE1-30BC68127994}" presName="childNode" presStyleLbl="node1" presStyleIdx="0" presStyleCnt="24">
        <dgm:presLayoutVars>
          <dgm:bulletEnabled val="1"/>
        </dgm:presLayoutVars>
      </dgm:prSet>
      <dgm:spPr/>
      <dgm:t>
        <a:bodyPr/>
        <a:lstStyle/>
        <a:p>
          <a:endParaRPr lang="en-US"/>
        </a:p>
      </dgm:t>
    </dgm:pt>
    <dgm:pt modelId="{6291799F-C0A5-4425-A297-8809D6041781}" type="pres">
      <dgm:prSet presAssocID="{4CE9E562-3FE6-407F-8CE1-30BC68127994}" presName="aSpace2" presStyleCnt="0"/>
      <dgm:spPr/>
    </dgm:pt>
    <dgm:pt modelId="{A3D2565D-A076-48E1-B4C5-EBDF8B1EE5C9}" type="pres">
      <dgm:prSet presAssocID="{CD65D893-C799-4D92-8E45-5805D2381044}" presName="childNode" presStyleLbl="node1" presStyleIdx="1" presStyleCnt="24">
        <dgm:presLayoutVars>
          <dgm:bulletEnabled val="1"/>
        </dgm:presLayoutVars>
      </dgm:prSet>
      <dgm:spPr/>
      <dgm:t>
        <a:bodyPr/>
        <a:lstStyle/>
        <a:p>
          <a:endParaRPr lang="en-US"/>
        </a:p>
      </dgm:t>
    </dgm:pt>
    <dgm:pt modelId="{2C93E7F3-4363-487E-89F3-09D14BCD4D7C}" type="pres">
      <dgm:prSet presAssocID="{CD65D893-C799-4D92-8E45-5805D2381044}" presName="aSpace2" presStyleCnt="0"/>
      <dgm:spPr/>
    </dgm:pt>
    <dgm:pt modelId="{B599A424-6063-405F-88C5-F9624EC4E017}" type="pres">
      <dgm:prSet presAssocID="{A0F4D169-DCC9-4023-B0DD-7E525E81FE53}" presName="childNode" presStyleLbl="node1" presStyleIdx="2" presStyleCnt="24">
        <dgm:presLayoutVars>
          <dgm:bulletEnabled val="1"/>
        </dgm:presLayoutVars>
      </dgm:prSet>
      <dgm:spPr/>
      <dgm:t>
        <a:bodyPr/>
        <a:lstStyle/>
        <a:p>
          <a:endParaRPr lang="en-US"/>
        </a:p>
      </dgm:t>
    </dgm:pt>
    <dgm:pt modelId="{4AC9525B-49F9-4862-952B-875176727CB1}" type="pres">
      <dgm:prSet presAssocID="{A0F4D169-DCC9-4023-B0DD-7E525E81FE53}" presName="aSpace2" presStyleCnt="0"/>
      <dgm:spPr/>
    </dgm:pt>
    <dgm:pt modelId="{E31F4750-298D-44EE-A0C1-88D6D2606F0C}" type="pres">
      <dgm:prSet presAssocID="{6AC65BD5-34BA-4139-87EB-D1B5B27C765C}" presName="childNode" presStyleLbl="node1" presStyleIdx="3" presStyleCnt="24">
        <dgm:presLayoutVars>
          <dgm:bulletEnabled val="1"/>
        </dgm:presLayoutVars>
      </dgm:prSet>
      <dgm:spPr/>
      <dgm:t>
        <a:bodyPr/>
        <a:lstStyle/>
        <a:p>
          <a:endParaRPr lang="en-US"/>
        </a:p>
      </dgm:t>
    </dgm:pt>
    <dgm:pt modelId="{16F69406-2D76-4CF6-9763-8794A9BF7D5D}" type="pres">
      <dgm:prSet presAssocID="{3F3F95B3-9EEB-48B0-9B79-C84406B165FC}" presName="aSpace" presStyleCnt="0"/>
      <dgm:spPr/>
    </dgm:pt>
    <dgm:pt modelId="{7B3468E7-CC31-4CF7-93A8-FBFCB8392AEE}" type="pres">
      <dgm:prSet presAssocID="{D9F5310C-4511-455F-92A9-00BA44C19991}" presName="compNode" presStyleCnt="0"/>
      <dgm:spPr/>
    </dgm:pt>
    <dgm:pt modelId="{21A6F2A2-5376-4D1F-B24F-EB5400E3E862}" type="pres">
      <dgm:prSet presAssocID="{D9F5310C-4511-455F-92A9-00BA44C19991}" presName="aNode" presStyleLbl="bgShp" presStyleIdx="1" presStyleCnt="6"/>
      <dgm:spPr/>
      <dgm:t>
        <a:bodyPr/>
        <a:lstStyle/>
        <a:p>
          <a:endParaRPr lang="en-US"/>
        </a:p>
      </dgm:t>
    </dgm:pt>
    <dgm:pt modelId="{2D7A4F47-826E-4ED1-AF3D-295228EC71AC}" type="pres">
      <dgm:prSet presAssocID="{D9F5310C-4511-455F-92A9-00BA44C19991}" presName="textNode" presStyleLbl="bgShp" presStyleIdx="1" presStyleCnt="6"/>
      <dgm:spPr/>
      <dgm:t>
        <a:bodyPr/>
        <a:lstStyle/>
        <a:p>
          <a:endParaRPr lang="en-US"/>
        </a:p>
      </dgm:t>
    </dgm:pt>
    <dgm:pt modelId="{50D5CA6F-DBDF-469E-93A7-D1F644DF6B00}" type="pres">
      <dgm:prSet presAssocID="{D9F5310C-4511-455F-92A9-00BA44C19991}" presName="compChildNode" presStyleCnt="0"/>
      <dgm:spPr/>
    </dgm:pt>
    <dgm:pt modelId="{B5B845DA-ABC6-4D00-A377-C99C02164560}" type="pres">
      <dgm:prSet presAssocID="{D9F5310C-4511-455F-92A9-00BA44C19991}" presName="theInnerList" presStyleCnt="0"/>
      <dgm:spPr/>
    </dgm:pt>
    <dgm:pt modelId="{483E9045-FAD8-4F7C-AE29-6A565E57561F}" type="pres">
      <dgm:prSet presAssocID="{6ECD7908-6F5B-4AB4-B281-C507AFBD4C3E}" presName="childNode" presStyleLbl="node1" presStyleIdx="4" presStyleCnt="24">
        <dgm:presLayoutVars>
          <dgm:bulletEnabled val="1"/>
        </dgm:presLayoutVars>
      </dgm:prSet>
      <dgm:spPr/>
      <dgm:t>
        <a:bodyPr/>
        <a:lstStyle/>
        <a:p>
          <a:endParaRPr lang="en-US"/>
        </a:p>
      </dgm:t>
    </dgm:pt>
    <dgm:pt modelId="{B4A7C65F-29E2-4427-A06C-F3F8B0C7F6A4}" type="pres">
      <dgm:prSet presAssocID="{6ECD7908-6F5B-4AB4-B281-C507AFBD4C3E}" presName="aSpace2" presStyleCnt="0"/>
      <dgm:spPr/>
    </dgm:pt>
    <dgm:pt modelId="{4CBD04D5-DEDE-4B88-AD5D-6DE78A9C7143}" type="pres">
      <dgm:prSet presAssocID="{275EEAF1-577E-4BCD-AAEF-014FB2B06FA3}" presName="childNode" presStyleLbl="node1" presStyleIdx="5" presStyleCnt="24">
        <dgm:presLayoutVars>
          <dgm:bulletEnabled val="1"/>
        </dgm:presLayoutVars>
      </dgm:prSet>
      <dgm:spPr/>
      <dgm:t>
        <a:bodyPr/>
        <a:lstStyle/>
        <a:p>
          <a:endParaRPr lang="en-US"/>
        </a:p>
      </dgm:t>
    </dgm:pt>
    <dgm:pt modelId="{72936030-F3BB-4A22-8985-43BA67124E20}" type="pres">
      <dgm:prSet presAssocID="{275EEAF1-577E-4BCD-AAEF-014FB2B06FA3}" presName="aSpace2" presStyleCnt="0"/>
      <dgm:spPr/>
    </dgm:pt>
    <dgm:pt modelId="{2C6F7EC7-DC5D-4653-93D0-F292253BD3E5}" type="pres">
      <dgm:prSet presAssocID="{933B4235-B9EE-4E5D-8761-341F2E948354}" presName="childNode" presStyleLbl="node1" presStyleIdx="6" presStyleCnt="24">
        <dgm:presLayoutVars>
          <dgm:bulletEnabled val="1"/>
        </dgm:presLayoutVars>
      </dgm:prSet>
      <dgm:spPr/>
      <dgm:t>
        <a:bodyPr/>
        <a:lstStyle/>
        <a:p>
          <a:endParaRPr lang="en-US"/>
        </a:p>
      </dgm:t>
    </dgm:pt>
    <dgm:pt modelId="{D78CC099-74E4-4952-85CB-A4A6D6CDCBCD}" type="pres">
      <dgm:prSet presAssocID="{933B4235-B9EE-4E5D-8761-341F2E948354}" presName="aSpace2" presStyleCnt="0"/>
      <dgm:spPr/>
    </dgm:pt>
    <dgm:pt modelId="{F126ACFF-2585-4EF5-83C0-3B985B165C4C}" type="pres">
      <dgm:prSet presAssocID="{4F6C6010-6085-4CD8-A619-0D9356D7AA13}" presName="childNode" presStyleLbl="node1" presStyleIdx="7" presStyleCnt="24">
        <dgm:presLayoutVars>
          <dgm:bulletEnabled val="1"/>
        </dgm:presLayoutVars>
      </dgm:prSet>
      <dgm:spPr/>
      <dgm:t>
        <a:bodyPr/>
        <a:lstStyle/>
        <a:p>
          <a:endParaRPr lang="en-US"/>
        </a:p>
      </dgm:t>
    </dgm:pt>
    <dgm:pt modelId="{57804021-CC86-4A67-9490-3A35FB1B8D87}" type="pres">
      <dgm:prSet presAssocID="{D9F5310C-4511-455F-92A9-00BA44C19991}" presName="aSpace" presStyleCnt="0"/>
      <dgm:spPr/>
    </dgm:pt>
    <dgm:pt modelId="{BD35E7E7-CF33-417F-8011-146765C598D4}" type="pres">
      <dgm:prSet presAssocID="{A630C113-DA40-478A-9754-EC83605356CA}" presName="compNode" presStyleCnt="0"/>
      <dgm:spPr/>
    </dgm:pt>
    <dgm:pt modelId="{98DD106A-59B2-4572-9D61-614D03E045B4}" type="pres">
      <dgm:prSet presAssocID="{A630C113-DA40-478A-9754-EC83605356CA}" presName="aNode" presStyleLbl="bgShp" presStyleIdx="2" presStyleCnt="6"/>
      <dgm:spPr/>
      <dgm:t>
        <a:bodyPr/>
        <a:lstStyle/>
        <a:p>
          <a:endParaRPr lang="en-US"/>
        </a:p>
      </dgm:t>
    </dgm:pt>
    <dgm:pt modelId="{4C1DC2E0-49E6-44BA-8B7A-7FC79C063953}" type="pres">
      <dgm:prSet presAssocID="{A630C113-DA40-478A-9754-EC83605356CA}" presName="textNode" presStyleLbl="bgShp" presStyleIdx="2" presStyleCnt="6"/>
      <dgm:spPr/>
      <dgm:t>
        <a:bodyPr/>
        <a:lstStyle/>
        <a:p>
          <a:endParaRPr lang="en-US"/>
        </a:p>
      </dgm:t>
    </dgm:pt>
    <dgm:pt modelId="{043C66F5-3846-4778-96BF-78924189A38A}" type="pres">
      <dgm:prSet presAssocID="{A630C113-DA40-478A-9754-EC83605356CA}" presName="compChildNode" presStyleCnt="0"/>
      <dgm:spPr/>
    </dgm:pt>
    <dgm:pt modelId="{408679DF-352B-463B-B382-2A50A77CBD6B}" type="pres">
      <dgm:prSet presAssocID="{A630C113-DA40-478A-9754-EC83605356CA}" presName="theInnerList" presStyleCnt="0"/>
      <dgm:spPr/>
    </dgm:pt>
    <dgm:pt modelId="{F61F9A3D-6916-46A4-A15D-37BE6DFD7F76}" type="pres">
      <dgm:prSet presAssocID="{BBD7B213-F004-4007-B073-BA0AFB9DAE02}" presName="childNode" presStyleLbl="node1" presStyleIdx="8" presStyleCnt="24">
        <dgm:presLayoutVars>
          <dgm:bulletEnabled val="1"/>
        </dgm:presLayoutVars>
      </dgm:prSet>
      <dgm:spPr/>
      <dgm:t>
        <a:bodyPr/>
        <a:lstStyle/>
        <a:p>
          <a:endParaRPr lang="en-US"/>
        </a:p>
      </dgm:t>
    </dgm:pt>
    <dgm:pt modelId="{66FC7CB3-D52F-4145-B577-EC3091AE7E94}" type="pres">
      <dgm:prSet presAssocID="{BBD7B213-F004-4007-B073-BA0AFB9DAE02}" presName="aSpace2" presStyleCnt="0"/>
      <dgm:spPr/>
    </dgm:pt>
    <dgm:pt modelId="{89C69EBD-7A55-4C95-A525-039956FA3315}" type="pres">
      <dgm:prSet presAssocID="{AADA39AB-6D47-4C65-86F2-018D34AB3663}" presName="childNode" presStyleLbl="node1" presStyleIdx="9" presStyleCnt="24">
        <dgm:presLayoutVars>
          <dgm:bulletEnabled val="1"/>
        </dgm:presLayoutVars>
      </dgm:prSet>
      <dgm:spPr/>
      <dgm:t>
        <a:bodyPr/>
        <a:lstStyle/>
        <a:p>
          <a:endParaRPr lang="en-US"/>
        </a:p>
      </dgm:t>
    </dgm:pt>
    <dgm:pt modelId="{39BB6D2F-78B7-4B14-AB8B-BB19E288484E}" type="pres">
      <dgm:prSet presAssocID="{AADA39AB-6D47-4C65-86F2-018D34AB3663}" presName="aSpace2" presStyleCnt="0"/>
      <dgm:spPr/>
    </dgm:pt>
    <dgm:pt modelId="{D7E02EC7-F310-4701-A969-58E6FAB8C53F}" type="pres">
      <dgm:prSet presAssocID="{43703691-E754-44A8-A040-F8F1EC0C6F76}" presName="childNode" presStyleLbl="node1" presStyleIdx="10" presStyleCnt="24">
        <dgm:presLayoutVars>
          <dgm:bulletEnabled val="1"/>
        </dgm:presLayoutVars>
      </dgm:prSet>
      <dgm:spPr/>
      <dgm:t>
        <a:bodyPr/>
        <a:lstStyle/>
        <a:p>
          <a:endParaRPr lang="en-US"/>
        </a:p>
      </dgm:t>
    </dgm:pt>
    <dgm:pt modelId="{41DC091F-168F-4DCA-97E6-5BAEF3382E9E}" type="pres">
      <dgm:prSet presAssocID="{A630C113-DA40-478A-9754-EC83605356CA}" presName="aSpace" presStyleCnt="0"/>
      <dgm:spPr/>
    </dgm:pt>
    <dgm:pt modelId="{0B4FEB16-4DA8-4002-86E2-888F6E2336BA}" type="pres">
      <dgm:prSet presAssocID="{CADE6A3C-0098-4BAF-9975-D9A973030982}" presName="compNode" presStyleCnt="0"/>
      <dgm:spPr/>
    </dgm:pt>
    <dgm:pt modelId="{EA5119AC-0DFF-4DF1-9DFF-D5F6F9E6951F}" type="pres">
      <dgm:prSet presAssocID="{CADE6A3C-0098-4BAF-9975-D9A973030982}" presName="aNode" presStyleLbl="bgShp" presStyleIdx="3" presStyleCnt="6"/>
      <dgm:spPr/>
      <dgm:t>
        <a:bodyPr/>
        <a:lstStyle/>
        <a:p>
          <a:endParaRPr lang="en-US"/>
        </a:p>
      </dgm:t>
    </dgm:pt>
    <dgm:pt modelId="{4498339F-4E89-4751-A751-403EE8FC0084}" type="pres">
      <dgm:prSet presAssocID="{CADE6A3C-0098-4BAF-9975-D9A973030982}" presName="textNode" presStyleLbl="bgShp" presStyleIdx="3" presStyleCnt="6"/>
      <dgm:spPr/>
      <dgm:t>
        <a:bodyPr/>
        <a:lstStyle/>
        <a:p>
          <a:endParaRPr lang="en-US"/>
        </a:p>
      </dgm:t>
    </dgm:pt>
    <dgm:pt modelId="{FA3790A2-D455-49E7-BDDB-579E5DAA2416}" type="pres">
      <dgm:prSet presAssocID="{CADE6A3C-0098-4BAF-9975-D9A973030982}" presName="compChildNode" presStyleCnt="0"/>
      <dgm:spPr/>
    </dgm:pt>
    <dgm:pt modelId="{9EF1CABF-C937-41EB-A028-E101023AEF08}" type="pres">
      <dgm:prSet presAssocID="{CADE6A3C-0098-4BAF-9975-D9A973030982}" presName="theInnerList" presStyleCnt="0"/>
      <dgm:spPr/>
    </dgm:pt>
    <dgm:pt modelId="{1F3A6A14-B138-4D41-B755-0ADF3F482105}" type="pres">
      <dgm:prSet presAssocID="{934AD681-DBD8-45AF-AAB6-CEC2DC16A520}" presName="childNode" presStyleLbl="node1" presStyleIdx="11" presStyleCnt="24">
        <dgm:presLayoutVars>
          <dgm:bulletEnabled val="1"/>
        </dgm:presLayoutVars>
      </dgm:prSet>
      <dgm:spPr/>
      <dgm:t>
        <a:bodyPr/>
        <a:lstStyle/>
        <a:p>
          <a:endParaRPr lang="en-US"/>
        </a:p>
      </dgm:t>
    </dgm:pt>
    <dgm:pt modelId="{23758D9E-DF8F-4123-9D47-1131A8AFFE51}" type="pres">
      <dgm:prSet presAssocID="{934AD681-DBD8-45AF-AAB6-CEC2DC16A520}" presName="aSpace2" presStyleCnt="0"/>
      <dgm:spPr/>
    </dgm:pt>
    <dgm:pt modelId="{E7102856-075E-452D-9A78-A54B17BECAA4}" type="pres">
      <dgm:prSet presAssocID="{70667BF5-46DF-4CDA-872E-A18C0587B9B9}" presName="childNode" presStyleLbl="node1" presStyleIdx="12" presStyleCnt="24">
        <dgm:presLayoutVars>
          <dgm:bulletEnabled val="1"/>
        </dgm:presLayoutVars>
      </dgm:prSet>
      <dgm:spPr/>
      <dgm:t>
        <a:bodyPr/>
        <a:lstStyle/>
        <a:p>
          <a:endParaRPr lang="en-US"/>
        </a:p>
      </dgm:t>
    </dgm:pt>
    <dgm:pt modelId="{910C024C-49E1-4723-A4B0-C63074CDB35A}" type="pres">
      <dgm:prSet presAssocID="{70667BF5-46DF-4CDA-872E-A18C0587B9B9}" presName="aSpace2" presStyleCnt="0"/>
      <dgm:spPr/>
    </dgm:pt>
    <dgm:pt modelId="{7ED403E9-FC5D-4E42-A3FF-44C25CAD64A4}" type="pres">
      <dgm:prSet presAssocID="{84381DA8-F502-4601-807E-A1A09A078113}" presName="childNode" presStyleLbl="node1" presStyleIdx="13" presStyleCnt="24">
        <dgm:presLayoutVars>
          <dgm:bulletEnabled val="1"/>
        </dgm:presLayoutVars>
      </dgm:prSet>
      <dgm:spPr/>
      <dgm:t>
        <a:bodyPr/>
        <a:lstStyle/>
        <a:p>
          <a:endParaRPr lang="en-US"/>
        </a:p>
      </dgm:t>
    </dgm:pt>
    <dgm:pt modelId="{C6DCB064-B636-4208-A92C-C821DACDC9BB}" type="pres">
      <dgm:prSet presAssocID="{84381DA8-F502-4601-807E-A1A09A078113}" presName="aSpace2" presStyleCnt="0"/>
      <dgm:spPr/>
    </dgm:pt>
    <dgm:pt modelId="{12997896-C385-4B6C-B708-861E404B3B49}" type="pres">
      <dgm:prSet presAssocID="{F0DD0977-C6E0-438E-83E4-3417848CA9CF}" presName="childNode" presStyleLbl="node1" presStyleIdx="14" presStyleCnt="24">
        <dgm:presLayoutVars>
          <dgm:bulletEnabled val="1"/>
        </dgm:presLayoutVars>
      </dgm:prSet>
      <dgm:spPr/>
      <dgm:t>
        <a:bodyPr/>
        <a:lstStyle/>
        <a:p>
          <a:endParaRPr lang="en-US"/>
        </a:p>
      </dgm:t>
    </dgm:pt>
    <dgm:pt modelId="{2207B7A5-1992-47CD-8680-C6902E7833EA}" type="pres">
      <dgm:prSet presAssocID="{CADE6A3C-0098-4BAF-9975-D9A973030982}" presName="aSpace" presStyleCnt="0"/>
      <dgm:spPr/>
    </dgm:pt>
    <dgm:pt modelId="{61A6AAAE-ABA4-4AFD-8643-7BAF40EEE57A}" type="pres">
      <dgm:prSet presAssocID="{B56DA29E-7137-4D44-96FE-08794490ABBD}" presName="compNode" presStyleCnt="0"/>
      <dgm:spPr/>
    </dgm:pt>
    <dgm:pt modelId="{AC8EE415-48C6-40E9-A797-18B494D9E5A2}" type="pres">
      <dgm:prSet presAssocID="{B56DA29E-7137-4D44-96FE-08794490ABBD}" presName="aNode" presStyleLbl="bgShp" presStyleIdx="4" presStyleCnt="6"/>
      <dgm:spPr/>
      <dgm:t>
        <a:bodyPr/>
        <a:lstStyle/>
        <a:p>
          <a:endParaRPr lang="en-US"/>
        </a:p>
      </dgm:t>
    </dgm:pt>
    <dgm:pt modelId="{69EFD3FD-D6EB-4A42-9A92-ACDDFC55B50D}" type="pres">
      <dgm:prSet presAssocID="{B56DA29E-7137-4D44-96FE-08794490ABBD}" presName="textNode" presStyleLbl="bgShp" presStyleIdx="4" presStyleCnt="6"/>
      <dgm:spPr/>
      <dgm:t>
        <a:bodyPr/>
        <a:lstStyle/>
        <a:p>
          <a:endParaRPr lang="en-US"/>
        </a:p>
      </dgm:t>
    </dgm:pt>
    <dgm:pt modelId="{C437F8D6-46C7-40E6-AA75-115527E979E6}" type="pres">
      <dgm:prSet presAssocID="{B56DA29E-7137-4D44-96FE-08794490ABBD}" presName="compChildNode" presStyleCnt="0"/>
      <dgm:spPr/>
    </dgm:pt>
    <dgm:pt modelId="{7A8A3F99-280B-4980-A842-A6F78BECB408}" type="pres">
      <dgm:prSet presAssocID="{B56DA29E-7137-4D44-96FE-08794490ABBD}" presName="theInnerList" presStyleCnt="0"/>
      <dgm:spPr/>
    </dgm:pt>
    <dgm:pt modelId="{D9377AF8-0BB2-4D71-BEF6-4B79B671AADC}" type="pres">
      <dgm:prSet presAssocID="{A15EA1DA-247C-484A-80A0-DF1752D9D38F}" presName="childNode" presStyleLbl="node1" presStyleIdx="15" presStyleCnt="24">
        <dgm:presLayoutVars>
          <dgm:bulletEnabled val="1"/>
        </dgm:presLayoutVars>
      </dgm:prSet>
      <dgm:spPr/>
      <dgm:t>
        <a:bodyPr/>
        <a:lstStyle/>
        <a:p>
          <a:endParaRPr lang="en-US"/>
        </a:p>
      </dgm:t>
    </dgm:pt>
    <dgm:pt modelId="{5E852D90-93BD-48FC-844F-2E858F3A737D}" type="pres">
      <dgm:prSet presAssocID="{A15EA1DA-247C-484A-80A0-DF1752D9D38F}" presName="aSpace2" presStyleCnt="0"/>
      <dgm:spPr/>
    </dgm:pt>
    <dgm:pt modelId="{BC218DAB-7E9A-4E96-AC56-04932B877AD7}" type="pres">
      <dgm:prSet presAssocID="{B98DA5E3-382F-4F3E-8E46-9C50722A93E2}" presName="childNode" presStyleLbl="node1" presStyleIdx="16" presStyleCnt="24">
        <dgm:presLayoutVars>
          <dgm:bulletEnabled val="1"/>
        </dgm:presLayoutVars>
      </dgm:prSet>
      <dgm:spPr/>
      <dgm:t>
        <a:bodyPr/>
        <a:lstStyle/>
        <a:p>
          <a:endParaRPr lang="en-US"/>
        </a:p>
      </dgm:t>
    </dgm:pt>
    <dgm:pt modelId="{415B2FAE-4EF9-422E-A362-92F9555BBD65}" type="pres">
      <dgm:prSet presAssocID="{B98DA5E3-382F-4F3E-8E46-9C50722A93E2}" presName="aSpace2" presStyleCnt="0"/>
      <dgm:spPr/>
    </dgm:pt>
    <dgm:pt modelId="{6E3B7CAC-6717-40FD-8B6E-919D33890FB7}" type="pres">
      <dgm:prSet presAssocID="{140A6599-5910-41FC-BB64-77983132B9C9}" presName="childNode" presStyleLbl="node1" presStyleIdx="17" presStyleCnt="24">
        <dgm:presLayoutVars>
          <dgm:bulletEnabled val="1"/>
        </dgm:presLayoutVars>
      </dgm:prSet>
      <dgm:spPr/>
      <dgm:t>
        <a:bodyPr/>
        <a:lstStyle/>
        <a:p>
          <a:endParaRPr lang="en-US"/>
        </a:p>
      </dgm:t>
    </dgm:pt>
    <dgm:pt modelId="{726A3098-82AF-4B2E-8799-64C653613832}" type="pres">
      <dgm:prSet presAssocID="{140A6599-5910-41FC-BB64-77983132B9C9}" presName="aSpace2" presStyleCnt="0"/>
      <dgm:spPr/>
    </dgm:pt>
    <dgm:pt modelId="{9ADBEE71-CA25-4554-8DA9-7B13D1B5FF33}" type="pres">
      <dgm:prSet presAssocID="{CE43C5AD-6C07-4999-B158-D74B4201C3C2}" presName="childNode" presStyleLbl="node1" presStyleIdx="18" presStyleCnt="24">
        <dgm:presLayoutVars>
          <dgm:bulletEnabled val="1"/>
        </dgm:presLayoutVars>
      </dgm:prSet>
      <dgm:spPr/>
      <dgm:t>
        <a:bodyPr/>
        <a:lstStyle/>
        <a:p>
          <a:endParaRPr lang="en-US"/>
        </a:p>
      </dgm:t>
    </dgm:pt>
    <dgm:pt modelId="{240C9EFF-5A92-4CDB-9D0C-B1F4E19F5E1F}" type="pres">
      <dgm:prSet presAssocID="{CE43C5AD-6C07-4999-B158-D74B4201C3C2}" presName="aSpace2" presStyleCnt="0"/>
      <dgm:spPr/>
    </dgm:pt>
    <dgm:pt modelId="{A78046F0-7C00-4917-A470-67F6408B7482}" type="pres">
      <dgm:prSet presAssocID="{7B131C83-CC4C-4E63-94DD-A3BD1973DDDF}" presName="childNode" presStyleLbl="node1" presStyleIdx="19" presStyleCnt="24">
        <dgm:presLayoutVars>
          <dgm:bulletEnabled val="1"/>
        </dgm:presLayoutVars>
      </dgm:prSet>
      <dgm:spPr/>
      <dgm:t>
        <a:bodyPr/>
        <a:lstStyle/>
        <a:p>
          <a:endParaRPr lang="en-US"/>
        </a:p>
      </dgm:t>
    </dgm:pt>
    <dgm:pt modelId="{19BA64F6-80BD-49B9-8FBA-65F0551A81DF}" type="pres">
      <dgm:prSet presAssocID="{B56DA29E-7137-4D44-96FE-08794490ABBD}" presName="aSpace" presStyleCnt="0"/>
      <dgm:spPr/>
    </dgm:pt>
    <dgm:pt modelId="{3476E2D2-CEE5-436C-8E7C-85AAEBAD034F}" type="pres">
      <dgm:prSet presAssocID="{400310BD-61A9-4097-AF09-E54D3F9C5DF9}" presName="compNode" presStyleCnt="0"/>
      <dgm:spPr/>
    </dgm:pt>
    <dgm:pt modelId="{60DF1A03-ABD8-4C3E-913A-2AC806A142BF}" type="pres">
      <dgm:prSet presAssocID="{400310BD-61A9-4097-AF09-E54D3F9C5DF9}" presName="aNode" presStyleLbl="bgShp" presStyleIdx="5" presStyleCnt="6"/>
      <dgm:spPr/>
      <dgm:t>
        <a:bodyPr/>
        <a:lstStyle/>
        <a:p>
          <a:endParaRPr lang="en-US"/>
        </a:p>
      </dgm:t>
    </dgm:pt>
    <dgm:pt modelId="{997933C3-C151-46B3-936D-0A602F332286}" type="pres">
      <dgm:prSet presAssocID="{400310BD-61A9-4097-AF09-E54D3F9C5DF9}" presName="textNode" presStyleLbl="bgShp" presStyleIdx="5" presStyleCnt="6"/>
      <dgm:spPr/>
      <dgm:t>
        <a:bodyPr/>
        <a:lstStyle/>
        <a:p>
          <a:endParaRPr lang="en-US"/>
        </a:p>
      </dgm:t>
    </dgm:pt>
    <dgm:pt modelId="{73E73BF3-D1A2-4218-9D5E-30B5BD262AAF}" type="pres">
      <dgm:prSet presAssocID="{400310BD-61A9-4097-AF09-E54D3F9C5DF9}" presName="compChildNode" presStyleCnt="0"/>
      <dgm:spPr/>
    </dgm:pt>
    <dgm:pt modelId="{0B1A7EF4-50CB-4AD4-B972-5D89E19467BB}" type="pres">
      <dgm:prSet presAssocID="{400310BD-61A9-4097-AF09-E54D3F9C5DF9}" presName="theInnerList" presStyleCnt="0"/>
      <dgm:spPr/>
    </dgm:pt>
    <dgm:pt modelId="{EBA25876-2890-4546-B356-7BEA1FC32FEE}" type="pres">
      <dgm:prSet presAssocID="{FC18CE6A-449B-4A3B-9028-BBFAB655BD7A}" presName="childNode" presStyleLbl="node1" presStyleIdx="20" presStyleCnt="24">
        <dgm:presLayoutVars>
          <dgm:bulletEnabled val="1"/>
        </dgm:presLayoutVars>
      </dgm:prSet>
      <dgm:spPr/>
      <dgm:t>
        <a:bodyPr/>
        <a:lstStyle/>
        <a:p>
          <a:endParaRPr lang="en-US"/>
        </a:p>
      </dgm:t>
    </dgm:pt>
    <dgm:pt modelId="{D3ED556D-CE1D-46BF-B7E7-788E90996F63}" type="pres">
      <dgm:prSet presAssocID="{FC18CE6A-449B-4A3B-9028-BBFAB655BD7A}" presName="aSpace2" presStyleCnt="0"/>
      <dgm:spPr/>
    </dgm:pt>
    <dgm:pt modelId="{74161212-CC75-48DA-AD00-325C2FFCD413}" type="pres">
      <dgm:prSet presAssocID="{B4B241C2-B24F-44D0-BFE0-497648340376}" presName="childNode" presStyleLbl="node1" presStyleIdx="21" presStyleCnt="24">
        <dgm:presLayoutVars>
          <dgm:bulletEnabled val="1"/>
        </dgm:presLayoutVars>
      </dgm:prSet>
      <dgm:spPr/>
      <dgm:t>
        <a:bodyPr/>
        <a:lstStyle/>
        <a:p>
          <a:endParaRPr lang="en-US"/>
        </a:p>
      </dgm:t>
    </dgm:pt>
    <dgm:pt modelId="{F7C98E89-E55F-4957-BE5B-76FC772AFA56}" type="pres">
      <dgm:prSet presAssocID="{B4B241C2-B24F-44D0-BFE0-497648340376}" presName="aSpace2" presStyleCnt="0"/>
      <dgm:spPr/>
    </dgm:pt>
    <dgm:pt modelId="{DB1E00A3-CA7B-4102-B428-4D662636C78D}" type="pres">
      <dgm:prSet presAssocID="{C53A8E8F-3008-45AC-BDC4-77C74BEA6B69}" presName="childNode" presStyleLbl="node1" presStyleIdx="22" presStyleCnt="24">
        <dgm:presLayoutVars>
          <dgm:bulletEnabled val="1"/>
        </dgm:presLayoutVars>
      </dgm:prSet>
      <dgm:spPr/>
      <dgm:t>
        <a:bodyPr/>
        <a:lstStyle/>
        <a:p>
          <a:endParaRPr lang="en-US"/>
        </a:p>
      </dgm:t>
    </dgm:pt>
    <dgm:pt modelId="{9D1D7DEE-6C1D-4E3E-8D3B-B373A059AB25}" type="pres">
      <dgm:prSet presAssocID="{C53A8E8F-3008-45AC-BDC4-77C74BEA6B69}" presName="aSpace2" presStyleCnt="0"/>
      <dgm:spPr/>
    </dgm:pt>
    <dgm:pt modelId="{911FEAD5-D223-42D2-BC12-F4AFA45A177C}" type="pres">
      <dgm:prSet presAssocID="{56840AF8-A4B2-4180-A974-7136CEC3457D}" presName="childNode" presStyleLbl="node1" presStyleIdx="23" presStyleCnt="24">
        <dgm:presLayoutVars>
          <dgm:bulletEnabled val="1"/>
        </dgm:presLayoutVars>
      </dgm:prSet>
      <dgm:spPr/>
      <dgm:t>
        <a:bodyPr/>
        <a:lstStyle/>
        <a:p>
          <a:endParaRPr lang="en-US"/>
        </a:p>
      </dgm:t>
    </dgm:pt>
  </dgm:ptLst>
  <dgm:cxnLst>
    <dgm:cxn modelId="{C4D096CF-FBCC-4CAC-8228-4332B63E2D90}" srcId="{CADE6A3C-0098-4BAF-9975-D9A973030982}" destId="{F0DD0977-C6E0-438E-83E4-3417848CA9CF}" srcOrd="3" destOrd="0" parTransId="{7CA1D974-4397-4C4C-9CF0-BAC1B5C06B3F}" sibTransId="{A40B7C63-8871-4EA5-9A4B-53D9029E80D2}"/>
    <dgm:cxn modelId="{13F91ED9-AFCC-4D67-88FB-EDBD4948EC30}" type="presOf" srcId="{400310BD-61A9-4097-AF09-E54D3F9C5DF9}" destId="{997933C3-C151-46B3-936D-0A602F332286}" srcOrd="1" destOrd="0" presId="urn:microsoft.com/office/officeart/2005/8/layout/lProcess2"/>
    <dgm:cxn modelId="{0E2A8CFC-F082-444B-9EE5-E20A657F78FD}" type="presOf" srcId="{B56DA29E-7137-4D44-96FE-08794490ABBD}" destId="{69EFD3FD-D6EB-4A42-9A92-ACDDFC55B50D}" srcOrd="1" destOrd="0" presId="urn:microsoft.com/office/officeart/2005/8/layout/lProcess2"/>
    <dgm:cxn modelId="{18B59AB9-7A9D-445F-97E2-B7A681D0C3EF}" type="presOf" srcId="{CE43C5AD-6C07-4999-B158-D74B4201C3C2}" destId="{9ADBEE71-CA25-4554-8DA9-7B13D1B5FF33}" srcOrd="0" destOrd="0" presId="urn:microsoft.com/office/officeart/2005/8/layout/lProcess2"/>
    <dgm:cxn modelId="{1E9EC789-F19C-4D1F-A30F-0A8018EDA7E1}" srcId="{B56DA29E-7137-4D44-96FE-08794490ABBD}" destId="{B98DA5E3-382F-4F3E-8E46-9C50722A93E2}" srcOrd="1" destOrd="0" parTransId="{A3BF2493-ABA4-4E97-87F6-A66A026BFBF0}" sibTransId="{4767942D-930C-46A2-9D7D-31E304BA2FE5}"/>
    <dgm:cxn modelId="{509BA472-BFEE-4ABB-AAE4-3154BA36FB94}" srcId="{B56DA29E-7137-4D44-96FE-08794490ABBD}" destId="{CE43C5AD-6C07-4999-B158-D74B4201C3C2}" srcOrd="3" destOrd="0" parTransId="{492BEB85-7847-46F4-BAD2-B2821454D6FD}" sibTransId="{6385CAAC-B73E-4850-819A-D1C807CAB220}"/>
    <dgm:cxn modelId="{40456AE0-4DB4-40E0-B771-8D4EEBE3CC4E}" type="presOf" srcId="{56840AF8-A4B2-4180-A974-7136CEC3457D}" destId="{911FEAD5-D223-42D2-BC12-F4AFA45A177C}" srcOrd="0" destOrd="0" presId="urn:microsoft.com/office/officeart/2005/8/layout/lProcess2"/>
    <dgm:cxn modelId="{9405FA3E-E8E4-4C02-834F-9086B5CEFEAC}" type="presOf" srcId="{CADE6A3C-0098-4BAF-9975-D9A973030982}" destId="{EA5119AC-0DFF-4DF1-9DFF-D5F6F9E6951F}" srcOrd="0" destOrd="0" presId="urn:microsoft.com/office/officeart/2005/8/layout/lProcess2"/>
    <dgm:cxn modelId="{46A2B321-293A-4805-A6AC-0F64A4D9B7DF}" type="presOf" srcId="{4CE9E562-3FE6-407F-8CE1-30BC68127994}" destId="{0DAADCD3-46E8-4D71-B2CF-616F7C463787}" srcOrd="0" destOrd="0" presId="urn:microsoft.com/office/officeart/2005/8/layout/lProcess2"/>
    <dgm:cxn modelId="{629E8B16-F902-4629-B6CD-B43E4B3132F9}" type="presOf" srcId="{B98DA5E3-382F-4F3E-8E46-9C50722A93E2}" destId="{BC218DAB-7E9A-4E96-AC56-04932B877AD7}" srcOrd="0" destOrd="0" presId="urn:microsoft.com/office/officeart/2005/8/layout/lProcess2"/>
    <dgm:cxn modelId="{6963C455-CBBD-48E1-81F4-41C33D3E0950}" type="presOf" srcId="{D9F5310C-4511-455F-92A9-00BA44C19991}" destId="{21A6F2A2-5376-4D1F-B24F-EB5400E3E862}" srcOrd="0" destOrd="0" presId="urn:microsoft.com/office/officeart/2005/8/layout/lProcess2"/>
    <dgm:cxn modelId="{8A19DBFC-527C-448F-96CC-37273E7D32CC}" type="presOf" srcId="{3F3F95B3-9EEB-48B0-9B79-C84406B165FC}" destId="{5ECD674B-59C4-45CB-A869-13F804A21B37}" srcOrd="0" destOrd="0" presId="urn:microsoft.com/office/officeart/2005/8/layout/lProcess2"/>
    <dgm:cxn modelId="{53BA3C5B-0019-403F-BC20-B04A62A436CF}" srcId="{A630C113-DA40-478A-9754-EC83605356CA}" destId="{BBD7B213-F004-4007-B073-BA0AFB9DAE02}" srcOrd="0" destOrd="0" parTransId="{B626C08D-5656-409A-8635-7025CD88A70C}" sibTransId="{6A03D9BE-7993-4DE8-921D-10A623A540EB}"/>
    <dgm:cxn modelId="{7377CBF0-BBCB-48C4-880B-0F096D73002B}" type="presOf" srcId="{4F6C6010-6085-4CD8-A619-0D9356D7AA13}" destId="{F126ACFF-2585-4EF5-83C0-3B985B165C4C}" srcOrd="0" destOrd="0" presId="urn:microsoft.com/office/officeart/2005/8/layout/lProcess2"/>
    <dgm:cxn modelId="{710773A7-479F-4A3D-A091-BC8DF2D37EAF}" srcId="{400310BD-61A9-4097-AF09-E54D3F9C5DF9}" destId="{56840AF8-A4B2-4180-A974-7136CEC3457D}" srcOrd="3" destOrd="0" parTransId="{F75D8F29-9692-4A3D-9F80-9815377B3086}" sibTransId="{B1B3056A-0184-4D41-96F5-6E8ACA8AE08C}"/>
    <dgm:cxn modelId="{71432C69-62CE-4A90-B5A4-780DECB4A97B}" srcId="{6F68A551-7E43-408A-B317-B66459EA04D9}" destId="{3F3F95B3-9EEB-48B0-9B79-C84406B165FC}" srcOrd="0" destOrd="0" parTransId="{2E4DE36E-D491-49AA-8DB8-57902F107C9F}" sibTransId="{754B3D68-21A5-456C-8C02-DC8D25C45CDD}"/>
    <dgm:cxn modelId="{08954361-114A-44CD-9D19-92F0894AAE70}" type="presOf" srcId="{140A6599-5910-41FC-BB64-77983132B9C9}" destId="{6E3B7CAC-6717-40FD-8B6E-919D33890FB7}" srcOrd="0" destOrd="0" presId="urn:microsoft.com/office/officeart/2005/8/layout/lProcess2"/>
    <dgm:cxn modelId="{60B8B422-C7D4-45BA-AE72-E366F886BDAD}" type="presOf" srcId="{A0F4D169-DCC9-4023-B0DD-7E525E81FE53}" destId="{B599A424-6063-405F-88C5-F9624EC4E017}" srcOrd="0" destOrd="0" presId="urn:microsoft.com/office/officeart/2005/8/layout/lProcess2"/>
    <dgm:cxn modelId="{715C433B-85B1-4115-812D-73F2B3F59399}" srcId="{3F3F95B3-9EEB-48B0-9B79-C84406B165FC}" destId="{A0F4D169-DCC9-4023-B0DD-7E525E81FE53}" srcOrd="2" destOrd="0" parTransId="{1FEB3BA0-08EC-48E5-A99D-0D41A10D1777}" sibTransId="{7B235FFC-0721-47CD-AC9C-ACAFB6E6B4F9}"/>
    <dgm:cxn modelId="{5FC3245D-9CF5-477A-B20A-AFB900C2C2FB}" srcId="{400310BD-61A9-4097-AF09-E54D3F9C5DF9}" destId="{B4B241C2-B24F-44D0-BFE0-497648340376}" srcOrd="1" destOrd="0" parTransId="{222A7C1B-A9D3-423B-9CFF-B1DA15EF6498}" sibTransId="{0A48D954-19FC-4028-B6B4-848C6909EE25}"/>
    <dgm:cxn modelId="{D505EBF9-7B8A-41F7-86D7-3C863E2EDA71}" srcId="{A630C113-DA40-478A-9754-EC83605356CA}" destId="{AADA39AB-6D47-4C65-86F2-018D34AB3663}" srcOrd="1" destOrd="0" parTransId="{7E7949C2-71AB-4E16-858B-90F5FBC24EB3}" sibTransId="{CC205FCF-9D14-465D-8899-5A14C941DD7F}"/>
    <dgm:cxn modelId="{EF3A3538-1B55-480C-8553-E2BDE425C1B9}" type="presOf" srcId="{A630C113-DA40-478A-9754-EC83605356CA}" destId="{4C1DC2E0-49E6-44BA-8B7A-7FC79C063953}" srcOrd="1" destOrd="0" presId="urn:microsoft.com/office/officeart/2005/8/layout/lProcess2"/>
    <dgm:cxn modelId="{2A07119F-A7B0-4C65-A37D-8C50C0FA5BD9}" type="presOf" srcId="{F0DD0977-C6E0-438E-83E4-3417848CA9CF}" destId="{12997896-C385-4B6C-B708-861E404B3B49}" srcOrd="0" destOrd="0" presId="urn:microsoft.com/office/officeart/2005/8/layout/lProcess2"/>
    <dgm:cxn modelId="{2A5B9AFF-0ABC-4179-88C0-FE727F6B155E}" type="presOf" srcId="{275EEAF1-577E-4BCD-AAEF-014FB2B06FA3}" destId="{4CBD04D5-DEDE-4B88-AD5D-6DE78A9C7143}" srcOrd="0" destOrd="0" presId="urn:microsoft.com/office/officeart/2005/8/layout/lProcess2"/>
    <dgm:cxn modelId="{BC15A87E-C36B-43CA-92C8-5C41B698250A}" srcId="{400310BD-61A9-4097-AF09-E54D3F9C5DF9}" destId="{C53A8E8F-3008-45AC-BDC4-77C74BEA6B69}" srcOrd="2" destOrd="0" parTransId="{5CAB1F03-C6BB-4D43-AEAA-2A51B514C2E1}" sibTransId="{52BC8F2B-A096-40D4-831E-7325BECA275B}"/>
    <dgm:cxn modelId="{CFD4A049-F80A-4A3D-AB37-B2C867304FCE}" type="presOf" srcId="{AADA39AB-6D47-4C65-86F2-018D34AB3663}" destId="{89C69EBD-7A55-4C95-A525-039956FA3315}" srcOrd="0" destOrd="0" presId="urn:microsoft.com/office/officeart/2005/8/layout/lProcess2"/>
    <dgm:cxn modelId="{7A22EAF1-F940-4D8D-BCD9-67F184A745F2}" srcId="{6F68A551-7E43-408A-B317-B66459EA04D9}" destId="{400310BD-61A9-4097-AF09-E54D3F9C5DF9}" srcOrd="5" destOrd="0" parTransId="{EC8EA5D0-EDF7-49AE-ACE7-CDAC293981BA}" sibTransId="{BD8783B0-8053-4D1D-9F2F-50B20B1ADBE2}"/>
    <dgm:cxn modelId="{F5B694D4-8A16-4665-AFD5-C61EA2C60FA8}" type="presOf" srcId="{FC18CE6A-449B-4A3B-9028-BBFAB655BD7A}" destId="{EBA25876-2890-4546-B356-7BEA1FC32FEE}" srcOrd="0" destOrd="0" presId="urn:microsoft.com/office/officeart/2005/8/layout/lProcess2"/>
    <dgm:cxn modelId="{98F61067-C740-4E2B-97A9-BE984C247CE9}" type="presOf" srcId="{933B4235-B9EE-4E5D-8761-341F2E948354}" destId="{2C6F7EC7-DC5D-4653-93D0-F292253BD3E5}" srcOrd="0" destOrd="0" presId="urn:microsoft.com/office/officeart/2005/8/layout/lProcess2"/>
    <dgm:cxn modelId="{4472A147-C70B-45BF-B076-29A8450D8C1F}" type="presOf" srcId="{6AC65BD5-34BA-4139-87EB-D1B5B27C765C}" destId="{E31F4750-298D-44EE-A0C1-88D6D2606F0C}" srcOrd="0" destOrd="0" presId="urn:microsoft.com/office/officeart/2005/8/layout/lProcess2"/>
    <dgm:cxn modelId="{92150EDE-5F66-4FB4-8D9F-56DB5C33E761}" type="presOf" srcId="{A15EA1DA-247C-484A-80A0-DF1752D9D38F}" destId="{D9377AF8-0BB2-4D71-BEF6-4B79B671AADC}" srcOrd="0" destOrd="0" presId="urn:microsoft.com/office/officeart/2005/8/layout/lProcess2"/>
    <dgm:cxn modelId="{29FF8C78-0F9C-422F-8404-AF40EC660FDC}" srcId="{6F68A551-7E43-408A-B317-B66459EA04D9}" destId="{B56DA29E-7137-4D44-96FE-08794490ABBD}" srcOrd="4" destOrd="0" parTransId="{5C308700-BCA5-40CD-9848-48B6FDF0A893}" sibTransId="{B60F70D2-D5FC-467C-9E30-7E4E891A5BEF}"/>
    <dgm:cxn modelId="{99DFA347-ACD4-4E4A-A1CA-5927E4EB6A63}" srcId="{3F3F95B3-9EEB-48B0-9B79-C84406B165FC}" destId="{CD65D893-C799-4D92-8E45-5805D2381044}" srcOrd="1" destOrd="0" parTransId="{CD2B79F7-365E-42DC-9EAE-32415ECA9D10}" sibTransId="{ECA16C36-420E-498F-855F-C482CF664C8E}"/>
    <dgm:cxn modelId="{1C429AFD-C83B-44B2-8DF6-146100F4C7D3}" type="presOf" srcId="{CADE6A3C-0098-4BAF-9975-D9A973030982}" destId="{4498339F-4E89-4751-A751-403EE8FC0084}" srcOrd="1" destOrd="0" presId="urn:microsoft.com/office/officeart/2005/8/layout/lProcess2"/>
    <dgm:cxn modelId="{29414C80-6422-4625-8035-F3E1CFD7E7A4}" type="presOf" srcId="{6F68A551-7E43-408A-B317-B66459EA04D9}" destId="{BA776F6D-0DC5-4843-A8D1-E5A16DA6EF75}" srcOrd="0" destOrd="0" presId="urn:microsoft.com/office/officeart/2005/8/layout/lProcess2"/>
    <dgm:cxn modelId="{EDC632F6-D16E-4BA4-8A50-6CFB8A85C652}" srcId="{A630C113-DA40-478A-9754-EC83605356CA}" destId="{43703691-E754-44A8-A040-F8F1EC0C6F76}" srcOrd="2" destOrd="0" parTransId="{A8AB847D-DB1D-4E1F-A0CE-22DB06006DC7}" sibTransId="{0508D420-AF99-433F-BD6C-15C66B209E61}"/>
    <dgm:cxn modelId="{DE2CF040-C7E3-4CDC-B67D-28DB2204BDC4}" type="presOf" srcId="{70667BF5-46DF-4CDA-872E-A18C0587B9B9}" destId="{E7102856-075E-452D-9A78-A54B17BECAA4}" srcOrd="0" destOrd="0" presId="urn:microsoft.com/office/officeart/2005/8/layout/lProcess2"/>
    <dgm:cxn modelId="{07A99C1C-F229-4FCE-8114-D974C903079C}" srcId="{6F68A551-7E43-408A-B317-B66459EA04D9}" destId="{CADE6A3C-0098-4BAF-9975-D9A973030982}" srcOrd="3" destOrd="0" parTransId="{2C6D08D8-77A6-4E71-8622-D93E803294E6}" sibTransId="{2F6BEC9C-D18D-431C-94A1-65F0FB6826DF}"/>
    <dgm:cxn modelId="{189F365C-500E-4E32-98D7-B2CF12F95072}" srcId="{B56DA29E-7137-4D44-96FE-08794490ABBD}" destId="{140A6599-5910-41FC-BB64-77983132B9C9}" srcOrd="2" destOrd="0" parTransId="{68F87FF9-C418-4370-9C7D-6C9DBAC1B342}" sibTransId="{0E1ABC6A-3787-4BE1-9329-B82EB2375971}"/>
    <dgm:cxn modelId="{DE56D855-BC6A-4D18-BB32-1601E30775F6}" type="presOf" srcId="{6ECD7908-6F5B-4AB4-B281-C507AFBD4C3E}" destId="{483E9045-FAD8-4F7C-AE29-6A565E57561F}" srcOrd="0" destOrd="0" presId="urn:microsoft.com/office/officeart/2005/8/layout/lProcess2"/>
    <dgm:cxn modelId="{73C2E74E-2744-46A0-A3DF-52A813604B1E}" srcId="{B56DA29E-7137-4D44-96FE-08794490ABBD}" destId="{A15EA1DA-247C-484A-80A0-DF1752D9D38F}" srcOrd="0" destOrd="0" parTransId="{EF20EC1D-F171-45D0-BCBE-0130A6990045}" sibTransId="{71777BA1-5B5B-48F7-8AE9-C24CBE90250D}"/>
    <dgm:cxn modelId="{CF6BF33D-4C5A-4B05-8C7F-5B4CEEA8AAE3}" srcId="{CADE6A3C-0098-4BAF-9975-D9A973030982}" destId="{934AD681-DBD8-45AF-AAB6-CEC2DC16A520}" srcOrd="0" destOrd="0" parTransId="{EA86F5E3-C6A4-4E6C-AB62-210CAAF1D3EF}" sibTransId="{7FD2EBD7-5519-483C-8C33-BFC033668FDE}"/>
    <dgm:cxn modelId="{F53C76AA-CBE8-4662-88FA-E3591464B0FB}" type="presOf" srcId="{400310BD-61A9-4097-AF09-E54D3F9C5DF9}" destId="{60DF1A03-ABD8-4C3E-913A-2AC806A142BF}" srcOrd="0" destOrd="0" presId="urn:microsoft.com/office/officeart/2005/8/layout/lProcess2"/>
    <dgm:cxn modelId="{C6ACAA80-4206-469D-97CF-C1C90990572B}" srcId="{B56DA29E-7137-4D44-96FE-08794490ABBD}" destId="{7B131C83-CC4C-4E63-94DD-A3BD1973DDDF}" srcOrd="4" destOrd="0" parTransId="{FC75F043-90A3-432C-9187-8F1EA23883CD}" sibTransId="{5FF405EE-8993-4104-8543-38CCD2A6F1F3}"/>
    <dgm:cxn modelId="{FD6BEDF7-1082-421B-A488-56BC16FBFAB9}" srcId="{D9F5310C-4511-455F-92A9-00BA44C19991}" destId="{6ECD7908-6F5B-4AB4-B281-C507AFBD4C3E}" srcOrd="0" destOrd="0" parTransId="{002E5A4A-5820-4F27-93AA-C5A5122CD0A1}" sibTransId="{7AAB4C61-513F-4B36-BF6A-9C61E0A72952}"/>
    <dgm:cxn modelId="{BAD3E0E3-C01B-4610-9848-4B170CE2BB44}" srcId="{6F68A551-7E43-408A-B317-B66459EA04D9}" destId="{A630C113-DA40-478A-9754-EC83605356CA}" srcOrd="2" destOrd="0" parTransId="{E16659A8-9B51-4CF4-AA64-4920F3F5DD41}" sibTransId="{A3B7FF09-911C-49BF-98BB-E2FD6BBF744B}"/>
    <dgm:cxn modelId="{42E487A1-9578-4EE0-8931-D5332885569C}" type="presOf" srcId="{B56DA29E-7137-4D44-96FE-08794490ABBD}" destId="{AC8EE415-48C6-40E9-A797-18B494D9E5A2}" srcOrd="0" destOrd="0" presId="urn:microsoft.com/office/officeart/2005/8/layout/lProcess2"/>
    <dgm:cxn modelId="{24449DF4-C9DD-405C-96CC-3BA8EDA9DB71}" srcId="{3F3F95B3-9EEB-48B0-9B79-C84406B165FC}" destId="{6AC65BD5-34BA-4139-87EB-D1B5B27C765C}" srcOrd="3" destOrd="0" parTransId="{EE6D3760-844D-49FD-8880-9B22941DD764}" sibTransId="{9E740A04-EE96-4F00-AA4A-AC69E181D0C5}"/>
    <dgm:cxn modelId="{8D2A1EBF-B334-4E8B-95B0-9A76DEAD6946}" type="presOf" srcId="{D9F5310C-4511-455F-92A9-00BA44C19991}" destId="{2D7A4F47-826E-4ED1-AF3D-295228EC71AC}" srcOrd="1" destOrd="0" presId="urn:microsoft.com/office/officeart/2005/8/layout/lProcess2"/>
    <dgm:cxn modelId="{3ED5CAC0-7647-4F8A-8CB0-7DC0D202FEC2}" type="presOf" srcId="{7B131C83-CC4C-4E63-94DD-A3BD1973DDDF}" destId="{A78046F0-7C00-4917-A470-67F6408B7482}" srcOrd="0" destOrd="0" presId="urn:microsoft.com/office/officeart/2005/8/layout/lProcess2"/>
    <dgm:cxn modelId="{7B38A360-2141-4BE2-9759-1605EBBA80DB}" type="presOf" srcId="{BBD7B213-F004-4007-B073-BA0AFB9DAE02}" destId="{F61F9A3D-6916-46A4-A15D-37BE6DFD7F76}" srcOrd="0" destOrd="0" presId="urn:microsoft.com/office/officeart/2005/8/layout/lProcess2"/>
    <dgm:cxn modelId="{C55C3E49-43A1-4CB7-9DF6-1487AB76A42E}" srcId="{3F3F95B3-9EEB-48B0-9B79-C84406B165FC}" destId="{4CE9E562-3FE6-407F-8CE1-30BC68127994}" srcOrd="0" destOrd="0" parTransId="{D8776E7A-98C7-4564-B0E9-512B122EA563}" sibTransId="{DB85C9A5-FB34-4EC5-8913-D5342840D893}"/>
    <dgm:cxn modelId="{FA096446-4F0D-4E00-B4E5-559D7ADB71D7}" srcId="{CADE6A3C-0098-4BAF-9975-D9A973030982}" destId="{84381DA8-F502-4601-807E-A1A09A078113}" srcOrd="2" destOrd="0" parTransId="{C03E1958-F260-4EF3-8214-B8A6E6577C2D}" sibTransId="{136C6480-73F4-478D-A9EB-F2C8D05B9E95}"/>
    <dgm:cxn modelId="{F6F5BC6D-F82A-4C5B-9C9B-7AADFB680A02}" type="presOf" srcId="{3F3F95B3-9EEB-48B0-9B79-C84406B165FC}" destId="{F6B90731-AF9D-4AD3-8530-D589AC931B10}" srcOrd="1" destOrd="0" presId="urn:microsoft.com/office/officeart/2005/8/layout/lProcess2"/>
    <dgm:cxn modelId="{575512B4-E341-4A34-AEDE-8E014AC91857}" type="presOf" srcId="{C53A8E8F-3008-45AC-BDC4-77C74BEA6B69}" destId="{DB1E00A3-CA7B-4102-B428-4D662636C78D}" srcOrd="0" destOrd="0" presId="urn:microsoft.com/office/officeart/2005/8/layout/lProcess2"/>
    <dgm:cxn modelId="{A7632CFF-92D5-4F03-8361-01D8C0B39CA3}" type="presOf" srcId="{A630C113-DA40-478A-9754-EC83605356CA}" destId="{98DD106A-59B2-4572-9D61-614D03E045B4}" srcOrd="0" destOrd="0" presId="urn:microsoft.com/office/officeart/2005/8/layout/lProcess2"/>
    <dgm:cxn modelId="{DB25049A-6AF5-4EA4-9A58-C38C36895F3D}" type="presOf" srcId="{43703691-E754-44A8-A040-F8F1EC0C6F76}" destId="{D7E02EC7-F310-4701-A969-58E6FAB8C53F}" srcOrd="0" destOrd="0" presId="urn:microsoft.com/office/officeart/2005/8/layout/lProcess2"/>
    <dgm:cxn modelId="{DEE74B89-EFDC-4457-AA59-FB92F7D56EF2}" type="presOf" srcId="{84381DA8-F502-4601-807E-A1A09A078113}" destId="{7ED403E9-FC5D-4E42-A3FF-44C25CAD64A4}" srcOrd="0" destOrd="0" presId="urn:microsoft.com/office/officeart/2005/8/layout/lProcess2"/>
    <dgm:cxn modelId="{17332A01-E62F-4603-9FD9-56EDA55B628F}" type="presOf" srcId="{CD65D893-C799-4D92-8E45-5805D2381044}" destId="{A3D2565D-A076-48E1-B4C5-EBDF8B1EE5C9}" srcOrd="0" destOrd="0" presId="urn:microsoft.com/office/officeart/2005/8/layout/lProcess2"/>
    <dgm:cxn modelId="{45713A10-3D00-4045-9F5C-8866E4365A33}" srcId="{CADE6A3C-0098-4BAF-9975-D9A973030982}" destId="{70667BF5-46DF-4CDA-872E-A18C0587B9B9}" srcOrd="1" destOrd="0" parTransId="{E03B73EB-892A-4C98-8D22-4D66918C7C84}" sibTransId="{D6C5EF56-7D14-402A-97BE-FF86B01E26A0}"/>
    <dgm:cxn modelId="{B5A8A77C-71C5-4644-831B-A74D1B54CA83}" srcId="{D9F5310C-4511-455F-92A9-00BA44C19991}" destId="{275EEAF1-577E-4BCD-AAEF-014FB2B06FA3}" srcOrd="1" destOrd="0" parTransId="{2EDCF14C-E1BB-4208-A3F5-50A1BE82CA15}" sibTransId="{68D82382-2019-4151-857B-07961035C5BF}"/>
    <dgm:cxn modelId="{D4A3403F-B5B7-4048-B404-AD9043F74445}" srcId="{6F68A551-7E43-408A-B317-B66459EA04D9}" destId="{D9F5310C-4511-455F-92A9-00BA44C19991}" srcOrd="1" destOrd="0" parTransId="{F876E5C5-70A4-4EB4-9ACC-9655F9E43614}" sibTransId="{47F70D03-E16E-493E-818D-4523158665EF}"/>
    <dgm:cxn modelId="{67F9E18A-65F0-453F-883F-59CF097395EB}" srcId="{400310BD-61A9-4097-AF09-E54D3F9C5DF9}" destId="{FC18CE6A-449B-4A3B-9028-BBFAB655BD7A}" srcOrd="0" destOrd="0" parTransId="{CED02176-047B-45E3-868A-F9167B277FD7}" sibTransId="{AF3F569A-192E-461F-83F5-6FF9EE1D7250}"/>
    <dgm:cxn modelId="{64E2D8FF-EBC0-427A-A77C-2AFB034571EF}" type="presOf" srcId="{934AD681-DBD8-45AF-AAB6-CEC2DC16A520}" destId="{1F3A6A14-B138-4D41-B755-0ADF3F482105}" srcOrd="0" destOrd="0" presId="urn:microsoft.com/office/officeart/2005/8/layout/lProcess2"/>
    <dgm:cxn modelId="{E7025D99-D8A6-4208-8898-903D06B6A9D3}" srcId="{D9F5310C-4511-455F-92A9-00BA44C19991}" destId="{933B4235-B9EE-4E5D-8761-341F2E948354}" srcOrd="2" destOrd="0" parTransId="{7EF6A037-0875-44F6-A230-69D97EB86EB2}" sibTransId="{D279A540-C18D-4BB0-8C07-E7D4F81DE624}"/>
    <dgm:cxn modelId="{2FF70C01-9C3A-41E0-9DFD-D63EDC5FF8BC}" type="presOf" srcId="{B4B241C2-B24F-44D0-BFE0-497648340376}" destId="{74161212-CC75-48DA-AD00-325C2FFCD413}" srcOrd="0" destOrd="0" presId="urn:microsoft.com/office/officeart/2005/8/layout/lProcess2"/>
    <dgm:cxn modelId="{B1618473-F121-40B7-9370-DB8F567929DD}" srcId="{D9F5310C-4511-455F-92A9-00BA44C19991}" destId="{4F6C6010-6085-4CD8-A619-0D9356D7AA13}" srcOrd="3" destOrd="0" parTransId="{B268E04C-629D-4885-B845-B485255B43B1}" sibTransId="{4467CF7A-C73F-4C72-B5BF-39B857E3835E}"/>
    <dgm:cxn modelId="{317F6759-8D40-49D7-9194-BD7815578C65}" type="presParOf" srcId="{BA776F6D-0DC5-4843-A8D1-E5A16DA6EF75}" destId="{DFFD2A39-2B2B-421F-B7D5-03DCBB84CBBD}" srcOrd="0" destOrd="0" presId="urn:microsoft.com/office/officeart/2005/8/layout/lProcess2"/>
    <dgm:cxn modelId="{734A25F0-CFCB-45CA-9376-239D8FF507F3}" type="presParOf" srcId="{DFFD2A39-2B2B-421F-B7D5-03DCBB84CBBD}" destId="{5ECD674B-59C4-45CB-A869-13F804A21B37}" srcOrd="0" destOrd="0" presId="urn:microsoft.com/office/officeart/2005/8/layout/lProcess2"/>
    <dgm:cxn modelId="{494D5B41-EE03-4E5F-9611-2C9F61ADC92A}" type="presParOf" srcId="{DFFD2A39-2B2B-421F-B7D5-03DCBB84CBBD}" destId="{F6B90731-AF9D-4AD3-8530-D589AC931B10}" srcOrd="1" destOrd="0" presId="urn:microsoft.com/office/officeart/2005/8/layout/lProcess2"/>
    <dgm:cxn modelId="{7837669E-C700-47A5-AD63-AEA27B8E1746}" type="presParOf" srcId="{DFFD2A39-2B2B-421F-B7D5-03DCBB84CBBD}" destId="{71D24F0D-30D3-44B5-8743-9B2259EE9E23}" srcOrd="2" destOrd="0" presId="urn:microsoft.com/office/officeart/2005/8/layout/lProcess2"/>
    <dgm:cxn modelId="{0240CEF4-DB64-42C0-B4C9-317EC8B7552C}" type="presParOf" srcId="{71D24F0D-30D3-44B5-8743-9B2259EE9E23}" destId="{526FBE79-40EC-45B8-A3ED-B56ACFE684DE}" srcOrd="0" destOrd="0" presId="urn:microsoft.com/office/officeart/2005/8/layout/lProcess2"/>
    <dgm:cxn modelId="{EA44E80A-17EB-4E61-9E9D-799239415F52}" type="presParOf" srcId="{526FBE79-40EC-45B8-A3ED-B56ACFE684DE}" destId="{0DAADCD3-46E8-4D71-B2CF-616F7C463787}" srcOrd="0" destOrd="0" presId="urn:microsoft.com/office/officeart/2005/8/layout/lProcess2"/>
    <dgm:cxn modelId="{169563F4-1A0D-4053-851C-70A34395EDAE}" type="presParOf" srcId="{526FBE79-40EC-45B8-A3ED-B56ACFE684DE}" destId="{6291799F-C0A5-4425-A297-8809D6041781}" srcOrd="1" destOrd="0" presId="urn:microsoft.com/office/officeart/2005/8/layout/lProcess2"/>
    <dgm:cxn modelId="{7774D9EC-7877-42AF-BA11-DACA141EBB1A}" type="presParOf" srcId="{526FBE79-40EC-45B8-A3ED-B56ACFE684DE}" destId="{A3D2565D-A076-48E1-B4C5-EBDF8B1EE5C9}" srcOrd="2" destOrd="0" presId="urn:microsoft.com/office/officeart/2005/8/layout/lProcess2"/>
    <dgm:cxn modelId="{5987AD36-29A4-4FAC-A9D0-81E7736EBB27}" type="presParOf" srcId="{526FBE79-40EC-45B8-A3ED-B56ACFE684DE}" destId="{2C93E7F3-4363-487E-89F3-09D14BCD4D7C}" srcOrd="3" destOrd="0" presId="urn:microsoft.com/office/officeart/2005/8/layout/lProcess2"/>
    <dgm:cxn modelId="{D7945CFB-33E1-4B76-89DF-777C2EA269C9}" type="presParOf" srcId="{526FBE79-40EC-45B8-A3ED-B56ACFE684DE}" destId="{B599A424-6063-405F-88C5-F9624EC4E017}" srcOrd="4" destOrd="0" presId="urn:microsoft.com/office/officeart/2005/8/layout/lProcess2"/>
    <dgm:cxn modelId="{A16B7019-92FD-438E-B916-DF98C949B4B0}" type="presParOf" srcId="{526FBE79-40EC-45B8-A3ED-B56ACFE684DE}" destId="{4AC9525B-49F9-4862-952B-875176727CB1}" srcOrd="5" destOrd="0" presId="urn:microsoft.com/office/officeart/2005/8/layout/lProcess2"/>
    <dgm:cxn modelId="{6379264C-1B91-40F8-9CF6-9D0369E56FB8}" type="presParOf" srcId="{526FBE79-40EC-45B8-A3ED-B56ACFE684DE}" destId="{E31F4750-298D-44EE-A0C1-88D6D2606F0C}" srcOrd="6" destOrd="0" presId="urn:microsoft.com/office/officeart/2005/8/layout/lProcess2"/>
    <dgm:cxn modelId="{E24ED4B9-D3E4-4CED-A047-6DF52E521AC0}" type="presParOf" srcId="{BA776F6D-0DC5-4843-A8D1-E5A16DA6EF75}" destId="{16F69406-2D76-4CF6-9763-8794A9BF7D5D}" srcOrd="1" destOrd="0" presId="urn:microsoft.com/office/officeart/2005/8/layout/lProcess2"/>
    <dgm:cxn modelId="{C943EE95-4E62-4709-9B47-A3B2252EA882}" type="presParOf" srcId="{BA776F6D-0DC5-4843-A8D1-E5A16DA6EF75}" destId="{7B3468E7-CC31-4CF7-93A8-FBFCB8392AEE}" srcOrd="2" destOrd="0" presId="urn:microsoft.com/office/officeart/2005/8/layout/lProcess2"/>
    <dgm:cxn modelId="{3B59AC27-B62C-4D6F-84C0-AA661AB604B4}" type="presParOf" srcId="{7B3468E7-CC31-4CF7-93A8-FBFCB8392AEE}" destId="{21A6F2A2-5376-4D1F-B24F-EB5400E3E862}" srcOrd="0" destOrd="0" presId="urn:microsoft.com/office/officeart/2005/8/layout/lProcess2"/>
    <dgm:cxn modelId="{F1CAF9C6-C14F-4AF1-ADE4-B32E4FA0BAAA}" type="presParOf" srcId="{7B3468E7-CC31-4CF7-93A8-FBFCB8392AEE}" destId="{2D7A4F47-826E-4ED1-AF3D-295228EC71AC}" srcOrd="1" destOrd="0" presId="urn:microsoft.com/office/officeart/2005/8/layout/lProcess2"/>
    <dgm:cxn modelId="{EDC3C730-7BA4-401E-84E4-B49E61264429}" type="presParOf" srcId="{7B3468E7-CC31-4CF7-93A8-FBFCB8392AEE}" destId="{50D5CA6F-DBDF-469E-93A7-D1F644DF6B00}" srcOrd="2" destOrd="0" presId="urn:microsoft.com/office/officeart/2005/8/layout/lProcess2"/>
    <dgm:cxn modelId="{A7BF82E0-0A8A-4AB3-BF17-9F30F85AE9E3}" type="presParOf" srcId="{50D5CA6F-DBDF-469E-93A7-D1F644DF6B00}" destId="{B5B845DA-ABC6-4D00-A377-C99C02164560}" srcOrd="0" destOrd="0" presId="urn:microsoft.com/office/officeart/2005/8/layout/lProcess2"/>
    <dgm:cxn modelId="{48D1E8B2-5C4D-48E4-8721-10E3C2BF9852}" type="presParOf" srcId="{B5B845DA-ABC6-4D00-A377-C99C02164560}" destId="{483E9045-FAD8-4F7C-AE29-6A565E57561F}" srcOrd="0" destOrd="0" presId="urn:microsoft.com/office/officeart/2005/8/layout/lProcess2"/>
    <dgm:cxn modelId="{33B07CB1-6F9F-4D77-92F1-5A425E7155D5}" type="presParOf" srcId="{B5B845DA-ABC6-4D00-A377-C99C02164560}" destId="{B4A7C65F-29E2-4427-A06C-F3F8B0C7F6A4}" srcOrd="1" destOrd="0" presId="urn:microsoft.com/office/officeart/2005/8/layout/lProcess2"/>
    <dgm:cxn modelId="{AA59710F-0E75-4A0E-82F9-116E069E247D}" type="presParOf" srcId="{B5B845DA-ABC6-4D00-A377-C99C02164560}" destId="{4CBD04D5-DEDE-4B88-AD5D-6DE78A9C7143}" srcOrd="2" destOrd="0" presId="urn:microsoft.com/office/officeart/2005/8/layout/lProcess2"/>
    <dgm:cxn modelId="{D70C0F90-D168-4E12-A8AD-02D38BF1FBB9}" type="presParOf" srcId="{B5B845DA-ABC6-4D00-A377-C99C02164560}" destId="{72936030-F3BB-4A22-8985-43BA67124E20}" srcOrd="3" destOrd="0" presId="urn:microsoft.com/office/officeart/2005/8/layout/lProcess2"/>
    <dgm:cxn modelId="{49E09765-40F0-4FBF-AF85-5AC5828819D9}" type="presParOf" srcId="{B5B845DA-ABC6-4D00-A377-C99C02164560}" destId="{2C6F7EC7-DC5D-4653-93D0-F292253BD3E5}" srcOrd="4" destOrd="0" presId="urn:microsoft.com/office/officeart/2005/8/layout/lProcess2"/>
    <dgm:cxn modelId="{6E511F07-852C-4C9B-93A3-85DBB31E2B56}" type="presParOf" srcId="{B5B845DA-ABC6-4D00-A377-C99C02164560}" destId="{D78CC099-74E4-4952-85CB-A4A6D6CDCBCD}" srcOrd="5" destOrd="0" presId="urn:microsoft.com/office/officeart/2005/8/layout/lProcess2"/>
    <dgm:cxn modelId="{5C343BE0-3218-4B24-9C0A-9AAAF3A206A7}" type="presParOf" srcId="{B5B845DA-ABC6-4D00-A377-C99C02164560}" destId="{F126ACFF-2585-4EF5-83C0-3B985B165C4C}" srcOrd="6" destOrd="0" presId="urn:microsoft.com/office/officeart/2005/8/layout/lProcess2"/>
    <dgm:cxn modelId="{9FF62060-71D9-442F-89EF-17F96DB164F8}" type="presParOf" srcId="{BA776F6D-0DC5-4843-A8D1-E5A16DA6EF75}" destId="{57804021-CC86-4A67-9490-3A35FB1B8D87}" srcOrd="3" destOrd="0" presId="urn:microsoft.com/office/officeart/2005/8/layout/lProcess2"/>
    <dgm:cxn modelId="{C4AFC1A9-0E6B-43B9-BA80-F6B478A04EEA}" type="presParOf" srcId="{BA776F6D-0DC5-4843-A8D1-E5A16DA6EF75}" destId="{BD35E7E7-CF33-417F-8011-146765C598D4}" srcOrd="4" destOrd="0" presId="urn:microsoft.com/office/officeart/2005/8/layout/lProcess2"/>
    <dgm:cxn modelId="{41CF9D8C-D423-4686-BE43-9DDFFAB6AFF1}" type="presParOf" srcId="{BD35E7E7-CF33-417F-8011-146765C598D4}" destId="{98DD106A-59B2-4572-9D61-614D03E045B4}" srcOrd="0" destOrd="0" presId="urn:microsoft.com/office/officeart/2005/8/layout/lProcess2"/>
    <dgm:cxn modelId="{97513CA6-63DE-43F5-9951-ED4112601071}" type="presParOf" srcId="{BD35E7E7-CF33-417F-8011-146765C598D4}" destId="{4C1DC2E0-49E6-44BA-8B7A-7FC79C063953}" srcOrd="1" destOrd="0" presId="urn:microsoft.com/office/officeart/2005/8/layout/lProcess2"/>
    <dgm:cxn modelId="{853FCA98-F552-48DC-8B46-A3A6EABBC577}" type="presParOf" srcId="{BD35E7E7-CF33-417F-8011-146765C598D4}" destId="{043C66F5-3846-4778-96BF-78924189A38A}" srcOrd="2" destOrd="0" presId="urn:microsoft.com/office/officeart/2005/8/layout/lProcess2"/>
    <dgm:cxn modelId="{089109D1-8B6D-4B62-B59F-E7FB8677C555}" type="presParOf" srcId="{043C66F5-3846-4778-96BF-78924189A38A}" destId="{408679DF-352B-463B-B382-2A50A77CBD6B}" srcOrd="0" destOrd="0" presId="urn:microsoft.com/office/officeart/2005/8/layout/lProcess2"/>
    <dgm:cxn modelId="{75A4CFCB-9A72-401F-8ECD-B33293DA5571}" type="presParOf" srcId="{408679DF-352B-463B-B382-2A50A77CBD6B}" destId="{F61F9A3D-6916-46A4-A15D-37BE6DFD7F76}" srcOrd="0" destOrd="0" presId="urn:microsoft.com/office/officeart/2005/8/layout/lProcess2"/>
    <dgm:cxn modelId="{9BA55076-306F-4ADA-9328-D95380823796}" type="presParOf" srcId="{408679DF-352B-463B-B382-2A50A77CBD6B}" destId="{66FC7CB3-D52F-4145-B577-EC3091AE7E94}" srcOrd="1" destOrd="0" presId="urn:microsoft.com/office/officeart/2005/8/layout/lProcess2"/>
    <dgm:cxn modelId="{8FB02D3D-F6AB-479B-8F80-14575CB6D4B4}" type="presParOf" srcId="{408679DF-352B-463B-B382-2A50A77CBD6B}" destId="{89C69EBD-7A55-4C95-A525-039956FA3315}" srcOrd="2" destOrd="0" presId="urn:microsoft.com/office/officeart/2005/8/layout/lProcess2"/>
    <dgm:cxn modelId="{4093AE41-5CB1-476E-9996-0CFD75ADA086}" type="presParOf" srcId="{408679DF-352B-463B-B382-2A50A77CBD6B}" destId="{39BB6D2F-78B7-4B14-AB8B-BB19E288484E}" srcOrd="3" destOrd="0" presId="urn:microsoft.com/office/officeart/2005/8/layout/lProcess2"/>
    <dgm:cxn modelId="{5193EC4D-2373-4E8B-851F-82F44AAFAB4D}" type="presParOf" srcId="{408679DF-352B-463B-B382-2A50A77CBD6B}" destId="{D7E02EC7-F310-4701-A969-58E6FAB8C53F}" srcOrd="4" destOrd="0" presId="urn:microsoft.com/office/officeart/2005/8/layout/lProcess2"/>
    <dgm:cxn modelId="{FB996500-10B5-4D6A-ADDF-45D3020646C5}" type="presParOf" srcId="{BA776F6D-0DC5-4843-A8D1-E5A16DA6EF75}" destId="{41DC091F-168F-4DCA-97E6-5BAEF3382E9E}" srcOrd="5" destOrd="0" presId="urn:microsoft.com/office/officeart/2005/8/layout/lProcess2"/>
    <dgm:cxn modelId="{27FB38CC-1E32-4815-B47A-0E14B9B4A9BB}" type="presParOf" srcId="{BA776F6D-0DC5-4843-A8D1-E5A16DA6EF75}" destId="{0B4FEB16-4DA8-4002-86E2-888F6E2336BA}" srcOrd="6" destOrd="0" presId="urn:microsoft.com/office/officeart/2005/8/layout/lProcess2"/>
    <dgm:cxn modelId="{CB6B02F6-D819-4DD3-B0C3-111E034E7D29}" type="presParOf" srcId="{0B4FEB16-4DA8-4002-86E2-888F6E2336BA}" destId="{EA5119AC-0DFF-4DF1-9DFF-D5F6F9E6951F}" srcOrd="0" destOrd="0" presId="urn:microsoft.com/office/officeart/2005/8/layout/lProcess2"/>
    <dgm:cxn modelId="{E3A336AA-1597-4950-A355-56B7E7125DF4}" type="presParOf" srcId="{0B4FEB16-4DA8-4002-86E2-888F6E2336BA}" destId="{4498339F-4E89-4751-A751-403EE8FC0084}" srcOrd="1" destOrd="0" presId="urn:microsoft.com/office/officeart/2005/8/layout/lProcess2"/>
    <dgm:cxn modelId="{18599292-63B1-474D-AE27-B70A6F319E76}" type="presParOf" srcId="{0B4FEB16-4DA8-4002-86E2-888F6E2336BA}" destId="{FA3790A2-D455-49E7-BDDB-579E5DAA2416}" srcOrd="2" destOrd="0" presId="urn:microsoft.com/office/officeart/2005/8/layout/lProcess2"/>
    <dgm:cxn modelId="{417BE834-151E-4C98-A637-90D69541884D}" type="presParOf" srcId="{FA3790A2-D455-49E7-BDDB-579E5DAA2416}" destId="{9EF1CABF-C937-41EB-A028-E101023AEF08}" srcOrd="0" destOrd="0" presId="urn:microsoft.com/office/officeart/2005/8/layout/lProcess2"/>
    <dgm:cxn modelId="{D143230C-CCD6-41BF-8DAC-527A20BD66B5}" type="presParOf" srcId="{9EF1CABF-C937-41EB-A028-E101023AEF08}" destId="{1F3A6A14-B138-4D41-B755-0ADF3F482105}" srcOrd="0" destOrd="0" presId="urn:microsoft.com/office/officeart/2005/8/layout/lProcess2"/>
    <dgm:cxn modelId="{DAEF5A07-5BA1-4C8D-B75E-AB0780CF2DD7}" type="presParOf" srcId="{9EF1CABF-C937-41EB-A028-E101023AEF08}" destId="{23758D9E-DF8F-4123-9D47-1131A8AFFE51}" srcOrd="1" destOrd="0" presId="urn:microsoft.com/office/officeart/2005/8/layout/lProcess2"/>
    <dgm:cxn modelId="{72EB3DCE-ECBA-47D4-913D-6FC89CECF24F}" type="presParOf" srcId="{9EF1CABF-C937-41EB-A028-E101023AEF08}" destId="{E7102856-075E-452D-9A78-A54B17BECAA4}" srcOrd="2" destOrd="0" presId="urn:microsoft.com/office/officeart/2005/8/layout/lProcess2"/>
    <dgm:cxn modelId="{E049AA50-C9CF-4D8A-9420-2A24C0D19AA3}" type="presParOf" srcId="{9EF1CABF-C937-41EB-A028-E101023AEF08}" destId="{910C024C-49E1-4723-A4B0-C63074CDB35A}" srcOrd="3" destOrd="0" presId="urn:microsoft.com/office/officeart/2005/8/layout/lProcess2"/>
    <dgm:cxn modelId="{5B4FA141-5F54-401F-A2E8-E80F82F617DF}" type="presParOf" srcId="{9EF1CABF-C937-41EB-A028-E101023AEF08}" destId="{7ED403E9-FC5D-4E42-A3FF-44C25CAD64A4}" srcOrd="4" destOrd="0" presId="urn:microsoft.com/office/officeart/2005/8/layout/lProcess2"/>
    <dgm:cxn modelId="{CAF7AA3A-F384-41EE-9491-962D5BD628ED}" type="presParOf" srcId="{9EF1CABF-C937-41EB-A028-E101023AEF08}" destId="{C6DCB064-B636-4208-A92C-C821DACDC9BB}" srcOrd="5" destOrd="0" presId="urn:microsoft.com/office/officeart/2005/8/layout/lProcess2"/>
    <dgm:cxn modelId="{20018C04-8080-4692-9564-08CAABD30E54}" type="presParOf" srcId="{9EF1CABF-C937-41EB-A028-E101023AEF08}" destId="{12997896-C385-4B6C-B708-861E404B3B49}" srcOrd="6" destOrd="0" presId="urn:microsoft.com/office/officeart/2005/8/layout/lProcess2"/>
    <dgm:cxn modelId="{CB83472F-41AF-4E3F-BE59-F07C484AB9B5}" type="presParOf" srcId="{BA776F6D-0DC5-4843-A8D1-E5A16DA6EF75}" destId="{2207B7A5-1992-47CD-8680-C6902E7833EA}" srcOrd="7" destOrd="0" presId="urn:microsoft.com/office/officeart/2005/8/layout/lProcess2"/>
    <dgm:cxn modelId="{4200BF66-8CA6-43E9-A10C-BB780138598A}" type="presParOf" srcId="{BA776F6D-0DC5-4843-A8D1-E5A16DA6EF75}" destId="{61A6AAAE-ABA4-4AFD-8643-7BAF40EEE57A}" srcOrd="8" destOrd="0" presId="urn:microsoft.com/office/officeart/2005/8/layout/lProcess2"/>
    <dgm:cxn modelId="{60ED606A-1243-43A0-B377-FA4D4D3A5473}" type="presParOf" srcId="{61A6AAAE-ABA4-4AFD-8643-7BAF40EEE57A}" destId="{AC8EE415-48C6-40E9-A797-18B494D9E5A2}" srcOrd="0" destOrd="0" presId="urn:microsoft.com/office/officeart/2005/8/layout/lProcess2"/>
    <dgm:cxn modelId="{578AF131-C659-4C21-9D4F-EECF2812B2C1}" type="presParOf" srcId="{61A6AAAE-ABA4-4AFD-8643-7BAF40EEE57A}" destId="{69EFD3FD-D6EB-4A42-9A92-ACDDFC55B50D}" srcOrd="1" destOrd="0" presId="urn:microsoft.com/office/officeart/2005/8/layout/lProcess2"/>
    <dgm:cxn modelId="{41441FB7-BC9E-4456-81BC-138B436B34FF}" type="presParOf" srcId="{61A6AAAE-ABA4-4AFD-8643-7BAF40EEE57A}" destId="{C437F8D6-46C7-40E6-AA75-115527E979E6}" srcOrd="2" destOrd="0" presId="urn:microsoft.com/office/officeart/2005/8/layout/lProcess2"/>
    <dgm:cxn modelId="{8BC0D250-EC06-4106-8C7C-AAD3EAF3CA29}" type="presParOf" srcId="{C437F8D6-46C7-40E6-AA75-115527E979E6}" destId="{7A8A3F99-280B-4980-A842-A6F78BECB408}" srcOrd="0" destOrd="0" presId="urn:microsoft.com/office/officeart/2005/8/layout/lProcess2"/>
    <dgm:cxn modelId="{2E13BF66-CD95-4D64-A13C-E542254CFC43}" type="presParOf" srcId="{7A8A3F99-280B-4980-A842-A6F78BECB408}" destId="{D9377AF8-0BB2-4D71-BEF6-4B79B671AADC}" srcOrd="0" destOrd="0" presId="urn:microsoft.com/office/officeart/2005/8/layout/lProcess2"/>
    <dgm:cxn modelId="{712CFC0A-370A-4E57-9925-B0074222B523}" type="presParOf" srcId="{7A8A3F99-280B-4980-A842-A6F78BECB408}" destId="{5E852D90-93BD-48FC-844F-2E858F3A737D}" srcOrd="1" destOrd="0" presId="urn:microsoft.com/office/officeart/2005/8/layout/lProcess2"/>
    <dgm:cxn modelId="{07B640A9-9109-4E6C-8D2A-BF71F7A5291A}" type="presParOf" srcId="{7A8A3F99-280B-4980-A842-A6F78BECB408}" destId="{BC218DAB-7E9A-4E96-AC56-04932B877AD7}" srcOrd="2" destOrd="0" presId="urn:microsoft.com/office/officeart/2005/8/layout/lProcess2"/>
    <dgm:cxn modelId="{9A3414E2-42E8-44EE-B7D8-06D92A009B96}" type="presParOf" srcId="{7A8A3F99-280B-4980-A842-A6F78BECB408}" destId="{415B2FAE-4EF9-422E-A362-92F9555BBD65}" srcOrd="3" destOrd="0" presId="urn:microsoft.com/office/officeart/2005/8/layout/lProcess2"/>
    <dgm:cxn modelId="{37BA710E-9BB6-49C6-9976-AA241FC4DA13}" type="presParOf" srcId="{7A8A3F99-280B-4980-A842-A6F78BECB408}" destId="{6E3B7CAC-6717-40FD-8B6E-919D33890FB7}" srcOrd="4" destOrd="0" presId="urn:microsoft.com/office/officeart/2005/8/layout/lProcess2"/>
    <dgm:cxn modelId="{6BF949C3-7D2A-4404-BF80-2018757CBC8E}" type="presParOf" srcId="{7A8A3F99-280B-4980-A842-A6F78BECB408}" destId="{726A3098-82AF-4B2E-8799-64C653613832}" srcOrd="5" destOrd="0" presId="urn:microsoft.com/office/officeart/2005/8/layout/lProcess2"/>
    <dgm:cxn modelId="{3D674A97-72A7-490A-A418-A26BE7E3FA70}" type="presParOf" srcId="{7A8A3F99-280B-4980-A842-A6F78BECB408}" destId="{9ADBEE71-CA25-4554-8DA9-7B13D1B5FF33}" srcOrd="6" destOrd="0" presId="urn:microsoft.com/office/officeart/2005/8/layout/lProcess2"/>
    <dgm:cxn modelId="{414D2280-AEE8-4F49-9C0E-B069565962BE}" type="presParOf" srcId="{7A8A3F99-280B-4980-A842-A6F78BECB408}" destId="{240C9EFF-5A92-4CDB-9D0C-B1F4E19F5E1F}" srcOrd="7" destOrd="0" presId="urn:microsoft.com/office/officeart/2005/8/layout/lProcess2"/>
    <dgm:cxn modelId="{F9483F3C-9497-4214-8953-EB25D6F3CCCB}" type="presParOf" srcId="{7A8A3F99-280B-4980-A842-A6F78BECB408}" destId="{A78046F0-7C00-4917-A470-67F6408B7482}" srcOrd="8" destOrd="0" presId="urn:microsoft.com/office/officeart/2005/8/layout/lProcess2"/>
    <dgm:cxn modelId="{7B21AD31-265E-4BEE-816F-0038FFE921F0}" type="presParOf" srcId="{BA776F6D-0DC5-4843-A8D1-E5A16DA6EF75}" destId="{19BA64F6-80BD-49B9-8FBA-65F0551A81DF}" srcOrd="9" destOrd="0" presId="urn:microsoft.com/office/officeart/2005/8/layout/lProcess2"/>
    <dgm:cxn modelId="{D5B03BCC-A419-4F70-B9F1-0CDD7D99DDB0}" type="presParOf" srcId="{BA776F6D-0DC5-4843-A8D1-E5A16DA6EF75}" destId="{3476E2D2-CEE5-436C-8E7C-85AAEBAD034F}" srcOrd="10" destOrd="0" presId="urn:microsoft.com/office/officeart/2005/8/layout/lProcess2"/>
    <dgm:cxn modelId="{C3D27C3D-3DE9-47F8-ACC2-9CB2D29F409A}" type="presParOf" srcId="{3476E2D2-CEE5-436C-8E7C-85AAEBAD034F}" destId="{60DF1A03-ABD8-4C3E-913A-2AC806A142BF}" srcOrd="0" destOrd="0" presId="urn:microsoft.com/office/officeart/2005/8/layout/lProcess2"/>
    <dgm:cxn modelId="{E8889155-7A6E-4882-A802-2FD98290E8AD}" type="presParOf" srcId="{3476E2D2-CEE5-436C-8E7C-85AAEBAD034F}" destId="{997933C3-C151-46B3-936D-0A602F332286}" srcOrd="1" destOrd="0" presId="urn:microsoft.com/office/officeart/2005/8/layout/lProcess2"/>
    <dgm:cxn modelId="{A49B863D-94F0-4CA1-A8B5-845E2C723CD3}" type="presParOf" srcId="{3476E2D2-CEE5-436C-8E7C-85AAEBAD034F}" destId="{73E73BF3-D1A2-4218-9D5E-30B5BD262AAF}" srcOrd="2" destOrd="0" presId="urn:microsoft.com/office/officeart/2005/8/layout/lProcess2"/>
    <dgm:cxn modelId="{8EC5B674-CE23-40D3-A842-D90C8E07DE5B}" type="presParOf" srcId="{73E73BF3-D1A2-4218-9D5E-30B5BD262AAF}" destId="{0B1A7EF4-50CB-4AD4-B972-5D89E19467BB}" srcOrd="0" destOrd="0" presId="urn:microsoft.com/office/officeart/2005/8/layout/lProcess2"/>
    <dgm:cxn modelId="{3FF85A83-5195-4216-9966-E728B8CE378D}" type="presParOf" srcId="{0B1A7EF4-50CB-4AD4-B972-5D89E19467BB}" destId="{EBA25876-2890-4546-B356-7BEA1FC32FEE}" srcOrd="0" destOrd="0" presId="urn:microsoft.com/office/officeart/2005/8/layout/lProcess2"/>
    <dgm:cxn modelId="{D9673444-4225-4F2A-85F7-97C21B5CBE28}" type="presParOf" srcId="{0B1A7EF4-50CB-4AD4-B972-5D89E19467BB}" destId="{D3ED556D-CE1D-46BF-B7E7-788E90996F63}" srcOrd="1" destOrd="0" presId="urn:microsoft.com/office/officeart/2005/8/layout/lProcess2"/>
    <dgm:cxn modelId="{A7606533-2CC8-4545-BE2C-2695B7306F25}" type="presParOf" srcId="{0B1A7EF4-50CB-4AD4-B972-5D89E19467BB}" destId="{74161212-CC75-48DA-AD00-325C2FFCD413}" srcOrd="2" destOrd="0" presId="urn:microsoft.com/office/officeart/2005/8/layout/lProcess2"/>
    <dgm:cxn modelId="{F7C6F3A0-B656-4490-9DE8-1F57C834CAC8}" type="presParOf" srcId="{0B1A7EF4-50CB-4AD4-B972-5D89E19467BB}" destId="{F7C98E89-E55F-4957-BE5B-76FC772AFA56}" srcOrd="3" destOrd="0" presId="urn:microsoft.com/office/officeart/2005/8/layout/lProcess2"/>
    <dgm:cxn modelId="{EDBA3913-3534-4AD4-AB99-FB352B71856D}" type="presParOf" srcId="{0B1A7EF4-50CB-4AD4-B972-5D89E19467BB}" destId="{DB1E00A3-CA7B-4102-B428-4D662636C78D}" srcOrd="4" destOrd="0" presId="urn:microsoft.com/office/officeart/2005/8/layout/lProcess2"/>
    <dgm:cxn modelId="{303C1F67-D08D-4559-A190-C4619EACAEEA}" type="presParOf" srcId="{0B1A7EF4-50CB-4AD4-B972-5D89E19467BB}" destId="{9D1D7DEE-6C1D-4E3E-8D3B-B373A059AB25}" srcOrd="5" destOrd="0" presId="urn:microsoft.com/office/officeart/2005/8/layout/lProcess2"/>
    <dgm:cxn modelId="{E7260E9F-0313-4156-A25C-F3410B51C093}" type="presParOf" srcId="{0B1A7EF4-50CB-4AD4-B972-5D89E19467BB}" destId="{911FEAD5-D223-42D2-BC12-F4AFA45A177C}"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384935C-C5DD-4955-981D-D9A1C7EC1578}" type="doc">
      <dgm:prSet loTypeId="urn:microsoft.com/office/officeart/2008/layout/BendingPictureBlocks" loCatId="picture" qsTypeId="urn:microsoft.com/office/officeart/2005/8/quickstyle/simple2" qsCatId="simple" csTypeId="urn:microsoft.com/office/officeart/2005/8/colors/accent3_2" csCatId="accent3" phldr="1"/>
      <dgm:spPr/>
      <dgm:t>
        <a:bodyPr/>
        <a:lstStyle/>
        <a:p>
          <a:endParaRPr lang="en-US"/>
        </a:p>
      </dgm:t>
    </dgm:pt>
    <dgm:pt modelId="{B35391F9-D3C7-4C06-8A31-2F0EC3030B59}" type="asst">
      <dgm:prSet phldrT="[Text]" custT="1"/>
      <dgm:spPr>
        <a:solidFill>
          <a:schemeClr val="accent3">
            <a:lumMod val="75000"/>
          </a:schemeClr>
        </a:solidFill>
      </dgm:spPr>
      <dgm:t>
        <a:bodyPr/>
        <a:lstStyle/>
        <a:p>
          <a:pPr algn="l">
            <a:lnSpc>
              <a:spcPct val="90000"/>
            </a:lnSpc>
          </a:pPr>
          <a:r>
            <a:rPr lang="en-US" sz="1600" b="1" dirty="0" smtClean="0"/>
            <a:t>1 - Vital</a:t>
          </a:r>
        </a:p>
        <a:p>
          <a:pPr algn="l">
            <a:lnSpc>
              <a:spcPct val="90000"/>
            </a:lnSpc>
          </a:pPr>
          <a:r>
            <a:rPr lang="en-US" sz="1600" b="1" dirty="0" smtClean="0"/>
            <a:t>2 - Major</a:t>
          </a:r>
        </a:p>
        <a:p>
          <a:pPr algn="l">
            <a:lnSpc>
              <a:spcPct val="90000"/>
            </a:lnSpc>
          </a:pPr>
          <a:r>
            <a:rPr lang="en-US" sz="1600" b="1" dirty="0" smtClean="0"/>
            <a:t>3 - Important</a:t>
          </a:r>
        </a:p>
        <a:p>
          <a:pPr algn="l">
            <a:lnSpc>
              <a:spcPct val="90000"/>
            </a:lnSpc>
          </a:pPr>
          <a:r>
            <a:rPr lang="en-US" sz="1600" b="1" dirty="0" smtClean="0"/>
            <a:t>4 - Minor</a:t>
          </a:r>
        </a:p>
        <a:p>
          <a:pPr algn="l">
            <a:lnSpc>
              <a:spcPct val="90000"/>
            </a:lnSpc>
          </a:pPr>
          <a:r>
            <a:rPr lang="en-US" sz="1200" b="1" dirty="0" smtClean="0"/>
            <a:t>Example:</a:t>
          </a:r>
          <a:r>
            <a:rPr lang="en-US" sz="1200" dirty="0" smtClean="0"/>
            <a:t> </a:t>
          </a:r>
        </a:p>
        <a:p>
          <a:pPr algn="l">
            <a:lnSpc>
              <a:spcPct val="150000"/>
            </a:lnSpc>
          </a:pPr>
          <a:r>
            <a:rPr lang="en-US" sz="1200" i="0" dirty="0" smtClean="0">
              <a:latin typeface="+mn-lt"/>
              <a:cs typeface="Arial" panose="020B0604020202020204" pitchFamily="34" charset="0"/>
            </a:rPr>
            <a:t>A 60km collector roadway in Tonga provides access to employment and local schools. There is another 80km alternative route that takes 30 minutes longer, but all of the water and communication lines that supply the community are in route A.</a:t>
          </a:r>
        </a:p>
        <a:p>
          <a:pPr algn="l">
            <a:lnSpc>
              <a:spcPct val="150000"/>
            </a:lnSpc>
          </a:pPr>
          <a:r>
            <a:rPr lang="en-US" sz="1200" i="0" dirty="0" smtClean="0">
              <a:latin typeface="+mn-lt"/>
              <a:cs typeface="Arial" panose="020B0604020202020204" pitchFamily="34" charset="0"/>
            </a:rPr>
            <a:t>Route should be upgraded from important (collector routes) to </a:t>
          </a:r>
          <a:r>
            <a:rPr lang="en-US" sz="1200" b="1" i="0" dirty="0" smtClean="0">
              <a:solidFill>
                <a:schemeClr val="tx1"/>
              </a:solidFill>
              <a:latin typeface="+mn-lt"/>
              <a:cs typeface="Arial" panose="020B0604020202020204" pitchFamily="34" charset="0"/>
            </a:rPr>
            <a:t>Major</a:t>
          </a:r>
          <a:r>
            <a:rPr lang="en-US" sz="1200" i="0" dirty="0" smtClean="0">
              <a:latin typeface="+mn-lt"/>
              <a:cs typeface="Arial" panose="020B0604020202020204" pitchFamily="34" charset="0"/>
            </a:rPr>
            <a:t> based on utilities</a:t>
          </a:r>
          <a:endParaRPr lang="en-US" sz="1200" i="0" dirty="0">
            <a:latin typeface="+mn-lt"/>
            <a:cs typeface="Arial" panose="020B0604020202020204" pitchFamily="34" charset="0"/>
          </a:endParaRPr>
        </a:p>
      </dgm:t>
    </dgm:pt>
    <dgm:pt modelId="{B4DCB00F-54A1-47C0-A0E4-BB6C465CE742}" type="parTrans" cxnId="{45CF36AE-2FD3-447B-87FB-AE4D7AD2FB03}">
      <dgm:prSet/>
      <dgm:spPr/>
      <dgm:t>
        <a:bodyPr/>
        <a:lstStyle/>
        <a:p>
          <a:endParaRPr lang="en-US"/>
        </a:p>
      </dgm:t>
    </dgm:pt>
    <dgm:pt modelId="{ED89F502-389D-434E-88CD-6D0AB7C26BF4}" type="sibTrans" cxnId="{45CF36AE-2FD3-447B-87FB-AE4D7AD2FB03}">
      <dgm:prSet/>
      <dgm:spPr/>
      <dgm:t>
        <a:bodyPr/>
        <a:lstStyle/>
        <a:p>
          <a:endParaRPr lang="en-US"/>
        </a:p>
      </dgm:t>
    </dgm:pt>
    <dgm:pt modelId="{C245CC9E-C0EA-4877-A371-69B92322806B}" type="pres">
      <dgm:prSet presAssocID="{4384935C-C5DD-4955-981D-D9A1C7EC1578}" presName="Name0" presStyleCnt="0">
        <dgm:presLayoutVars>
          <dgm:dir/>
          <dgm:resizeHandles/>
        </dgm:presLayoutVars>
      </dgm:prSet>
      <dgm:spPr/>
      <dgm:t>
        <a:bodyPr/>
        <a:lstStyle/>
        <a:p>
          <a:endParaRPr lang="en-US"/>
        </a:p>
      </dgm:t>
    </dgm:pt>
    <dgm:pt modelId="{E75EEAC3-99F0-4FDF-835A-5E3707C98E3E}" type="pres">
      <dgm:prSet presAssocID="{B35391F9-D3C7-4C06-8A31-2F0EC3030B59}" presName="composite" presStyleCnt="0"/>
      <dgm:spPr/>
      <dgm:t>
        <a:bodyPr/>
        <a:lstStyle/>
        <a:p>
          <a:endParaRPr lang="en-US"/>
        </a:p>
      </dgm:t>
    </dgm:pt>
    <dgm:pt modelId="{B7125431-6238-4FCE-AEBA-CD584719F6C9}" type="pres">
      <dgm:prSet presAssocID="{B35391F9-D3C7-4C06-8A31-2F0EC3030B59}" presName="rect1" presStyleLbl="bgImgPlace1" presStyleIdx="0" presStyleCnt="1" custScaleY="112832" custLinFactNeighborX="41259" custLinFactNeighborY="-67164"/>
      <dgm:spPr>
        <a:prstGeom prst="ellipse">
          <a:avLst/>
        </a:prstGeom>
        <a:blipFill dpi="0" rotWithShape="1">
          <a:blip xmlns:r="http://schemas.openxmlformats.org/officeDocument/2006/relationships" r:embed="rId1">
            <a:duotone>
              <a:schemeClr val="accent3">
                <a:shade val="45000"/>
                <a:satMod val="135000"/>
              </a:schemeClr>
              <a:prstClr val="white"/>
            </a:duotone>
            <a:extLst>
              <a:ext uri="{28A0092B-C50C-407E-A947-70E740481C1C}">
                <a14:useLocalDpi xmlns:a14="http://schemas.microsoft.com/office/drawing/2010/main" val="0"/>
              </a:ext>
            </a:extLst>
          </a:blip>
          <a:srcRect/>
          <a:stretch>
            <a:fillRect l="7947" r="7947"/>
          </a:stretch>
        </a:blipFill>
      </dgm:spPr>
      <dgm:t>
        <a:bodyPr/>
        <a:lstStyle/>
        <a:p>
          <a:endParaRPr lang="en-US"/>
        </a:p>
      </dgm:t>
    </dgm:pt>
    <dgm:pt modelId="{0D0E88EA-4B09-422A-8FB1-A477460CE6A2}" type="pres">
      <dgm:prSet presAssocID="{B35391F9-D3C7-4C06-8A31-2F0EC3030B59}" presName="rect2" presStyleLbl="node1" presStyleIdx="0" presStyleCnt="1" custScaleX="208113" custScaleY="486733">
        <dgm:presLayoutVars>
          <dgm:bulletEnabled val="1"/>
        </dgm:presLayoutVars>
      </dgm:prSet>
      <dgm:spPr/>
      <dgm:t>
        <a:bodyPr/>
        <a:lstStyle/>
        <a:p>
          <a:endParaRPr lang="en-US"/>
        </a:p>
      </dgm:t>
    </dgm:pt>
  </dgm:ptLst>
  <dgm:cxnLst>
    <dgm:cxn modelId="{5ECE2E05-5A1A-4812-AC0E-D9535B401172}" type="presOf" srcId="{B35391F9-D3C7-4C06-8A31-2F0EC3030B59}" destId="{0D0E88EA-4B09-422A-8FB1-A477460CE6A2}" srcOrd="0" destOrd="0" presId="urn:microsoft.com/office/officeart/2008/layout/BendingPictureBlocks"/>
    <dgm:cxn modelId="{45CF36AE-2FD3-447B-87FB-AE4D7AD2FB03}" srcId="{4384935C-C5DD-4955-981D-D9A1C7EC1578}" destId="{B35391F9-D3C7-4C06-8A31-2F0EC3030B59}" srcOrd="0" destOrd="0" parTransId="{B4DCB00F-54A1-47C0-A0E4-BB6C465CE742}" sibTransId="{ED89F502-389D-434E-88CD-6D0AB7C26BF4}"/>
    <dgm:cxn modelId="{88894B73-671D-42FC-8EBF-8A3C3207F97A}" type="presOf" srcId="{4384935C-C5DD-4955-981D-D9A1C7EC1578}" destId="{C245CC9E-C0EA-4877-A371-69B92322806B}" srcOrd="0" destOrd="0" presId="urn:microsoft.com/office/officeart/2008/layout/BendingPictureBlocks"/>
    <dgm:cxn modelId="{6C39B0CA-07B7-4D6F-8810-7988F6FF64F1}" type="presParOf" srcId="{C245CC9E-C0EA-4877-A371-69B92322806B}" destId="{E75EEAC3-99F0-4FDF-835A-5E3707C98E3E}" srcOrd="0" destOrd="0" presId="urn:microsoft.com/office/officeart/2008/layout/BendingPictureBlocks"/>
    <dgm:cxn modelId="{97D3F72B-E588-494D-A60C-B663007BA18F}" type="presParOf" srcId="{E75EEAC3-99F0-4FDF-835A-5E3707C98E3E}" destId="{B7125431-6238-4FCE-AEBA-CD584719F6C9}" srcOrd="0" destOrd="0" presId="urn:microsoft.com/office/officeart/2008/layout/BendingPictureBlocks"/>
    <dgm:cxn modelId="{F2EF7025-D852-4E08-9A91-4D807AE58A57}" type="presParOf" srcId="{E75EEAC3-99F0-4FDF-835A-5E3707C98E3E}" destId="{0D0E88EA-4B09-422A-8FB1-A477460CE6A2}" srcOrd="1" destOrd="0" presId="urn:microsoft.com/office/officeart/2008/layout/Bending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F68A551-7E43-408A-B317-B66459EA04D9}"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3F3F95B3-9EEB-48B0-9B79-C84406B165FC}">
      <dgm:prSet phldrT="[Text]"/>
      <dgm:spPr/>
      <dgm:t>
        <a:bodyPr/>
        <a:lstStyle/>
        <a:p>
          <a:r>
            <a:rPr lang="en-US" b="1"/>
            <a:t>Geometry</a:t>
          </a:r>
        </a:p>
      </dgm:t>
    </dgm:pt>
    <dgm:pt modelId="{2E4DE36E-D491-49AA-8DB8-57902F107C9F}" type="parTrans" cxnId="{71432C69-62CE-4A90-B5A4-780DECB4A97B}">
      <dgm:prSet/>
      <dgm:spPr/>
      <dgm:t>
        <a:bodyPr/>
        <a:lstStyle/>
        <a:p>
          <a:endParaRPr lang="en-US"/>
        </a:p>
      </dgm:t>
    </dgm:pt>
    <dgm:pt modelId="{754B3D68-21A5-456C-8C02-DC8D25C45CDD}" type="sibTrans" cxnId="{71432C69-62CE-4A90-B5A4-780DECB4A97B}">
      <dgm:prSet/>
      <dgm:spPr/>
      <dgm:t>
        <a:bodyPr/>
        <a:lstStyle/>
        <a:p>
          <a:endParaRPr lang="en-US"/>
        </a:p>
      </dgm:t>
    </dgm:pt>
    <dgm:pt modelId="{4CE9E562-3FE6-407F-8CE1-30BC68127994}">
      <dgm:prSet phldrT="[Text]"/>
      <dgm:spPr/>
      <dgm:t>
        <a:bodyPr/>
        <a:lstStyle/>
        <a:p>
          <a:r>
            <a:rPr lang="en-US"/>
            <a:t>ROW width</a:t>
          </a:r>
        </a:p>
      </dgm:t>
    </dgm:pt>
    <dgm:pt modelId="{D8776E7A-98C7-4564-B0E9-512B122EA563}" type="parTrans" cxnId="{C55C3E49-43A1-4CB7-9DF6-1487AB76A42E}">
      <dgm:prSet/>
      <dgm:spPr/>
      <dgm:t>
        <a:bodyPr/>
        <a:lstStyle/>
        <a:p>
          <a:endParaRPr lang="en-US"/>
        </a:p>
      </dgm:t>
    </dgm:pt>
    <dgm:pt modelId="{DB85C9A5-FB34-4EC5-8913-D5342840D893}" type="sibTrans" cxnId="{C55C3E49-43A1-4CB7-9DF6-1487AB76A42E}">
      <dgm:prSet/>
      <dgm:spPr/>
      <dgm:t>
        <a:bodyPr/>
        <a:lstStyle/>
        <a:p>
          <a:endParaRPr lang="en-US"/>
        </a:p>
      </dgm:t>
    </dgm:pt>
    <dgm:pt modelId="{CD65D893-C799-4D92-8E45-5805D2381044}">
      <dgm:prSet phldrT="[Text]"/>
      <dgm:spPr>
        <a:ln>
          <a:solidFill>
            <a:schemeClr val="tx1"/>
          </a:solidFill>
        </a:ln>
      </dgm:spPr>
      <dgm:t>
        <a:bodyPr/>
        <a:lstStyle/>
        <a:p>
          <a:r>
            <a:rPr lang="en-US"/>
            <a:t>2 Lanes, no shoulders</a:t>
          </a:r>
        </a:p>
      </dgm:t>
    </dgm:pt>
    <dgm:pt modelId="{CD2B79F7-365E-42DC-9EAE-32415ECA9D10}" type="parTrans" cxnId="{99DFA347-ACD4-4E4A-A1CA-5927E4EB6A63}">
      <dgm:prSet/>
      <dgm:spPr/>
      <dgm:t>
        <a:bodyPr/>
        <a:lstStyle/>
        <a:p>
          <a:endParaRPr lang="en-US"/>
        </a:p>
      </dgm:t>
    </dgm:pt>
    <dgm:pt modelId="{ECA16C36-420E-498F-855F-C482CF664C8E}" type="sibTrans" cxnId="{99DFA347-ACD4-4E4A-A1CA-5927E4EB6A63}">
      <dgm:prSet/>
      <dgm:spPr/>
      <dgm:t>
        <a:bodyPr/>
        <a:lstStyle/>
        <a:p>
          <a:endParaRPr lang="en-US"/>
        </a:p>
      </dgm:t>
    </dgm:pt>
    <dgm:pt modelId="{D9F5310C-4511-455F-92A9-00BA44C19991}">
      <dgm:prSet phldrT="[Text]"/>
      <dgm:spPr/>
      <dgm:t>
        <a:bodyPr/>
        <a:lstStyle/>
        <a:p>
          <a:r>
            <a:rPr lang="en-US" b="1"/>
            <a:t>Terrain</a:t>
          </a:r>
        </a:p>
      </dgm:t>
    </dgm:pt>
    <dgm:pt modelId="{F876E5C5-70A4-4EB4-9ACC-9655F9E43614}" type="parTrans" cxnId="{D4A3403F-B5B7-4048-B404-AD9043F74445}">
      <dgm:prSet/>
      <dgm:spPr/>
      <dgm:t>
        <a:bodyPr/>
        <a:lstStyle/>
        <a:p>
          <a:endParaRPr lang="en-US"/>
        </a:p>
      </dgm:t>
    </dgm:pt>
    <dgm:pt modelId="{47F70D03-E16E-493E-818D-4523158665EF}" type="sibTrans" cxnId="{D4A3403F-B5B7-4048-B404-AD9043F74445}">
      <dgm:prSet/>
      <dgm:spPr/>
      <dgm:t>
        <a:bodyPr/>
        <a:lstStyle/>
        <a:p>
          <a:endParaRPr lang="en-US"/>
        </a:p>
      </dgm:t>
    </dgm:pt>
    <dgm:pt modelId="{6ECD7908-6F5B-4AB4-B281-C507AFBD4C3E}">
      <dgm:prSet phldrT="[Text]"/>
      <dgm:spPr/>
      <dgm:t>
        <a:bodyPr/>
        <a:lstStyle/>
        <a:p>
          <a:r>
            <a:rPr lang="en-US"/>
            <a:t>Flat</a:t>
          </a:r>
        </a:p>
      </dgm:t>
    </dgm:pt>
    <dgm:pt modelId="{002E5A4A-5820-4F27-93AA-C5A5122CD0A1}" type="parTrans" cxnId="{FD6BEDF7-1082-421B-A488-56BC16FBFAB9}">
      <dgm:prSet/>
      <dgm:spPr/>
      <dgm:t>
        <a:bodyPr/>
        <a:lstStyle/>
        <a:p>
          <a:endParaRPr lang="en-US"/>
        </a:p>
      </dgm:t>
    </dgm:pt>
    <dgm:pt modelId="{7AAB4C61-513F-4B36-BF6A-9C61E0A72952}" type="sibTrans" cxnId="{FD6BEDF7-1082-421B-A488-56BC16FBFAB9}">
      <dgm:prSet/>
      <dgm:spPr/>
      <dgm:t>
        <a:bodyPr/>
        <a:lstStyle/>
        <a:p>
          <a:endParaRPr lang="en-US"/>
        </a:p>
      </dgm:t>
    </dgm:pt>
    <dgm:pt modelId="{275EEAF1-577E-4BCD-AAEF-014FB2B06FA3}">
      <dgm:prSet phldrT="[Text]"/>
      <dgm:spPr>
        <a:ln>
          <a:solidFill>
            <a:schemeClr val="tx1"/>
          </a:solidFill>
        </a:ln>
      </dgm:spPr>
      <dgm:t>
        <a:bodyPr/>
        <a:lstStyle/>
        <a:p>
          <a:r>
            <a:rPr lang="en-US"/>
            <a:t>Rolling </a:t>
          </a:r>
        </a:p>
      </dgm:t>
    </dgm:pt>
    <dgm:pt modelId="{2EDCF14C-E1BB-4208-A3F5-50A1BE82CA15}" type="parTrans" cxnId="{B5A8A77C-71C5-4644-831B-A74D1B54CA83}">
      <dgm:prSet/>
      <dgm:spPr/>
      <dgm:t>
        <a:bodyPr/>
        <a:lstStyle/>
        <a:p>
          <a:endParaRPr lang="en-US"/>
        </a:p>
      </dgm:t>
    </dgm:pt>
    <dgm:pt modelId="{68D82382-2019-4151-857B-07961035C5BF}" type="sibTrans" cxnId="{B5A8A77C-71C5-4644-831B-A74D1B54CA83}">
      <dgm:prSet/>
      <dgm:spPr/>
      <dgm:t>
        <a:bodyPr/>
        <a:lstStyle/>
        <a:p>
          <a:endParaRPr lang="en-US"/>
        </a:p>
      </dgm:t>
    </dgm:pt>
    <dgm:pt modelId="{A630C113-DA40-478A-9754-EC83605356CA}">
      <dgm:prSet phldrT="[Text]"/>
      <dgm:spPr/>
      <dgm:t>
        <a:bodyPr/>
        <a:lstStyle/>
        <a:p>
          <a:r>
            <a:rPr lang="en-US" b="1"/>
            <a:t>Components</a:t>
          </a:r>
        </a:p>
      </dgm:t>
    </dgm:pt>
    <dgm:pt modelId="{E16659A8-9B51-4CF4-AA64-4920F3F5DD41}" type="parTrans" cxnId="{BAD3E0E3-C01B-4610-9848-4B170CE2BB44}">
      <dgm:prSet/>
      <dgm:spPr/>
      <dgm:t>
        <a:bodyPr/>
        <a:lstStyle/>
        <a:p>
          <a:endParaRPr lang="en-US"/>
        </a:p>
      </dgm:t>
    </dgm:pt>
    <dgm:pt modelId="{A3B7FF09-911C-49BF-98BB-E2FD6BBF744B}" type="sibTrans" cxnId="{BAD3E0E3-C01B-4610-9848-4B170CE2BB44}">
      <dgm:prSet/>
      <dgm:spPr/>
      <dgm:t>
        <a:bodyPr/>
        <a:lstStyle/>
        <a:p>
          <a:endParaRPr lang="en-US"/>
        </a:p>
      </dgm:t>
    </dgm:pt>
    <dgm:pt modelId="{BBD7B213-F004-4007-B073-BA0AFB9DAE02}">
      <dgm:prSet phldrT="[Text]"/>
      <dgm:spPr/>
      <dgm:t>
        <a:bodyPr/>
        <a:lstStyle/>
        <a:p>
          <a:r>
            <a:rPr lang="en-US"/>
            <a:t>At Grade</a:t>
          </a:r>
        </a:p>
      </dgm:t>
    </dgm:pt>
    <dgm:pt modelId="{B626C08D-5656-409A-8635-7025CD88A70C}" type="parTrans" cxnId="{53BA3C5B-0019-403F-BC20-B04A62A436CF}">
      <dgm:prSet/>
      <dgm:spPr/>
      <dgm:t>
        <a:bodyPr/>
        <a:lstStyle/>
        <a:p>
          <a:endParaRPr lang="en-US"/>
        </a:p>
      </dgm:t>
    </dgm:pt>
    <dgm:pt modelId="{6A03D9BE-7993-4DE8-921D-10A623A540EB}" type="sibTrans" cxnId="{53BA3C5B-0019-403F-BC20-B04A62A436CF}">
      <dgm:prSet/>
      <dgm:spPr/>
      <dgm:t>
        <a:bodyPr/>
        <a:lstStyle/>
        <a:p>
          <a:endParaRPr lang="en-US"/>
        </a:p>
      </dgm:t>
    </dgm:pt>
    <dgm:pt modelId="{AADA39AB-6D47-4C65-86F2-018D34AB3663}">
      <dgm:prSet phldrT="[Text]"/>
      <dgm:spPr/>
      <dgm:t>
        <a:bodyPr/>
        <a:lstStyle/>
        <a:p>
          <a:r>
            <a:rPr lang="en-US"/>
            <a:t>Viaduct</a:t>
          </a:r>
        </a:p>
      </dgm:t>
    </dgm:pt>
    <dgm:pt modelId="{7E7949C2-71AB-4E16-858B-90F5FBC24EB3}" type="parTrans" cxnId="{D505EBF9-7B8A-41F7-86D7-3C863E2EDA71}">
      <dgm:prSet/>
      <dgm:spPr/>
      <dgm:t>
        <a:bodyPr/>
        <a:lstStyle/>
        <a:p>
          <a:endParaRPr lang="en-US"/>
        </a:p>
      </dgm:t>
    </dgm:pt>
    <dgm:pt modelId="{CC205FCF-9D14-465D-8899-5A14C941DD7F}" type="sibTrans" cxnId="{D505EBF9-7B8A-41F7-86D7-3C863E2EDA71}">
      <dgm:prSet/>
      <dgm:spPr/>
      <dgm:t>
        <a:bodyPr/>
        <a:lstStyle/>
        <a:p>
          <a:endParaRPr lang="en-US"/>
        </a:p>
      </dgm:t>
    </dgm:pt>
    <dgm:pt modelId="{CADE6A3C-0098-4BAF-9975-D9A973030982}">
      <dgm:prSet phldrT="[Text]"/>
      <dgm:spPr/>
      <dgm:t>
        <a:bodyPr/>
        <a:lstStyle/>
        <a:p>
          <a:r>
            <a:rPr lang="en-US" b="1"/>
            <a:t>Geology</a:t>
          </a:r>
        </a:p>
      </dgm:t>
    </dgm:pt>
    <dgm:pt modelId="{2C6D08D8-77A6-4E71-8622-D93E803294E6}" type="parTrans" cxnId="{07A99C1C-F229-4FCE-8114-D974C903079C}">
      <dgm:prSet/>
      <dgm:spPr/>
      <dgm:t>
        <a:bodyPr/>
        <a:lstStyle/>
        <a:p>
          <a:endParaRPr lang="en-US"/>
        </a:p>
      </dgm:t>
    </dgm:pt>
    <dgm:pt modelId="{2F6BEC9C-D18D-431C-94A1-65F0FB6826DF}" type="sibTrans" cxnId="{07A99C1C-F229-4FCE-8114-D974C903079C}">
      <dgm:prSet/>
      <dgm:spPr/>
      <dgm:t>
        <a:bodyPr/>
        <a:lstStyle/>
        <a:p>
          <a:endParaRPr lang="en-US"/>
        </a:p>
      </dgm:t>
    </dgm:pt>
    <dgm:pt modelId="{B56DA29E-7137-4D44-96FE-08794490ABBD}">
      <dgm:prSet phldrT="[Text]"/>
      <dgm:spPr>
        <a:solidFill>
          <a:schemeClr val="accent1">
            <a:lumMod val="40000"/>
            <a:lumOff val="60000"/>
          </a:schemeClr>
        </a:solidFill>
        <a:ln>
          <a:solidFill>
            <a:schemeClr val="accent1">
              <a:lumMod val="60000"/>
              <a:lumOff val="40000"/>
            </a:schemeClr>
          </a:solidFill>
        </a:ln>
      </dgm:spPr>
      <dgm:t>
        <a:bodyPr/>
        <a:lstStyle/>
        <a:p>
          <a:r>
            <a:rPr lang="en-US" b="1"/>
            <a:t>Surface</a:t>
          </a:r>
        </a:p>
      </dgm:t>
    </dgm:pt>
    <dgm:pt modelId="{5C308700-BCA5-40CD-9848-48B6FDF0A893}" type="parTrans" cxnId="{29FF8C78-0F9C-422F-8404-AF40EC660FDC}">
      <dgm:prSet/>
      <dgm:spPr/>
      <dgm:t>
        <a:bodyPr/>
        <a:lstStyle/>
        <a:p>
          <a:endParaRPr lang="en-US"/>
        </a:p>
      </dgm:t>
    </dgm:pt>
    <dgm:pt modelId="{B60F70D2-D5FC-467C-9E30-7E4E891A5BEF}" type="sibTrans" cxnId="{29FF8C78-0F9C-422F-8404-AF40EC660FDC}">
      <dgm:prSet/>
      <dgm:spPr/>
      <dgm:t>
        <a:bodyPr/>
        <a:lstStyle/>
        <a:p>
          <a:endParaRPr lang="en-US"/>
        </a:p>
      </dgm:t>
    </dgm:pt>
    <dgm:pt modelId="{FC18CE6A-449B-4A3B-9028-BBFAB655BD7A}">
      <dgm:prSet phldrT="[Text]"/>
      <dgm:spPr>
        <a:solidFill>
          <a:schemeClr val="accent1">
            <a:lumMod val="40000"/>
            <a:lumOff val="60000"/>
          </a:schemeClr>
        </a:solidFill>
        <a:ln>
          <a:solidFill>
            <a:schemeClr val="accent1">
              <a:lumMod val="60000"/>
              <a:lumOff val="40000"/>
            </a:schemeClr>
          </a:solidFill>
        </a:ln>
      </dgm:spPr>
      <dgm:t>
        <a:bodyPr/>
        <a:lstStyle/>
        <a:p>
          <a:r>
            <a:rPr lang="en-US" b="1"/>
            <a:t>Drainage</a:t>
          </a:r>
        </a:p>
      </dgm:t>
    </dgm:pt>
    <dgm:pt modelId="{CED02176-047B-45E3-868A-F9167B277FD7}" type="parTrans" cxnId="{67F9E18A-65F0-453F-883F-59CF097395EB}">
      <dgm:prSet/>
      <dgm:spPr/>
      <dgm:t>
        <a:bodyPr/>
        <a:lstStyle/>
        <a:p>
          <a:endParaRPr lang="en-US"/>
        </a:p>
      </dgm:t>
    </dgm:pt>
    <dgm:pt modelId="{AF3F569A-192E-461F-83F5-6FF9EE1D7250}" type="sibTrans" cxnId="{67F9E18A-65F0-453F-883F-59CF097395EB}">
      <dgm:prSet/>
      <dgm:spPr/>
      <dgm:t>
        <a:bodyPr/>
        <a:lstStyle/>
        <a:p>
          <a:endParaRPr lang="en-US"/>
        </a:p>
      </dgm:t>
    </dgm:pt>
    <dgm:pt modelId="{933B4235-B9EE-4E5D-8761-341F2E948354}">
      <dgm:prSet phldrT="[Text]"/>
      <dgm:spPr/>
      <dgm:t>
        <a:bodyPr/>
        <a:lstStyle/>
        <a:p>
          <a:r>
            <a:rPr lang="en-US"/>
            <a:t>Mountainous</a:t>
          </a:r>
        </a:p>
      </dgm:t>
    </dgm:pt>
    <dgm:pt modelId="{7EF6A037-0875-44F6-A230-69D97EB86EB2}" type="parTrans" cxnId="{E7025D99-D8A6-4208-8898-903D06B6A9D3}">
      <dgm:prSet/>
      <dgm:spPr/>
      <dgm:t>
        <a:bodyPr/>
        <a:lstStyle/>
        <a:p>
          <a:endParaRPr lang="en-US"/>
        </a:p>
      </dgm:t>
    </dgm:pt>
    <dgm:pt modelId="{D279A540-C18D-4BB0-8C07-E7D4F81DE624}" type="sibTrans" cxnId="{E7025D99-D8A6-4208-8898-903D06B6A9D3}">
      <dgm:prSet/>
      <dgm:spPr/>
      <dgm:t>
        <a:bodyPr/>
        <a:lstStyle/>
        <a:p>
          <a:endParaRPr lang="en-US"/>
        </a:p>
      </dgm:t>
    </dgm:pt>
    <dgm:pt modelId="{A0F4D169-DCC9-4023-B0DD-7E525E81FE53}">
      <dgm:prSet phldrT="[Text]"/>
      <dgm:spPr/>
      <dgm:t>
        <a:bodyPr/>
        <a:lstStyle/>
        <a:p>
          <a:r>
            <a:rPr lang="en-US"/>
            <a:t>2 Lanes, dirt shoulders</a:t>
          </a:r>
        </a:p>
      </dgm:t>
    </dgm:pt>
    <dgm:pt modelId="{1FEB3BA0-08EC-48E5-A99D-0D41A10D1777}" type="parTrans" cxnId="{715C433B-85B1-4115-812D-73F2B3F59399}">
      <dgm:prSet/>
      <dgm:spPr/>
      <dgm:t>
        <a:bodyPr/>
        <a:lstStyle/>
        <a:p>
          <a:endParaRPr lang="en-US"/>
        </a:p>
      </dgm:t>
    </dgm:pt>
    <dgm:pt modelId="{7B235FFC-0721-47CD-AC9C-ACAFB6E6B4F9}" type="sibTrans" cxnId="{715C433B-85B1-4115-812D-73F2B3F59399}">
      <dgm:prSet/>
      <dgm:spPr/>
      <dgm:t>
        <a:bodyPr/>
        <a:lstStyle/>
        <a:p>
          <a:endParaRPr lang="en-US"/>
        </a:p>
      </dgm:t>
    </dgm:pt>
    <dgm:pt modelId="{6AC65BD5-34BA-4139-87EB-D1B5B27C765C}">
      <dgm:prSet phldrT="[Text]"/>
      <dgm:spPr/>
      <dgm:t>
        <a:bodyPr/>
        <a:lstStyle/>
        <a:p>
          <a:r>
            <a:rPr lang="en-US"/>
            <a:t>2 lanes paved shoulders</a:t>
          </a:r>
        </a:p>
      </dgm:t>
    </dgm:pt>
    <dgm:pt modelId="{EE6D3760-844D-49FD-8880-9B22941DD764}" type="parTrans" cxnId="{24449DF4-C9DD-405C-96CC-3BA8EDA9DB71}">
      <dgm:prSet/>
      <dgm:spPr/>
      <dgm:t>
        <a:bodyPr/>
        <a:lstStyle/>
        <a:p>
          <a:endParaRPr lang="en-US"/>
        </a:p>
      </dgm:t>
    </dgm:pt>
    <dgm:pt modelId="{9E740A04-EE96-4F00-AA4A-AC69E181D0C5}" type="sibTrans" cxnId="{24449DF4-C9DD-405C-96CC-3BA8EDA9DB71}">
      <dgm:prSet/>
      <dgm:spPr/>
      <dgm:t>
        <a:bodyPr/>
        <a:lstStyle/>
        <a:p>
          <a:endParaRPr lang="en-US"/>
        </a:p>
      </dgm:t>
    </dgm:pt>
    <dgm:pt modelId="{934AD681-DBD8-45AF-AAB6-CEC2DC16A520}">
      <dgm:prSet phldrT="[Text]"/>
      <dgm:spPr>
        <a:ln>
          <a:solidFill>
            <a:schemeClr val="tx1"/>
          </a:solidFill>
        </a:ln>
      </dgm:spPr>
      <dgm:t>
        <a:bodyPr/>
        <a:lstStyle/>
        <a:p>
          <a:r>
            <a:rPr lang="en-US" b="0"/>
            <a:t>Rock</a:t>
          </a:r>
        </a:p>
      </dgm:t>
    </dgm:pt>
    <dgm:pt modelId="{EA86F5E3-C6A4-4E6C-AB62-210CAAF1D3EF}" type="parTrans" cxnId="{CF6BF33D-4C5A-4B05-8C7F-5B4CEEA8AAE3}">
      <dgm:prSet/>
      <dgm:spPr/>
      <dgm:t>
        <a:bodyPr/>
        <a:lstStyle/>
        <a:p>
          <a:endParaRPr lang="en-US"/>
        </a:p>
      </dgm:t>
    </dgm:pt>
    <dgm:pt modelId="{7FD2EBD7-5519-483C-8C33-BFC033668FDE}" type="sibTrans" cxnId="{CF6BF33D-4C5A-4B05-8C7F-5B4CEEA8AAE3}">
      <dgm:prSet/>
      <dgm:spPr/>
      <dgm:t>
        <a:bodyPr/>
        <a:lstStyle/>
        <a:p>
          <a:endParaRPr lang="en-US"/>
        </a:p>
      </dgm:t>
    </dgm:pt>
    <dgm:pt modelId="{B98DA5E3-382F-4F3E-8E46-9C50722A93E2}">
      <dgm:prSet phldrT="[Text]"/>
      <dgm:spPr>
        <a:ln>
          <a:solidFill>
            <a:schemeClr val="tx1"/>
          </a:solidFill>
        </a:ln>
      </dgm:spPr>
      <dgm:t>
        <a:bodyPr/>
        <a:lstStyle/>
        <a:p>
          <a:r>
            <a:rPr lang="en-US"/>
            <a:t>Concrete</a:t>
          </a:r>
        </a:p>
      </dgm:t>
    </dgm:pt>
    <dgm:pt modelId="{A3BF2493-ABA4-4E97-87F6-A66A026BFBF0}" type="parTrans" cxnId="{1E9EC789-F19C-4D1F-A30F-0A8018EDA7E1}">
      <dgm:prSet/>
      <dgm:spPr/>
      <dgm:t>
        <a:bodyPr/>
        <a:lstStyle/>
        <a:p>
          <a:endParaRPr lang="en-US"/>
        </a:p>
      </dgm:t>
    </dgm:pt>
    <dgm:pt modelId="{4767942D-930C-46A2-9D7D-31E304BA2FE5}" type="sibTrans" cxnId="{1E9EC789-F19C-4D1F-A30F-0A8018EDA7E1}">
      <dgm:prSet/>
      <dgm:spPr/>
      <dgm:t>
        <a:bodyPr/>
        <a:lstStyle/>
        <a:p>
          <a:endParaRPr lang="en-US"/>
        </a:p>
      </dgm:t>
    </dgm:pt>
    <dgm:pt modelId="{70667BF5-46DF-4CDA-872E-A18C0587B9B9}">
      <dgm:prSet phldrT="[Text]"/>
      <dgm:spPr/>
      <dgm:t>
        <a:bodyPr/>
        <a:lstStyle/>
        <a:p>
          <a:r>
            <a:rPr lang="en-US" b="0"/>
            <a:t>Silt</a:t>
          </a:r>
        </a:p>
      </dgm:t>
    </dgm:pt>
    <dgm:pt modelId="{E03B73EB-892A-4C98-8D22-4D66918C7C84}" type="parTrans" cxnId="{45713A10-3D00-4045-9F5C-8866E4365A33}">
      <dgm:prSet/>
      <dgm:spPr/>
      <dgm:t>
        <a:bodyPr/>
        <a:lstStyle/>
        <a:p>
          <a:endParaRPr lang="en-US"/>
        </a:p>
      </dgm:t>
    </dgm:pt>
    <dgm:pt modelId="{D6C5EF56-7D14-402A-97BE-FF86B01E26A0}" type="sibTrans" cxnId="{45713A10-3D00-4045-9F5C-8866E4365A33}">
      <dgm:prSet/>
      <dgm:spPr/>
      <dgm:t>
        <a:bodyPr/>
        <a:lstStyle/>
        <a:p>
          <a:endParaRPr lang="en-US"/>
        </a:p>
      </dgm:t>
    </dgm:pt>
    <dgm:pt modelId="{84381DA8-F502-4601-807E-A1A09A078113}">
      <dgm:prSet phldrT="[Text]"/>
      <dgm:spPr/>
      <dgm:t>
        <a:bodyPr/>
        <a:lstStyle/>
        <a:p>
          <a:r>
            <a:rPr lang="en-US" b="0"/>
            <a:t>Sand</a:t>
          </a:r>
        </a:p>
      </dgm:t>
    </dgm:pt>
    <dgm:pt modelId="{C03E1958-F260-4EF3-8214-B8A6E6577C2D}" type="parTrans" cxnId="{FA096446-4F0D-4E00-B4E5-559D7ADB71D7}">
      <dgm:prSet/>
      <dgm:spPr/>
      <dgm:t>
        <a:bodyPr/>
        <a:lstStyle/>
        <a:p>
          <a:endParaRPr lang="en-US"/>
        </a:p>
      </dgm:t>
    </dgm:pt>
    <dgm:pt modelId="{136C6480-73F4-478D-A9EB-F2C8D05B9E95}" type="sibTrans" cxnId="{FA096446-4F0D-4E00-B4E5-559D7ADB71D7}">
      <dgm:prSet/>
      <dgm:spPr/>
      <dgm:t>
        <a:bodyPr/>
        <a:lstStyle/>
        <a:p>
          <a:endParaRPr lang="en-US"/>
        </a:p>
      </dgm:t>
    </dgm:pt>
    <dgm:pt modelId="{F0DD0977-C6E0-438E-83E4-3417848CA9CF}">
      <dgm:prSet phldrT="[Text]"/>
      <dgm:spPr/>
      <dgm:t>
        <a:bodyPr/>
        <a:lstStyle/>
        <a:p>
          <a:r>
            <a:rPr lang="en-US" b="0"/>
            <a:t>Clay</a:t>
          </a:r>
        </a:p>
      </dgm:t>
    </dgm:pt>
    <dgm:pt modelId="{7CA1D974-4397-4C4C-9CF0-BAC1B5C06B3F}" type="parTrans" cxnId="{C4D096CF-FBCC-4CAC-8228-4332B63E2D90}">
      <dgm:prSet/>
      <dgm:spPr/>
      <dgm:t>
        <a:bodyPr/>
        <a:lstStyle/>
        <a:p>
          <a:endParaRPr lang="en-US"/>
        </a:p>
      </dgm:t>
    </dgm:pt>
    <dgm:pt modelId="{A40B7C63-8871-4EA5-9A4B-53D9029E80D2}" type="sibTrans" cxnId="{C4D096CF-FBCC-4CAC-8228-4332B63E2D90}">
      <dgm:prSet/>
      <dgm:spPr/>
      <dgm:t>
        <a:bodyPr/>
        <a:lstStyle/>
        <a:p>
          <a:endParaRPr lang="en-US"/>
        </a:p>
      </dgm:t>
    </dgm:pt>
    <dgm:pt modelId="{140A6599-5910-41FC-BB64-77983132B9C9}">
      <dgm:prSet phldrT="[Text]"/>
      <dgm:spPr/>
      <dgm:t>
        <a:bodyPr/>
        <a:lstStyle/>
        <a:p>
          <a:r>
            <a:rPr lang="en-US"/>
            <a:t>Sealed</a:t>
          </a:r>
        </a:p>
      </dgm:t>
    </dgm:pt>
    <dgm:pt modelId="{68F87FF9-C418-4370-9C7D-6C9DBAC1B342}" type="parTrans" cxnId="{189F365C-500E-4E32-98D7-B2CF12F95072}">
      <dgm:prSet/>
      <dgm:spPr/>
      <dgm:t>
        <a:bodyPr/>
        <a:lstStyle/>
        <a:p>
          <a:endParaRPr lang="en-US"/>
        </a:p>
      </dgm:t>
    </dgm:pt>
    <dgm:pt modelId="{0E1ABC6A-3787-4BE1-9329-B82EB2375971}" type="sibTrans" cxnId="{189F365C-500E-4E32-98D7-B2CF12F95072}">
      <dgm:prSet/>
      <dgm:spPr/>
      <dgm:t>
        <a:bodyPr/>
        <a:lstStyle/>
        <a:p>
          <a:endParaRPr lang="en-US"/>
        </a:p>
      </dgm:t>
    </dgm:pt>
    <dgm:pt modelId="{A15EA1DA-247C-484A-80A0-DF1752D9D38F}">
      <dgm:prSet phldrT="[Text]"/>
      <dgm:spPr/>
      <dgm:t>
        <a:bodyPr/>
        <a:lstStyle/>
        <a:p>
          <a:r>
            <a:rPr lang="en-US"/>
            <a:t>Asphalt</a:t>
          </a:r>
        </a:p>
      </dgm:t>
    </dgm:pt>
    <dgm:pt modelId="{EF20EC1D-F171-45D0-BCBE-0130A6990045}" type="parTrans" cxnId="{73C2E74E-2744-46A0-A3DF-52A813604B1E}">
      <dgm:prSet/>
      <dgm:spPr/>
      <dgm:t>
        <a:bodyPr/>
        <a:lstStyle/>
        <a:p>
          <a:endParaRPr lang="en-US"/>
        </a:p>
      </dgm:t>
    </dgm:pt>
    <dgm:pt modelId="{71777BA1-5B5B-48F7-8AE9-C24CBE90250D}" type="sibTrans" cxnId="{73C2E74E-2744-46A0-A3DF-52A813604B1E}">
      <dgm:prSet/>
      <dgm:spPr/>
      <dgm:t>
        <a:bodyPr/>
        <a:lstStyle/>
        <a:p>
          <a:endParaRPr lang="en-US"/>
        </a:p>
      </dgm:t>
    </dgm:pt>
    <dgm:pt modelId="{CE43C5AD-6C07-4999-B158-D74B4201C3C2}">
      <dgm:prSet phldrT="[Text]"/>
      <dgm:spPr/>
      <dgm:t>
        <a:bodyPr/>
        <a:lstStyle/>
        <a:p>
          <a:r>
            <a:rPr lang="en-US"/>
            <a:t>Gravel/Dirt</a:t>
          </a:r>
        </a:p>
      </dgm:t>
    </dgm:pt>
    <dgm:pt modelId="{492BEB85-7847-46F4-BAD2-B2821454D6FD}" type="parTrans" cxnId="{509BA472-BFEE-4ABB-AAE4-3154BA36FB94}">
      <dgm:prSet/>
      <dgm:spPr/>
      <dgm:t>
        <a:bodyPr/>
        <a:lstStyle/>
        <a:p>
          <a:endParaRPr lang="en-US"/>
        </a:p>
      </dgm:t>
    </dgm:pt>
    <dgm:pt modelId="{6385CAAC-B73E-4850-819A-D1C807CAB220}" type="sibTrans" cxnId="{509BA472-BFEE-4ABB-AAE4-3154BA36FB94}">
      <dgm:prSet/>
      <dgm:spPr/>
      <dgm:t>
        <a:bodyPr/>
        <a:lstStyle/>
        <a:p>
          <a:endParaRPr lang="en-US"/>
        </a:p>
      </dgm:t>
    </dgm:pt>
    <dgm:pt modelId="{B4B241C2-B24F-44D0-BFE0-497648340376}">
      <dgm:prSet phldrT="[Text]"/>
      <dgm:spPr/>
      <dgm:t>
        <a:bodyPr/>
        <a:lstStyle/>
        <a:p>
          <a:r>
            <a:rPr lang="en-US"/>
            <a:t>Culverts</a:t>
          </a:r>
        </a:p>
      </dgm:t>
    </dgm:pt>
    <dgm:pt modelId="{222A7C1B-A9D3-423B-9CFF-B1DA15EF6498}" type="parTrans" cxnId="{5FC3245D-9CF5-477A-B20A-AFB900C2C2FB}">
      <dgm:prSet/>
      <dgm:spPr/>
      <dgm:t>
        <a:bodyPr/>
        <a:lstStyle/>
        <a:p>
          <a:endParaRPr lang="en-US"/>
        </a:p>
      </dgm:t>
    </dgm:pt>
    <dgm:pt modelId="{0A48D954-19FC-4028-B6B4-848C6909EE25}" type="sibTrans" cxnId="{5FC3245D-9CF5-477A-B20A-AFB900C2C2FB}">
      <dgm:prSet/>
      <dgm:spPr/>
      <dgm:t>
        <a:bodyPr/>
        <a:lstStyle/>
        <a:p>
          <a:endParaRPr lang="en-US"/>
        </a:p>
      </dgm:t>
    </dgm:pt>
    <dgm:pt modelId="{C53A8E8F-3008-45AC-BDC4-77C74BEA6B69}">
      <dgm:prSet phldrT="[Text]"/>
      <dgm:spPr/>
      <dgm:t>
        <a:bodyPr/>
        <a:lstStyle/>
        <a:p>
          <a:r>
            <a:rPr lang="en-US"/>
            <a:t>Treated Ditches</a:t>
          </a:r>
        </a:p>
      </dgm:t>
    </dgm:pt>
    <dgm:pt modelId="{5CAB1F03-C6BB-4D43-AEAA-2A51B514C2E1}" type="parTrans" cxnId="{BC15A87E-C36B-43CA-92C8-5C41B698250A}">
      <dgm:prSet/>
      <dgm:spPr/>
      <dgm:t>
        <a:bodyPr/>
        <a:lstStyle/>
        <a:p>
          <a:endParaRPr lang="en-US"/>
        </a:p>
      </dgm:t>
    </dgm:pt>
    <dgm:pt modelId="{52BC8F2B-A096-40D4-831E-7325BECA275B}" type="sibTrans" cxnId="{BC15A87E-C36B-43CA-92C8-5C41B698250A}">
      <dgm:prSet/>
      <dgm:spPr/>
      <dgm:t>
        <a:bodyPr/>
        <a:lstStyle/>
        <a:p>
          <a:endParaRPr lang="en-US"/>
        </a:p>
      </dgm:t>
    </dgm:pt>
    <dgm:pt modelId="{56840AF8-A4B2-4180-A974-7136CEC3457D}">
      <dgm:prSet phldrT="[Text]"/>
      <dgm:spPr>
        <a:ln>
          <a:solidFill>
            <a:schemeClr val="tx1"/>
          </a:solidFill>
        </a:ln>
      </dgm:spPr>
      <dgm:t>
        <a:bodyPr/>
        <a:lstStyle/>
        <a:p>
          <a:r>
            <a:rPr lang="en-US"/>
            <a:t>No Ditches</a:t>
          </a:r>
        </a:p>
      </dgm:t>
    </dgm:pt>
    <dgm:pt modelId="{F75D8F29-9692-4A3D-9F80-9815377B3086}" type="parTrans" cxnId="{710773A7-479F-4A3D-A091-BC8DF2D37EAF}">
      <dgm:prSet/>
      <dgm:spPr/>
      <dgm:t>
        <a:bodyPr/>
        <a:lstStyle/>
        <a:p>
          <a:endParaRPr lang="en-US"/>
        </a:p>
      </dgm:t>
    </dgm:pt>
    <dgm:pt modelId="{B1B3056A-0184-4D41-96F5-6E8ACA8AE08C}" type="sibTrans" cxnId="{710773A7-479F-4A3D-A091-BC8DF2D37EAF}">
      <dgm:prSet/>
      <dgm:spPr/>
      <dgm:t>
        <a:bodyPr/>
        <a:lstStyle/>
        <a:p>
          <a:endParaRPr lang="en-US"/>
        </a:p>
      </dgm:t>
    </dgm:pt>
    <dgm:pt modelId="{2091B232-B6C7-433D-B2B4-4E978AB2DCCA}">
      <dgm:prSet phldrT="[Text]"/>
      <dgm:spPr>
        <a:ln>
          <a:solidFill>
            <a:schemeClr val="tx1"/>
          </a:solidFill>
        </a:ln>
      </dgm:spPr>
      <dgm:t>
        <a:bodyPr/>
        <a:lstStyle/>
        <a:p>
          <a:r>
            <a:rPr lang="en-US"/>
            <a:t>Cut/Fill</a:t>
          </a:r>
        </a:p>
      </dgm:t>
    </dgm:pt>
    <dgm:pt modelId="{4FC2CC71-AE51-4447-9D70-CA1FAF7B858F}" type="parTrans" cxnId="{D36A766E-2ECD-428D-8985-810C4F22DA93}">
      <dgm:prSet/>
      <dgm:spPr/>
      <dgm:t>
        <a:bodyPr/>
        <a:lstStyle/>
        <a:p>
          <a:endParaRPr lang="en-US"/>
        </a:p>
      </dgm:t>
    </dgm:pt>
    <dgm:pt modelId="{81132C9A-B22B-4B20-9D33-20E99E62C1F3}" type="sibTrans" cxnId="{D36A766E-2ECD-428D-8985-810C4F22DA93}">
      <dgm:prSet/>
      <dgm:spPr/>
      <dgm:t>
        <a:bodyPr/>
        <a:lstStyle/>
        <a:p>
          <a:endParaRPr lang="en-US"/>
        </a:p>
      </dgm:t>
    </dgm:pt>
    <dgm:pt modelId="{80A17AD2-FC91-4C33-A4EF-B004CEBFF10E}">
      <dgm:prSet phldrT="[Text]"/>
      <dgm:spPr/>
      <dgm:t>
        <a:bodyPr/>
        <a:lstStyle/>
        <a:p>
          <a:r>
            <a:rPr lang="en-US"/>
            <a:t>Tunnel</a:t>
          </a:r>
        </a:p>
      </dgm:t>
    </dgm:pt>
    <dgm:pt modelId="{7C2F1E6D-7874-4CA1-8A6D-2113D7DFED85}" type="parTrans" cxnId="{73A1616E-5575-40F2-B2CD-B10D1477D952}">
      <dgm:prSet/>
      <dgm:spPr/>
      <dgm:t>
        <a:bodyPr/>
        <a:lstStyle/>
        <a:p>
          <a:endParaRPr lang="en-US"/>
        </a:p>
      </dgm:t>
    </dgm:pt>
    <dgm:pt modelId="{AD663331-291C-438C-A724-B3153B7671F2}" type="sibTrans" cxnId="{73A1616E-5575-40F2-B2CD-B10D1477D952}">
      <dgm:prSet/>
      <dgm:spPr/>
      <dgm:t>
        <a:bodyPr/>
        <a:lstStyle/>
        <a:p>
          <a:endParaRPr lang="en-US"/>
        </a:p>
      </dgm:t>
    </dgm:pt>
    <dgm:pt modelId="{D591F246-93B9-4D8F-87FE-86F2B1727377}">
      <dgm:prSet phldrT="[Text]"/>
      <dgm:spPr/>
      <dgm:t>
        <a:bodyPr/>
        <a:lstStyle/>
        <a:p>
          <a:r>
            <a:rPr lang="en-US"/>
            <a:t>Bridges</a:t>
          </a:r>
        </a:p>
      </dgm:t>
    </dgm:pt>
    <dgm:pt modelId="{0DD990FE-D5EE-4E7B-93DA-DDF386E424DA}" type="parTrans" cxnId="{5C94ECDE-905E-417C-9A09-71E172B500D0}">
      <dgm:prSet/>
      <dgm:spPr/>
      <dgm:t>
        <a:bodyPr/>
        <a:lstStyle/>
        <a:p>
          <a:endParaRPr lang="en-US"/>
        </a:p>
      </dgm:t>
    </dgm:pt>
    <dgm:pt modelId="{3A3A8450-7844-4728-82AC-A417C2A2CFA5}" type="sibTrans" cxnId="{5C94ECDE-905E-417C-9A09-71E172B500D0}">
      <dgm:prSet/>
      <dgm:spPr/>
      <dgm:t>
        <a:bodyPr/>
        <a:lstStyle/>
        <a:p>
          <a:endParaRPr lang="en-US"/>
        </a:p>
      </dgm:t>
    </dgm:pt>
    <dgm:pt modelId="{4C04E41B-4859-4C92-9E44-F55CA345F781}">
      <dgm:prSet phldrT="[Text]"/>
      <dgm:spPr/>
      <dgm:t>
        <a:bodyPr/>
        <a:lstStyle/>
        <a:p>
          <a:r>
            <a:rPr lang="en-US"/>
            <a:t>Dirt Ditches</a:t>
          </a:r>
        </a:p>
      </dgm:t>
    </dgm:pt>
    <dgm:pt modelId="{866EC1D0-1F2A-4DB7-9391-4FD0EA353457}" type="parTrans" cxnId="{48053549-5BF8-44A8-9E5B-6C61F8E8DA97}">
      <dgm:prSet/>
      <dgm:spPr/>
      <dgm:t>
        <a:bodyPr/>
        <a:lstStyle/>
        <a:p>
          <a:endParaRPr lang="en-US"/>
        </a:p>
      </dgm:t>
    </dgm:pt>
    <dgm:pt modelId="{865DB43C-6BFB-404A-9834-DB547BFD9907}" type="sibTrans" cxnId="{48053549-5BF8-44A8-9E5B-6C61F8E8DA97}">
      <dgm:prSet/>
      <dgm:spPr/>
      <dgm:t>
        <a:bodyPr/>
        <a:lstStyle/>
        <a:p>
          <a:endParaRPr lang="en-US"/>
        </a:p>
      </dgm:t>
    </dgm:pt>
    <dgm:pt modelId="{43D585D2-6C82-4363-BCDA-DFCC02902663}" type="pres">
      <dgm:prSet presAssocID="{6F68A551-7E43-408A-B317-B66459EA04D9}" presName="theList" presStyleCnt="0">
        <dgm:presLayoutVars>
          <dgm:dir/>
          <dgm:animLvl val="lvl"/>
          <dgm:resizeHandles val="exact"/>
        </dgm:presLayoutVars>
      </dgm:prSet>
      <dgm:spPr/>
      <dgm:t>
        <a:bodyPr/>
        <a:lstStyle/>
        <a:p>
          <a:endParaRPr lang="en-US"/>
        </a:p>
      </dgm:t>
    </dgm:pt>
    <dgm:pt modelId="{DA4596DF-D8BE-423D-813B-7824A83D1BCB}" type="pres">
      <dgm:prSet presAssocID="{3F3F95B3-9EEB-48B0-9B79-C84406B165FC}" presName="compNode" presStyleCnt="0"/>
      <dgm:spPr/>
    </dgm:pt>
    <dgm:pt modelId="{E21927D5-F02B-4844-9621-B0478F4BCF2C}" type="pres">
      <dgm:prSet presAssocID="{3F3F95B3-9EEB-48B0-9B79-C84406B165FC}" presName="aNode" presStyleLbl="bgShp" presStyleIdx="0" presStyleCnt="6"/>
      <dgm:spPr/>
      <dgm:t>
        <a:bodyPr/>
        <a:lstStyle/>
        <a:p>
          <a:endParaRPr lang="en-US"/>
        </a:p>
      </dgm:t>
    </dgm:pt>
    <dgm:pt modelId="{0D9C5248-FBD6-4F92-9B4D-7ED7126C0711}" type="pres">
      <dgm:prSet presAssocID="{3F3F95B3-9EEB-48B0-9B79-C84406B165FC}" presName="textNode" presStyleLbl="bgShp" presStyleIdx="0" presStyleCnt="6"/>
      <dgm:spPr/>
      <dgm:t>
        <a:bodyPr/>
        <a:lstStyle/>
        <a:p>
          <a:endParaRPr lang="en-US"/>
        </a:p>
      </dgm:t>
    </dgm:pt>
    <dgm:pt modelId="{19051F54-4F8A-4005-B1A1-FB6866804164}" type="pres">
      <dgm:prSet presAssocID="{3F3F95B3-9EEB-48B0-9B79-C84406B165FC}" presName="compChildNode" presStyleCnt="0"/>
      <dgm:spPr/>
    </dgm:pt>
    <dgm:pt modelId="{86A75FB6-DB0B-418A-99BA-65F2976406AE}" type="pres">
      <dgm:prSet presAssocID="{3F3F95B3-9EEB-48B0-9B79-C84406B165FC}" presName="theInnerList" presStyleCnt="0"/>
      <dgm:spPr/>
    </dgm:pt>
    <dgm:pt modelId="{A070C372-D71C-4118-8D32-13162195B101}" type="pres">
      <dgm:prSet presAssocID="{4CE9E562-3FE6-407F-8CE1-30BC68127994}" presName="childNode" presStyleLbl="node1" presStyleIdx="0" presStyleCnt="24">
        <dgm:presLayoutVars>
          <dgm:bulletEnabled val="1"/>
        </dgm:presLayoutVars>
      </dgm:prSet>
      <dgm:spPr/>
      <dgm:t>
        <a:bodyPr/>
        <a:lstStyle/>
        <a:p>
          <a:endParaRPr lang="en-US"/>
        </a:p>
      </dgm:t>
    </dgm:pt>
    <dgm:pt modelId="{47D02F9D-BAA1-4847-A2F1-F976E09F2A30}" type="pres">
      <dgm:prSet presAssocID="{4CE9E562-3FE6-407F-8CE1-30BC68127994}" presName="aSpace2" presStyleCnt="0"/>
      <dgm:spPr/>
    </dgm:pt>
    <dgm:pt modelId="{AC9B6F4F-3EC9-4F4E-82A4-0329E1F5E70D}" type="pres">
      <dgm:prSet presAssocID="{CD65D893-C799-4D92-8E45-5805D2381044}" presName="childNode" presStyleLbl="node1" presStyleIdx="1" presStyleCnt="24">
        <dgm:presLayoutVars>
          <dgm:bulletEnabled val="1"/>
        </dgm:presLayoutVars>
      </dgm:prSet>
      <dgm:spPr/>
      <dgm:t>
        <a:bodyPr/>
        <a:lstStyle/>
        <a:p>
          <a:endParaRPr lang="en-US"/>
        </a:p>
      </dgm:t>
    </dgm:pt>
    <dgm:pt modelId="{C30562A0-7CD3-420D-997A-C5D3337BEABE}" type="pres">
      <dgm:prSet presAssocID="{CD65D893-C799-4D92-8E45-5805D2381044}" presName="aSpace2" presStyleCnt="0"/>
      <dgm:spPr/>
    </dgm:pt>
    <dgm:pt modelId="{5FD6DD67-E24F-4457-B49E-347826010128}" type="pres">
      <dgm:prSet presAssocID="{A0F4D169-DCC9-4023-B0DD-7E525E81FE53}" presName="childNode" presStyleLbl="node1" presStyleIdx="2" presStyleCnt="24">
        <dgm:presLayoutVars>
          <dgm:bulletEnabled val="1"/>
        </dgm:presLayoutVars>
      </dgm:prSet>
      <dgm:spPr/>
      <dgm:t>
        <a:bodyPr/>
        <a:lstStyle/>
        <a:p>
          <a:endParaRPr lang="en-US"/>
        </a:p>
      </dgm:t>
    </dgm:pt>
    <dgm:pt modelId="{93F6643E-A31C-4E8E-8B17-721999F4633F}" type="pres">
      <dgm:prSet presAssocID="{A0F4D169-DCC9-4023-B0DD-7E525E81FE53}" presName="aSpace2" presStyleCnt="0"/>
      <dgm:spPr/>
    </dgm:pt>
    <dgm:pt modelId="{85C2EDD8-0680-444F-8C4B-5EB0800B58D0}" type="pres">
      <dgm:prSet presAssocID="{6AC65BD5-34BA-4139-87EB-D1B5B27C765C}" presName="childNode" presStyleLbl="node1" presStyleIdx="3" presStyleCnt="24">
        <dgm:presLayoutVars>
          <dgm:bulletEnabled val="1"/>
        </dgm:presLayoutVars>
      </dgm:prSet>
      <dgm:spPr/>
      <dgm:t>
        <a:bodyPr/>
        <a:lstStyle/>
        <a:p>
          <a:endParaRPr lang="en-US"/>
        </a:p>
      </dgm:t>
    </dgm:pt>
    <dgm:pt modelId="{A1A0A228-74E8-4CB7-BEF6-055FE05A6FE5}" type="pres">
      <dgm:prSet presAssocID="{3F3F95B3-9EEB-48B0-9B79-C84406B165FC}" presName="aSpace" presStyleCnt="0"/>
      <dgm:spPr/>
    </dgm:pt>
    <dgm:pt modelId="{91C47460-A3A4-4DF0-988B-968E8F996277}" type="pres">
      <dgm:prSet presAssocID="{D9F5310C-4511-455F-92A9-00BA44C19991}" presName="compNode" presStyleCnt="0"/>
      <dgm:spPr/>
    </dgm:pt>
    <dgm:pt modelId="{97297838-C0CA-485A-B6CF-1FF34FB7A7DE}" type="pres">
      <dgm:prSet presAssocID="{D9F5310C-4511-455F-92A9-00BA44C19991}" presName="aNode" presStyleLbl="bgShp" presStyleIdx="1" presStyleCnt="6"/>
      <dgm:spPr/>
      <dgm:t>
        <a:bodyPr/>
        <a:lstStyle/>
        <a:p>
          <a:endParaRPr lang="en-US"/>
        </a:p>
      </dgm:t>
    </dgm:pt>
    <dgm:pt modelId="{BD2C6F9C-E1AA-4BE6-B594-FB4625025307}" type="pres">
      <dgm:prSet presAssocID="{D9F5310C-4511-455F-92A9-00BA44C19991}" presName="textNode" presStyleLbl="bgShp" presStyleIdx="1" presStyleCnt="6"/>
      <dgm:spPr/>
      <dgm:t>
        <a:bodyPr/>
        <a:lstStyle/>
        <a:p>
          <a:endParaRPr lang="en-US"/>
        </a:p>
      </dgm:t>
    </dgm:pt>
    <dgm:pt modelId="{2BF4BF86-E1A5-4F6F-B0D7-8DFBB249F0D5}" type="pres">
      <dgm:prSet presAssocID="{D9F5310C-4511-455F-92A9-00BA44C19991}" presName="compChildNode" presStyleCnt="0"/>
      <dgm:spPr/>
    </dgm:pt>
    <dgm:pt modelId="{86818B64-3968-456D-8389-53E03C773EC3}" type="pres">
      <dgm:prSet presAssocID="{D9F5310C-4511-455F-92A9-00BA44C19991}" presName="theInnerList" presStyleCnt="0"/>
      <dgm:spPr/>
    </dgm:pt>
    <dgm:pt modelId="{8E3CB9C1-7234-44BF-85E3-0C7186BC5303}" type="pres">
      <dgm:prSet presAssocID="{6ECD7908-6F5B-4AB4-B281-C507AFBD4C3E}" presName="childNode" presStyleLbl="node1" presStyleIdx="4" presStyleCnt="24">
        <dgm:presLayoutVars>
          <dgm:bulletEnabled val="1"/>
        </dgm:presLayoutVars>
      </dgm:prSet>
      <dgm:spPr/>
      <dgm:t>
        <a:bodyPr/>
        <a:lstStyle/>
        <a:p>
          <a:endParaRPr lang="en-US"/>
        </a:p>
      </dgm:t>
    </dgm:pt>
    <dgm:pt modelId="{92555FAE-6DDE-4333-9745-03AECC077982}" type="pres">
      <dgm:prSet presAssocID="{6ECD7908-6F5B-4AB4-B281-C507AFBD4C3E}" presName="aSpace2" presStyleCnt="0"/>
      <dgm:spPr/>
    </dgm:pt>
    <dgm:pt modelId="{AEFF2EB4-1716-4172-98E4-A8FF49650DE4}" type="pres">
      <dgm:prSet presAssocID="{275EEAF1-577E-4BCD-AAEF-014FB2B06FA3}" presName="childNode" presStyleLbl="node1" presStyleIdx="5" presStyleCnt="24">
        <dgm:presLayoutVars>
          <dgm:bulletEnabled val="1"/>
        </dgm:presLayoutVars>
      </dgm:prSet>
      <dgm:spPr/>
      <dgm:t>
        <a:bodyPr/>
        <a:lstStyle/>
        <a:p>
          <a:endParaRPr lang="en-US"/>
        </a:p>
      </dgm:t>
    </dgm:pt>
    <dgm:pt modelId="{967BF759-E4BB-4A50-B7BE-B0789FEFCE6C}" type="pres">
      <dgm:prSet presAssocID="{275EEAF1-577E-4BCD-AAEF-014FB2B06FA3}" presName="aSpace2" presStyleCnt="0"/>
      <dgm:spPr/>
    </dgm:pt>
    <dgm:pt modelId="{D0B2A5DD-568C-447C-AA05-0E291FF18176}" type="pres">
      <dgm:prSet presAssocID="{933B4235-B9EE-4E5D-8761-341F2E948354}" presName="childNode" presStyleLbl="node1" presStyleIdx="6" presStyleCnt="24">
        <dgm:presLayoutVars>
          <dgm:bulletEnabled val="1"/>
        </dgm:presLayoutVars>
      </dgm:prSet>
      <dgm:spPr/>
      <dgm:t>
        <a:bodyPr/>
        <a:lstStyle/>
        <a:p>
          <a:endParaRPr lang="en-US"/>
        </a:p>
      </dgm:t>
    </dgm:pt>
    <dgm:pt modelId="{7DFBCEAF-F492-4926-BFB0-4E339CD938A4}" type="pres">
      <dgm:prSet presAssocID="{D9F5310C-4511-455F-92A9-00BA44C19991}" presName="aSpace" presStyleCnt="0"/>
      <dgm:spPr/>
    </dgm:pt>
    <dgm:pt modelId="{119404AA-F44A-4DEF-BE90-D88ADCD50753}" type="pres">
      <dgm:prSet presAssocID="{A630C113-DA40-478A-9754-EC83605356CA}" presName="compNode" presStyleCnt="0"/>
      <dgm:spPr/>
    </dgm:pt>
    <dgm:pt modelId="{15AB03EB-E778-43A0-A882-B8831A458131}" type="pres">
      <dgm:prSet presAssocID="{A630C113-DA40-478A-9754-EC83605356CA}" presName="aNode" presStyleLbl="bgShp" presStyleIdx="2" presStyleCnt="6"/>
      <dgm:spPr/>
      <dgm:t>
        <a:bodyPr/>
        <a:lstStyle/>
        <a:p>
          <a:endParaRPr lang="en-US"/>
        </a:p>
      </dgm:t>
    </dgm:pt>
    <dgm:pt modelId="{566B4A6F-0DF8-40B5-9053-701F979AB40B}" type="pres">
      <dgm:prSet presAssocID="{A630C113-DA40-478A-9754-EC83605356CA}" presName="textNode" presStyleLbl="bgShp" presStyleIdx="2" presStyleCnt="6"/>
      <dgm:spPr/>
      <dgm:t>
        <a:bodyPr/>
        <a:lstStyle/>
        <a:p>
          <a:endParaRPr lang="en-US"/>
        </a:p>
      </dgm:t>
    </dgm:pt>
    <dgm:pt modelId="{B2113918-29A1-4ECE-BCFC-60688B329A4C}" type="pres">
      <dgm:prSet presAssocID="{A630C113-DA40-478A-9754-EC83605356CA}" presName="compChildNode" presStyleCnt="0"/>
      <dgm:spPr/>
    </dgm:pt>
    <dgm:pt modelId="{75DE006F-A4D4-490D-B19F-71F852B82322}" type="pres">
      <dgm:prSet presAssocID="{A630C113-DA40-478A-9754-EC83605356CA}" presName="theInnerList" presStyleCnt="0"/>
      <dgm:spPr/>
    </dgm:pt>
    <dgm:pt modelId="{2FAAA25B-0D93-4A52-8FC9-ACFA10D5CFCB}" type="pres">
      <dgm:prSet presAssocID="{BBD7B213-F004-4007-B073-BA0AFB9DAE02}" presName="childNode" presStyleLbl="node1" presStyleIdx="7" presStyleCnt="24">
        <dgm:presLayoutVars>
          <dgm:bulletEnabled val="1"/>
        </dgm:presLayoutVars>
      </dgm:prSet>
      <dgm:spPr/>
      <dgm:t>
        <a:bodyPr/>
        <a:lstStyle/>
        <a:p>
          <a:endParaRPr lang="en-US"/>
        </a:p>
      </dgm:t>
    </dgm:pt>
    <dgm:pt modelId="{EB654BA6-CA80-4EA8-A374-FCE1F45CE55B}" type="pres">
      <dgm:prSet presAssocID="{BBD7B213-F004-4007-B073-BA0AFB9DAE02}" presName="aSpace2" presStyleCnt="0"/>
      <dgm:spPr/>
    </dgm:pt>
    <dgm:pt modelId="{8308B8A2-360B-42B4-980D-1F12D35A1757}" type="pres">
      <dgm:prSet presAssocID="{D591F246-93B9-4D8F-87FE-86F2B1727377}" presName="childNode" presStyleLbl="node1" presStyleIdx="8" presStyleCnt="24">
        <dgm:presLayoutVars>
          <dgm:bulletEnabled val="1"/>
        </dgm:presLayoutVars>
      </dgm:prSet>
      <dgm:spPr/>
      <dgm:t>
        <a:bodyPr/>
        <a:lstStyle/>
        <a:p>
          <a:endParaRPr lang="en-US"/>
        </a:p>
      </dgm:t>
    </dgm:pt>
    <dgm:pt modelId="{B64F9C1E-8226-452F-9901-6717B0FC7BA9}" type="pres">
      <dgm:prSet presAssocID="{D591F246-93B9-4D8F-87FE-86F2B1727377}" presName="aSpace2" presStyleCnt="0"/>
      <dgm:spPr/>
    </dgm:pt>
    <dgm:pt modelId="{D4262ECD-870B-4038-98C0-16CFE984456E}" type="pres">
      <dgm:prSet presAssocID="{2091B232-B6C7-433D-B2B4-4E978AB2DCCA}" presName="childNode" presStyleLbl="node1" presStyleIdx="9" presStyleCnt="24">
        <dgm:presLayoutVars>
          <dgm:bulletEnabled val="1"/>
        </dgm:presLayoutVars>
      </dgm:prSet>
      <dgm:spPr/>
      <dgm:t>
        <a:bodyPr/>
        <a:lstStyle/>
        <a:p>
          <a:endParaRPr lang="en-US"/>
        </a:p>
      </dgm:t>
    </dgm:pt>
    <dgm:pt modelId="{EA032796-B2FB-422A-B8DD-763F8F3E6060}" type="pres">
      <dgm:prSet presAssocID="{2091B232-B6C7-433D-B2B4-4E978AB2DCCA}" presName="aSpace2" presStyleCnt="0"/>
      <dgm:spPr/>
    </dgm:pt>
    <dgm:pt modelId="{9690F679-C2FD-4E11-8217-E1A2F5C04381}" type="pres">
      <dgm:prSet presAssocID="{80A17AD2-FC91-4C33-A4EF-B004CEBFF10E}" presName="childNode" presStyleLbl="node1" presStyleIdx="10" presStyleCnt="24">
        <dgm:presLayoutVars>
          <dgm:bulletEnabled val="1"/>
        </dgm:presLayoutVars>
      </dgm:prSet>
      <dgm:spPr/>
      <dgm:t>
        <a:bodyPr/>
        <a:lstStyle/>
        <a:p>
          <a:endParaRPr lang="en-US"/>
        </a:p>
      </dgm:t>
    </dgm:pt>
    <dgm:pt modelId="{29EFF550-6F66-4EEF-A503-9DDADEE2D3F3}" type="pres">
      <dgm:prSet presAssocID="{80A17AD2-FC91-4C33-A4EF-B004CEBFF10E}" presName="aSpace2" presStyleCnt="0"/>
      <dgm:spPr/>
    </dgm:pt>
    <dgm:pt modelId="{A99BF21F-0B27-4105-8602-501654B7681A}" type="pres">
      <dgm:prSet presAssocID="{AADA39AB-6D47-4C65-86F2-018D34AB3663}" presName="childNode" presStyleLbl="node1" presStyleIdx="11" presStyleCnt="24">
        <dgm:presLayoutVars>
          <dgm:bulletEnabled val="1"/>
        </dgm:presLayoutVars>
      </dgm:prSet>
      <dgm:spPr/>
      <dgm:t>
        <a:bodyPr/>
        <a:lstStyle/>
        <a:p>
          <a:endParaRPr lang="en-US"/>
        </a:p>
      </dgm:t>
    </dgm:pt>
    <dgm:pt modelId="{03F41838-D586-426D-BD50-BA2E5B105B37}" type="pres">
      <dgm:prSet presAssocID="{A630C113-DA40-478A-9754-EC83605356CA}" presName="aSpace" presStyleCnt="0"/>
      <dgm:spPr/>
    </dgm:pt>
    <dgm:pt modelId="{01F6A6DE-181F-4D70-BEEC-AC7A0C8BE895}" type="pres">
      <dgm:prSet presAssocID="{CADE6A3C-0098-4BAF-9975-D9A973030982}" presName="compNode" presStyleCnt="0"/>
      <dgm:spPr/>
    </dgm:pt>
    <dgm:pt modelId="{60B8E20F-7344-4AF2-B1D6-59544D77A8DE}" type="pres">
      <dgm:prSet presAssocID="{CADE6A3C-0098-4BAF-9975-D9A973030982}" presName="aNode" presStyleLbl="bgShp" presStyleIdx="3" presStyleCnt="6"/>
      <dgm:spPr/>
      <dgm:t>
        <a:bodyPr/>
        <a:lstStyle/>
        <a:p>
          <a:endParaRPr lang="en-US"/>
        </a:p>
      </dgm:t>
    </dgm:pt>
    <dgm:pt modelId="{D9FBBC44-B6BF-4305-A44F-C32CB33140F8}" type="pres">
      <dgm:prSet presAssocID="{CADE6A3C-0098-4BAF-9975-D9A973030982}" presName="textNode" presStyleLbl="bgShp" presStyleIdx="3" presStyleCnt="6"/>
      <dgm:spPr/>
      <dgm:t>
        <a:bodyPr/>
        <a:lstStyle/>
        <a:p>
          <a:endParaRPr lang="en-US"/>
        </a:p>
      </dgm:t>
    </dgm:pt>
    <dgm:pt modelId="{E376F953-F333-4F53-959A-36B704B44E7C}" type="pres">
      <dgm:prSet presAssocID="{CADE6A3C-0098-4BAF-9975-D9A973030982}" presName="compChildNode" presStyleCnt="0"/>
      <dgm:spPr/>
    </dgm:pt>
    <dgm:pt modelId="{E571A712-E2C5-4464-A228-24ACBB7A6019}" type="pres">
      <dgm:prSet presAssocID="{CADE6A3C-0098-4BAF-9975-D9A973030982}" presName="theInnerList" presStyleCnt="0"/>
      <dgm:spPr/>
    </dgm:pt>
    <dgm:pt modelId="{3AC91C35-1B87-4934-9721-F54CACF8ADBE}" type="pres">
      <dgm:prSet presAssocID="{934AD681-DBD8-45AF-AAB6-CEC2DC16A520}" presName="childNode" presStyleLbl="node1" presStyleIdx="12" presStyleCnt="24">
        <dgm:presLayoutVars>
          <dgm:bulletEnabled val="1"/>
        </dgm:presLayoutVars>
      </dgm:prSet>
      <dgm:spPr/>
      <dgm:t>
        <a:bodyPr/>
        <a:lstStyle/>
        <a:p>
          <a:endParaRPr lang="en-US"/>
        </a:p>
      </dgm:t>
    </dgm:pt>
    <dgm:pt modelId="{B5906F4E-8DF8-4C14-9677-DDA31DC6CE8B}" type="pres">
      <dgm:prSet presAssocID="{934AD681-DBD8-45AF-AAB6-CEC2DC16A520}" presName="aSpace2" presStyleCnt="0"/>
      <dgm:spPr/>
    </dgm:pt>
    <dgm:pt modelId="{9D0C2DAB-87CD-4F88-A730-CF2C2EBD252A}" type="pres">
      <dgm:prSet presAssocID="{70667BF5-46DF-4CDA-872E-A18C0587B9B9}" presName="childNode" presStyleLbl="node1" presStyleIdx="13" presStyleCnt="24">
        <dgm:presLayoutVars>
          <dgm:bulletEnabled val="1"/>
        </dgm:presLayoutVars>
      </dgm:prSet>
      <dgm:spPr/>
      <dgm:t>
        <a:bodyPr/>
        <a:lstStyle/>
        <a:p>
          <a:endParaRPr lang="en-US"/>
        </a:p>
      </dgm:t>
    </dgm:pt>
    <dgm:pt modelId="{030A893E-22EA-4A06-BC3C-83670B5C7ED3}" type="pres">
      <dgm:prSet presAssocID="{70667BF5-46DF-4CDA-872E-A18C0587B9B9}" presName="aSpace2" presStyleCnt="0"/>
      <dgm:spPr/>
    </dgm:pt>
    <dgm:pt modelId="{2AB1C415-7653-4B28-85A6-23A68AA47EC8}" type="pres">
      <dgm:prSet presAssocID="{84381DA8-F502-4601-807E-A1A09A078113}" presName="childNode" presStyleLbl="node1" presStyleIdx="14" presStyleCnt="24">
        <dgm:presLayoutVars>
          <dgm:bulletEnabled val="1"/>
        </dgm:presLayoutVars>
      </dgm:prSet>
      <dgm:spPr/>
      <dgm:t>
        <a:bodyPr/>
        <a:lstStyle/>
        <a:p>
          <a:endParaRPr lang="en-US"/>
        </a:p>
      </dgm:t>
    </dgm:pt>
    <dgm:pt modelId="{27412982-921B-4314-A0B5-BB9CDCE366EC}" type="pres">
      <dgm:prSet presAssocID="{84381DA8-F502-4601-807E-A1A09A078113}" presName="aSpace2" presStyleCnt="0"/>
      <dgm:spPr/>
    </dgm:pt>
    <dgm:pt modelId="{9BDE6CFF-BCED-47A0-8FD2-C47D1676E63D}" type="pres">
      <dgm:prSet presAssocID="{F0DD0977-C6E0-438E-83E4-3417848CA9CF}" presName="childNode" presStyleLbl="node1" presStyleIdx="15" presStyleCnt="24">
        <dgm:presLayoutVars>
          <dgm:bulletEnabled val="1"/>
        </dgm:presLayoutVars>
      </dgm:prSet>
      <dgm:spPr/>
      <dgm:t>
        <a:bodyPr/>
        <a:lstStyle/>
        <a:p>
          <a:endParaRPr lang="en-US"/>
        </a:p>
      </dgm:t>
    </dgm:pt>
    <dgm:pt modelId="{FC765D0F-4A02-4C9F-A570-B9435ACCDC72}" type="pres">
      <dgm:prSet presAssocID="{CADE6A3C-0098-4BAF-9975-D9A973030982}" presName="aSpace" presStyleCnt="0"/>
      <dgm:spPr/>
    </dgm:pt>
    <dgm:pt modelId="{0915EF29-1C24-4348-A5C2-C246ADB9BFCA}" type="pres">
      <dgm:prSet presAssocID="{B56DA29E-7137-4D44-96FE-08794490ABBD}" presName="compNode" presStyleCnt="0"/>
      <dgm:spPr/>
    </dgm:pt>
    <dgm:pt modelId="{6853EE3C-D3E3-48F5-B6B3-093C2112F3B1}" type="pres">
      <dgm:prSet presAssocID="{B56DA29E-7137-4D44-96FE-08794490ABBD}" presName="aNode" presStyleLbl="bgShp" presStyleIdx="4" presStyleCnt="6"/>
      <dgm:spPr/>
      <dgm:t>
        <a:bodyPr/>
        <a:lstStyle/>
        <a:p>
          <a:endParaRPr lang="en-US"/>
        </a:p>
      </dgm:t>
    </dgm:pt>
    <dgm:pt modelId="{43B1738A-034D-4269-A81E-CC29632C90E4}" type="pres">
      <dgm:prSet presAssocID="{B56DA29E-7137-4D44-96FE-08794490ABBD}" presName="textNode" presStyleLbl="bgShp" presStyleIdx="4" presStyleCnt="6"/>
      <dgm:spPr/>
      <dgm:t>
        <a:bodyPr/>
        <a:lstStyle/>
        <a:p>
          <a:endParaRPr lang="en-US"/>
        </a:p>
      </dgm:t>
    </dgm:pt>
    <dgm:pt modelId="{5F91ED73-3E2E-4B75-A765-8D2066C10C5B}" type="pres">
      <dgm:prSet presAssocID="{B56DA29E-7137-4D44-96FE-08794490ABBD}" presName="compChildNode" presStyleCnt="0"/>
      <dgm:spPr/>
    </dgm:pt>
    <dgm:pt modelId="{0C929385-9B7B-4BC9-9419-6CC1ECDF3AA1}" type="pres">
      <dgm:prSet presAssocID="{B56DA29E-7137-4D44-96FE-08794490ABBD}" presName="theInnerList" presStyleCnt="0"/>
      <dgm:spPr/>
    </dgm:pt>
    <dgm:pt modelId="{738794CB-3722-44FB-B7A6-E9945696A702}" type="pres">
      <dgm:prSet presAssocID="{A15EA1DA-247C-484A-80A0-DF1752D9D38F}" presName="childNode" presStyleLbl="node1" presStyleIdx="16" presStyleCnt="24">
        <dgm:presLayoutVars>
          <dgm:bulletEnabled val="1"/>
        </dgm:presLayoutVars>
      </dgm:prSet>
      <dgm:spPr/>
      <dgm:t>
        <a:bodyPr/>
        <a:lstStyle/>
        <a:p>
          <a:endParaRPr lang="en-US"/>
        </a:p>
      </dgm:t>
    </dgm:pt>
    <dgm:pt modelId="{D5E223F1-D07F-44E9-8F33-6273BC70D672}" type="pres">
      <dgm:prSet presAssocID="{A15EA1DA-247C-484A-80A0-DF1752D9D38F}" presName="aSpace2" presStyleCnt="0"/>
      <dgm:spPr/>
    </dgm:pt>
    <dgm:pt modelId="{3D039FBC-4EC4-4A0E-A82D-107839E4285E}" type="pres">
      <dgm:prSet presAssocID="{B98DA5E3-382F-4F3E-8E46-9C50722A93E2}" presName="childNode" presStyleLbl="node1" presStyleIdx="17" presStyleCnt="24">
        <dgm:presLayoutVars>
          <dgm:bulletEnabled val="1"/>
        </dgm:presLayoutVars>
      </dgm:prSet>
      <dgm:spPr/>
      <dgm:t>
        <a:bodyPr/>
        <a:lstStyle/>
        <a:p>
          <a:endParaRPr lang="en-US"/>
        </a:p>
      </dgm:t>
    </dgm:pt>
    <dgm:pt modelId="{9969BDCD-33C3-431D-B975-E2D72439DF13}" type="pres">
      <dgm:prSet presAssocID="{B98DA5E3-382F-4F3E-8E46-9C50722A93E2}" presName="aSpace2" presStyleCnt="0"/>
      <dgm:spPr/>
    </dgm:pt>
    <dgm:pt modelId="{25669231-D05C-4991-8EE8-D9FCDFD7C4C8}" type="pres">
      <dgm:prSet presAssocID="{140A6599-5910-41FC-BB64-77983132B9C9}" presName="childNode" presStyleLbl="node1" presStyleIdx="18" presStyleCnt="24">
        <dgm:presLayoutVars>
          <dgm:bulletEnabled val="1"/>
        </dgm:presLayoutVars>
      </dgm:prSet>
      <dgm:spPr/>
      <dgm:t>
        <a:bodyPr/>
        <a:lstStyle/>
        <a:p>
          <a:endParaRPr lang="en-US"/>
        </a:p>
      </dgm:t>
    </dgm:pt>
    <dgm:pt modelId="{E9B884F3-221D-4C2F-B7BE-6AABDB2BF5E4}" type="pres">
      <dgm:prSet presAssocID="{140A6599-5910-41FC-BB64-77983132B9C9}" presName="aSpace2" presStyleCnt="0"/>
      <dgm:spPr/>
    </dgm:pt>
    <dgm:pt modelId="{029E1653-CEBE-4E96-BA6A-0E860EE1350D}" type="pres">
      <dgm:prSet presAssocID="{CE43C5AD-6C07-4999-B158-D74B4201C3C2}" presName="childNode" presStyleLbl="node1" presStyleIdx="19" presStyleCnt="24">
        <dgm:presLayoutVars>
          <dgm:bulletEnabled val="1"/>
        </dgm:presLayoutVars>
      </dgm:prSet>
      <dgm:spPr/>
      <dgm:t>
        <a:bodyPr/>
        <a:lstStyle/>
        <a:p>
          <a:endParaRPr lang="en-US"/>
        </a:p>
      </dgm:t>
    </dgm:pt>
    <dgm:pt modelId="{E228FFEF-1080-4152-AD79-BACA750C1B83}" type="pres">
      <dgm:prSet presAssocID="{B56DA29E-7137-4D44-96FE-08794490ABBD}" presName="aSpace" presStyleCnt="0"/>
      <dgm:spPr/>
    </dgm:pt>
    <dgm:pt modelId="{F4C643EE-39D8-4110-842A-F74BE395EDCF}" type="pres">
      <dgm:prSet presAssocID="{FC18CE6A-449B-4A3B-9028-BBFAB655BD7A}" presName="compNode" presStyleCnt="0"/>
      <dgm:spPr/>
    </dgm:pt>
    <dgm:pt modelId="{CBB87E65-F061-4707-912A-72F61957FD4A}" type="pres">
      <dgm:prSet presAssocID="{FC18CE6A-449B-4A3B-9028-BBFAB655BD7A}" presName="aNode" presStyleLbl="bgShp" presStyleIdx="5" presStyleCnt="6"/>
      <dgm:spPr/>
      <dgm:t>
        <a:bodyPr/>
        <a:lstStyle/>
        <a:p>
          <a:endParaRPr lang="en-US"/>
        </a:p>
      </dgm:t>
    </dgm:pt>
    <dgm:pt modelId="{6C3338E6-7393-4C3C-A666-9BB8B67A91B4}" type="pres">
      <dgm:prSet presAssocID="{FC18CE6A-449B-4A3B-9028-BBFAB655BD7A}" presName="textNode" presStyleLbl="bgShp" presStyleIdx="5" presStyleCnt="6"/>
      <dgm:spPr/>
      <dgm:t>
        <a:bodyPr/>
        <a:lstStyle/>
        <a:p>
          <a:endParaRPr lang="en-US"/>
        </a:p>
      </dgm:t>
    </dgm:pt>
    <dgm:pt modelId="{79607486-27B0-4408-ABB2-0BFAF6BCEE9E}" type="pres">
      <dgm:prSet presAssocID="{FC18CE6A-449B-4A3B-9028-BBFAB655BD7A}" presName="compChildNode" presStyleCnt="0"/>
      <dgm:spPr/>
    </dgm:pt>
    <dgm:pt modelId="{00CB8B6B-B467-4367-ABC6-326BCA9BC433}" type="pres">
      <dgm:prSet presAssocID="{FC18CE6A-449B-4A3B-9028-BBFAB655BD7A}" presName="theInnerList" presStyleCnt="0"/>
      <dgm:spPr/>
    </dgm:pt>
    <dgm:pt modelId="{D8ED6FB3-0123-4966-8309-EFC9A2436FC0}" type="pres">
      <dgm:prSet presAssocID="{B4B241C2-B24F-44D0-BFE0-497648340376}" presName="childNode" presStyleLbl="node1" presStyleIdx="20" presStyleCnt="24">
        <dgm:presLayoutVars>
          <dgm:bulletEnabled val="1"/>
        </dgm:presLayoutVars>
      </dgm:prSet>
      <dgm:spPr/>
      <dgm:t>
        <a:bodyPr/>
        <a:lstStyle/>
        <a:p>
          <a:endParaRPr lang="en-US"/>
        </a:p>
      </dgm:t>
    </dgm:pt>
    <dgm:pt modelId="{4EE4E620-25E7-4D42-A1EF-391F3FF9B949}" type="pres">
      <dgm:prSet presAssocID="{B4B241C2-B24F-44D0-BFE0-497648340376}" presName="aSpace2" presStyleCnt="0"/>
      <dgm:spPr/>
    </dgm:pt>
    <dgm:pt modelId="{CDFAFB64-7D40-408D-9CC8-69585DD9A80F}" type="pres">
      <dgm:prSet presAssocID="{C53A8E8F-3008-45AC-BDC4-77C74BEA6B69}" presName="childNode" presStyleLbl="node1" presStyleIdx="21" presStyleCnt="24">
        <dgm:presLayoutVars>
          <dgm:bulletEnabled val="1"/>
        </dgm:presLayoutVars>
      </dgm:prSet>
      <dgm:spPr/>
      <dgm:t>
        <a:bodyPr/>
        <a:lstStyle/>
        <a:p>
          <a:endParaRPr lang="en-US"/>
        </a:p>
      </dgm:t>
    </dgm:pt>
    <dgm:pt modelId="{2C66DC57-9113-40A0-BCD5-67172C2F561B}" type="pres">
      <dgm:prSet presAssocID="{C53A8E8F-3008-45AC-BDC4-77C74BEA6B69}" presName="aSpace2" presStyleCnt="0"/>
      <dgm:spPr/>
    </dgm:pt>
    <dgm:pt modelId="{FE893478-46A1-4231-B4A5-708A83815B59}" type="pres">
      <dgm:prSet presAssocID="{4C04E41B-4859-4C92-9E44-F55CA345F781}" presName="childNode" presStyleLbl="node1" presStyleIdx="22" presStyleCnt="24">
        <dgm:presLayoutVars>
          <dgm:bulletEnabled val="1"/>
        </dgm:presLayoutVars>
      </dgm:prSet>
      <dgm:spPr/>
      <dgm:t>
        <a:bodyPr/>
        <a:lstStyle/>
        <a:p>
          <a:endParaRPr lang="en-US"/>
        </a:p>
      </dgm:t>
    </dgm:pt>
    <dgm:pt modelId="{1C05EB73-92FC-4760-B26E-4FFBF659FD8C}" type="pres">
      <dgm:prSet presAssocID="{4C04E41B-4859-4C92-9E44-F55CA345F781}" presName="aSpace2" presStyleCnt="0"/>
      <dgm:spPr/>
    </dgm:pt>
    <dgm:pt modelId="{0F350BF3-0FEE-4898-BF66-B591B2AF765C}" type="pres">
      <dgm:prSet presAssocID="{56840AF8-A4B2-4180-A974-7136CEC3457D}" presName="childNode" presStyleLbl="node1" presStyleIdx="23" presStyleCnt="24">
        <dgm:presLayoutVars>
          <dgm:bulletEnabled val="1"/>
        </dgm:presLayoutVars>
      </dgm:prSet>
      <dgm:spPr/>
      <dgm:t>
        <a:bodyPr/>
        <a:lstStyle/>
        <a:p>
          <a:endParaRPr lang="en-US"/>
        </a:p>
      </dgm:t>
    </dgm:pt>
  </dgm:ptLst>
  <dgm:cxnLst>
    <dgm:cxn modelId="{C4D096CF-FBCC-4CAC-8228-4332B63E2D90}" srcId="{CADE6A3C-0098-4BAF-9975-D9A973030982}" destId="{F0DD0977-C6E0-438E-83E4-3417848CA9CF}" srcOrd="3" destOrd="0" parTransId="{7CA1D974-4397-4C4C-9CF0-BAC1B5C06B3F}" sibTransId="{A40B7C63-8871-4EA5-9A4B-53D9029E80D2}"/>
    <dgm:cxn modelId="{B5312202-019E-46A2-A991-C0093BB16ACC}" type="presOf" srcId="{4C04E41B-4859-4C92-9E44-F55CA345F781}" destId="{FE893478-46A1-4231-B4A5-708A83815B59}" srcOrd="0" destOrd="0" presId="urn:microsoft.com/office/officeart/2005/8/layout/lProcess2"/>
    <dgm:cxn modelId="{A2F00640-953A-4E0C-83AE-B43595C6F240}" type="presOf" srcId="{A630C113-DA40-478A-9754-EC83605356CA}" destId="{15AB03EB-E778-43A0-A882-B8831A458131}" srcOrd="0" destOrd="0" presId="urn:microsoft.com/office/officeart/2005/8/layout/lProcess2"/>
    <dgm:cxn modelId="{1E9EC789-F19C-4D1F-A30F-0A8018EDA7E1}" srcId="{B56DA29E-7137-4D44-96FE-08794490ABBD}" destId="{B98DA5E3-382F-4F3E-8E46-9C50722A93E2}" srcOrd="1" destOrd="0" parTransId="{A3BF2493-ABA4-4E97-87F6-A66A026BFBF0}" sibTransId="{4767942D-930C-46A2-9D7D-31E304BA2FE5}"/>
    <dgm:cxn modelId="{509BA472-BFEE-4ABB-AAE4-3154BA36FB94}" srcId="{B56DA29E-7137-4D44-96FE-08794490ABBD}" destId="{CE43C5AD-6C07-4999-B158-D74B4201C3C2}" srcOrd="3" destOrd="0" parTransId="{492BEB85-7847-46F4-BAD2-B2821454D6FD}" sibTransId="{6385CAAC-B73E-4850-819A-D1C807CAB220}"/>
    <dgm:cxn modelId="{421E1D73-848C-47BE-ACA6-B45129E0359D}" type="presOf" srcId="{80A17AD2-FC91-4C33-A4EF-B004CEBFF10E}" destId="{9690F679-C2FD-4E11-8217-E1A2F5C04381}" srcOrd="0" destOrd="0" presId="urn:microsoft.com/office/officeart/2005/8/layout/lProcess2"/>
    <dgm:cxn modelId="{76FBD977-E5E4-4EB0-B69D-E56267013FC0}" type="presOf" srcId="{B56DA29E-7137-4D44-96FE-08794490ABBD}" destId="{43B1738A-034D-4269-A81E-CC29632C90E4}" srcOrd="1" destOrd="0" presId="urn:microsoft.com/office/officeart/2005/8/layout/lProcess2"/>
    <dgm:cxn modelId="{ECEE881C-A7CB-4642-AE3A-875527BC5F11}" type="presOf" srcId="{B4B241C2-B24F-44D0-BFE0-497648340376}" destId="{D8ED6FB3-0123-4966-8309-EFC9A2436FC0}" srcOrd="0" destOrd="0" presId="urn:microsoft.com/office/officeart/2005/8/layout/lProcess2"/>
    <dgm:cxn modelId="{CCF1F90C-392E-45B0-A862-178F82A2AA61}" type="presOf" srcId="{CD65D893-C799-4D92-8E45-5805D2381044}" destId="{AC9B6F4F-3EC9-4F4E-82A4-0329E1F5E70D}" srcOrd="0" destOrd="0" presId="urn:microsoft.com/office/officeart/2005/8/layout/lProcess2"/>
    <dgm:cxn modelId="{19CBD13B-350D-4347-A02F-4627BF8009D0}" type="presOf" srcId="{933B4235-B9EE-4E5D-8761-341F2E948354}" destId="{D0B2A5DD-568C-447C-AA05-0E291FF18176}" srcOrd="0" destOrd="0" presId="urn:microsoft.com/office/officeart/2005/8/layout/lProcess2"/>
    <dgm:cxn modelId="{53BA3C5B-0019-403F-BC20-B04A62A436CF}" srcId="{A630C113-DA40-478A-9754-EC83605356CA}" destId="{BBD7B213-F004-4007-B073-BA0AFB9DAE02}" srcOrd="0" destOrd="0" parTransId="{B626C08D-5656-409A-8635-7025CD88A70C}" sibTransId="{6A03D9BE-7993-4DE8-921D-10A623A540EB}"/>
    <dgm:cxn modelId="{ACBDADB9-38BD-4F86-A4C4-37B9B5E145F9}" type="presOf" srcId="{A0F4D169-DCC9-4023-B0DD-7E525E81FE53}" destId="{5FD6DD67-E24F-4457-B49E-347826010128}" srcOrd="0" destOrd="0" presId="urn:microsoft.com/office/officeart/2005/8/layout/lProcess2"/>
    <dgm:cxn modelId="{9B53C00B-DA66-4A4A-9BBB-0FD96B54F661}" type="presOf" srcId="{6AC65BD5-34BA-4139-87EB-D1B5B27C765C}" destId="{85C2EDD8-0680-444F-8C4B-5EB0800B58D0}" srcOrd="0" destOrd="0" presId="urn:microsoft.com/office/officeart/2005/8/layout/lProcess2"/>
    <dgm:cxn modelId="{73A1616E-5575-40F2-B2CD-B10D1477D952}" srcId="{A630C113-DA40-478A-9754-EC83605356CA}" destId="{80A17AD2-FC91-4C33-A4EF-B004CEBFF10E}" srcOrd="3" destOrd="0" parTransId="{7C2F1E6D-7874-4CA1-8A6D-2113D7DFED85}" sibTransId="{AD663331-291C-438C-A724-B3153B7671F2}"/>
    <dgm:cxn modelId="{2D0B409B-CC6B-4BA3-8650-88CF1D559DED}" type="presOf" srcId="{A630C113-DA40-478A-9754-EC83605356CA}" destId="{566B4A6F-0DF8-40B5-9053-701F979AB40B}" srcOrd="1" destOrd="0" presId="urn:microsoft.com/office/officeart/2005/8/layout/lProcess2"/>
    <dgm:cxn modelId="{A40C4507-1C24-4CA9-B6F4-A4D286D29B78}" type="presOf" srcId="{3F3F95B3-9EEB-48B0-9B79-C84406B165FC}" destId="{E21927D5-F02B-4844-9621-B0478F4BCF2C}" srcOrd="0" destOrd="0" presId="urn:microsoft.com/office/officeart/2005/8/layout/lProcess2"/>
    <dgm:cxn modelId="{C6DCD7E2-E675-4CFB-B638-E3BB5F18AEC9}" type="presOf" srcId="{2091B232-B6C7-433D-B2B4-4E978AB2DCCA}" destId="{D4262ECD-870B-4038-98C0-16CFE984456E}" srcOrd="0" destOrd="0" presId="urn:microsoft.com/office/officeart/2005/8/layout/lProcess2"/>
    <dgm:cxn modelId="{BC533F8C-0988-4FEA-ADB1-ECE2A3C6DDBC}" type="presOf" srcId="{FC18CE6A-449B-4A3B-9028-BBFAB655BD7A}" destId="{CBB87E65-F061-4707-912A-72F61957FD4A}" srcOrd="0" destOrd="0" presId="urn:microsoft.com/office/officeart/2005/8/layout/lProcess2"/>
    <dgm:cxn modelId="{6C0D6F73-4558-428B-9AA1-C9D2C406B0B5}" type="presOf" srcId="{FC18CE6A-449B-4A3B-9028-BBFAB655BD7A}" destId="{6C3338E6-7393-4C3C-A666-9BB8B67A91B4}" srcOrd="1" destOrd="0" presId="urn:microsoft.com/office/officeart/2005/8/layout/lProcess2"/>
    <dgm:cxn modelId="{710773A7-479F-4A3D-A091-BC8DF2D37EAF}" srcId="{FC18CE6A-449B-4A3B-9028-BBFAB655BD7A}" destId="{56840AF8-A4B2-4180-A974-7136CEC3457D}" srcOrd="3" destOrd="0" parTransId="{F75D8F29-9692-4A3D-9F80-9815377B3086}" sibTransId="{B1B3056A-0184-4D41-96F5-6E8ACA8AE08C}"/>
    <dgm:cxn modelId="{E59046BE-A13D-42ED-92D8-43415434AADD}" type="presOf" srcId="{4CE9E562-3FE6-407F-8CE1-30BC68127994}" destId="{A070C372-D71C-4118-8D32-13162195B101}" srcOrd="0" destOrd="0" presId="urn:microsoft.com/office/officeart/2005/8/layout/lProcess2"/>
    <dgm:cxn modelId="{5DD18734-8500-4626-9B49-D54419A58556}" type="presOf" srcId="{B56DA29E-7137-4D44-96FE-08794490ABBD}" destId="{6853EE3C-D3E3-48F5-B6B3-093C2112F3B1}" srcOrd="0" destOrd="0" presId="urn:microsoft.com/office/officeart/2005/8/layout/lProcess2"/>
    <dgm:cxn modelId="{71432C69-62CE-4A90-B5A4-780DECB4A97B}" srcId="{6F68A551-7E43-408A-B317-B66459EA04D9}" destId="{3F3F95B3-9EEB-48B0-9B79-C84406B165FC}" srcOrd="0" destOrd="0" parTransId="{2E4DE36E-D491-49AA-8DB8-57902F107C9F}" sibTransId="{754B3D68-21A5-456C-8C02-DC8D25C45CDD}"/>
    <dgm:cxn modelId="{1B72324C-C791-48FB-BAF7-567A6928AC9A}" type="presOf" srcId="{84381DA8-F502-4601-807E-A1A09A078113}" destId="{2AB1C415-7653-4B28-85A6-23A68AA47EC8}" srcOrd="0" destOrd="0" presId="urn:microsoft.com/office/officeart/2005/8/layout/lProcess2"/>
    <dgm:cxn modelId="{715C433B-85B1-4115-812D-73F2B3F59399}" srcId="{3F3F95B3-9EEB-48B0-9B79-C84406B165FC}" destId="{A0F4D169-DCC9-4023-B0DD-7E525E81FE53}" srcOrd="2" destOrd="0" parTransId="{1FEB3BA0-08EC-48E5-A99D-0D41A10D1777}" sibTransId="{7B235FFC-0721-47CD-AC9C-ACAFB6E6B4F9}"/>
    <dgm:cxn modelId="{5FC3245D-9CF5-477A-B20A-AFB900C2C2FB}" srcId="{FC18CE6A-449B-4A3B-9028-BBFAB655BD7A}" destId="{B4B241C2-B24F-44D0-BFE0-497648340376}" srcOrd="0" destOrd="0" parTransId="{222A7C1B-A9D3-423B-9CFF-B1DA15EF6498}" sibTransId="{0A48D954-19FC-4028-B6B4-848C6909EE25}"/>
    <dgm:cxn modelId="{D505EBF9-7B8A-41F7-86D7-3C863E2EDA71}" srcId="{A630C113-DA40-478A-9754-EC83605356CA}" destId="{AADA39AB-6D47-4C65-86F2-018D34AB3663}" srcOrd="4" destOrd="0" parTransId="{7E7949C2-71AB-4E16-858B-90F5FBC24EB3}" sibTransId="{CC205FCF-9D14-465D-8899-5A14C941DD7F}"/>
    <dgm:cxn modelId="{EE20C4FA-71D1-4287-ABCE-7AE2F8BA9BD7}" type="presOf" srcId="{C53A8E8F-3008-45AC-BDC4-77C74BEA6B69}" destId="{CDFAFB64-7D40-408D-9CC8-69585DD9A80F}" srcOrd="0" destOrd="0" presId="urn:microsoft.com/office/officeart/2005/8/layout/lProcess2"/>
    <dgm:cxn modelId="{4B49E162-070D-4F4A-8A6B-ED7DA52453C6}" type="presOf" srcId="{CADE6A3C-0098-4BAF-9975-D9A973030982}" destId="{D9FBBC44-B6BF-4305-A44F-C32CB33140F8}" srcOrd="1" destOrd="0" presId="urn:microsoft.com/office/officeart/2005/8/layout/lProcess2"/>
    <dgm:cxn modelId="{BC15A87E-C36B-43CA-92C8-5C41B698250A}" srcId="{FC18CE6A-449B-4A3B-9028-BBFAB655BD7A}" destId="{C53A8E8F-3008-45AC-BDC4-77C74BEA6B69}" srcOrd="1" destOrd="0" parTransId="{5CAB1F03-C6BB-4D43-AEAA-2A51B514C2E1}" sibTransId="{52BC8F2B-A096-40D4-831E-7325BECA275B}"/>
    <dgm:cxn modelId="{7527F9A1-6596-4001-9C53-6CBFF6BE8661}" type="presOf" srcId="{140A6599-5910-41FC-BB64-77983132B9C9}" destId="{25669231-D05C-4991-8EE8-D9FCDFD7C4C8}" srcOrd="0" destOrd="0" presId="urn:microsoft.com/office/officeart/2005/8/layout/lProcess2"/>
    <dgm:cxn modelId="{5C94ECDE-905E-417C-9A09-71E172B500D0}" srcId="{A630C113-DA40-478A-9754-EC83605356CA}" destId="{D591F246-93B9-4D8F-87FE-86F2B1727377}" srcOrd="1" destOrd="0" parTransId="{0DD990FE-D5EE-4E7B-93DA-DDF386E424DA}" sibTransId="{3A3A8450-7844-4728-82AC-A417C2A2CFA5}"/>
    <dgm:cxn modelId="{223C2A20-EC4D-4B74-AC8B-55643B53870B}" type="presOf" srcId="{56840AF8-A4B2-4180-A974-7136CEC3457D}" destId="{0F350BF3-0FEE-4898-BF66-B591B2AF765C}" srcOrd="0" destOrd="0" presId="urn:microsoft.com/office/officeart/2005/8/layout/lProcess2"/>
    <dgm:cxn modelId="{04B18D54-4346-4DB1-B016-1464EA028C81}" type="presOf" srcId="{6F68A551-7E43-408A-B317-B66459EA04D9}" destId="{43D585D2-6C82-4363-BCDA-DFCC02902663}" srcOrd="0" destOrd="0" presId="urn:microsoft.com/office/officeart/2005/8/layout/lProcess2"/>
    <dgm:cxn modelId="{60A040D2-F6EA-4210-A06B-47ED83FF1CA4}" type="presOf" srcId="{6ECD7908-6F5B-4AB4-B281-C507AFBD4C3E}" destId="{8E3CB9C1-7234-44BF-85E3-0C7186BC5303}" srcOrd="0" destOrd="0" presId="urn:microsoft.com/office/officeart/2005/8/layout/lProcess2"/>
    <dgm:cxn modelId="{6EE99745-4D6C-4F18-A364-8AC98992BB8D}" type="presOf" srcId="{934AD681-DBD8-45AF-AAB6-CEC2DC16A520}" destId="{3AC91C35-1B87-4934-9721-F54CACF8ADBE}" srcOrd="0" destOrd="0" presId="urn:microsoft.com/office/officeart/2005/8/layout/lProcess2"/>
    <dgm:cxn modelId="{48053549-5BF8-44A8-9E5B-6C61F8E8DA97}" srcId="{FC18CE6A-449B-4A3B-9028-BBFAB655BD7A}" destId="{4C04E41B-4859-4C92-9E44-F55CA345F781}" srcOrd="2" destOrd="0" parTransId="{866EC1D0-1F2A-4DB7-9391-4FD0EA353457}" sibTransId="{865DB43C-6BFB-404A-9834-DB547BFD9907}"/>
    <dgm:cxn modelId="{29FF8C78-0F9C-422F-8404-AF40EC660FDC}" srcId="{6F68A551-7E43-408A-B317-B66459EA04D9}" destId="{B56DA29E-7137-4D44-96FE-08794490ABBD}" srcOrd="4" destOrd="0" parTransId="{5C308700-BCA5-40CD-9848-48B6FDF0A893}" sibTransId="{B60F70D2-D5FC-467C-9E30-7E4E891A5BEF}"/>
    <dgm:cxn modelId="{99DFA347-ACD4-4E4A-A1CA-5927E4EB6A63}" srcId="{3F3F95B3-9EEB-48B0-9B79-C84406B165FC}" destId="{CD65D893-C799-4D92-8E45-5805D2381044}" srcOrd="1" destOrd="0" parTransId="{CD2B79F7-365E-42DC-9EAE-32415ECA9D10}" sibTransId="{ECA16C36-420E-498F-855F-C482CF664C8E}"/>
    <dgm:cxn modelId="{A9FD8019-2BE6-43EC-9C3B-ACFB3BF7EB46}" type="presOf" srcId="{70667BF5-46DF-4CDA-872E-A18C0587B9B9}" destId="{9D0C2DAB-87CD-4F88-A730-CF2C2EBD252A}" srcOrd="0" destOrd="0" presId="urn:microsoft.com/office/officeart/2005/8/layout/lProcess2"/>
    <dgm:cxn modelId="{D36A766E-2ECD-428D-8985-810C4F22DA93}" srcId="{A630C113-DA40-478A-9754-EC83605356CA}" destId="{2091B232-B6C7-433D-B2B4-4E978AB2DCCA}" srcOrd="2" destOrd="0" parTransId="{4FC2CC71-AE51-4447-9D70-CA1FAF7B858F}" sibTransId="{81132C9A-B22B-4B20-9D33-20E99E62C1F3}"/>
    <dgm:cxn modelId="{07A99C1C-F229-4FCE-8114-D974C903079C}" srcId="{6F68A551-7E43-408A-B317-B66459EA04D9}" destId="{CADE6A3C-0098-4BAF-9975-D9A973030982}" srcOrd="3" destOrd="0" parTransId="{2C6D08D8-77A6-4E71-8622-D93E803294E6}" sibTransId="{2F6BEC9C-D18D-431C-94A1-65F0FB6826DF}"/>
    <dgm:cxn modelId="{189F365C-500E-4E32-98D7-B2CF12F95072}" srcId="{B56DA29E-7137-4D44-96FE-08794490ABBD}" destId="{140A6599-5910-41FC-BB64-77983132B9C9}" srcOrd="2" destOrd="0" parTransId="{68F87FF9-C418-4370-9C7D-6C9DBAC1B342}" sibTransId="{0E1ABC6A-3787-4BE1-9329-B82EB2375971}"/>
    <dgm:cxn modelId="{D13B971F-8031-405F-A0BF-5D516C66E654}" type="presOf" srcId="{275EEAF1-577E-4BCD-AAEF-014FB2B06FA3}" destId="{AEFF2EB4-1716-4172-98E4-A8FF49650DE4}" srcOrd="0" destOrd="0" presId="urn:microsoft.com/office/officeart/2005/8/layout/lProcess2"/>
    <dgm:cxn modelId="{73C2E74E-2744-46A0-A3DF-52A813604B1E}" srcId="{B56DA29E-7137-4D44-96FE-08794490ABBD}" destId="{A15EA1DA-247C-484A-80A0-DF1752D9D38F}" srcOrd="0" destOrd="0" parTransId="{EF20EC1D-F171-45D0-BCBE-0130A6990045}" sibTransId="{71777BA1-5B5B-48F7-8AE9-C24CBE90250D}"/>
    <dgm:cxn modelId="{72E3D33A-0765-4CE9-845A-E2598B03FBF8}" type="presOf" srcId="{F0DD0977-C6E0-438E-83E4-3417848CA9CF}" destId="{9BDE6CFF-BCED-47A0-8FD2-C47D1676E63D}" srcOrd="0" destOrd="0" presId="urn:microsoft.com/office/officeart/2005/8/layout/lProcess2"/>
    <dgm:cxn modelId="{08CD3C0F-4673-41C1-85D8-0BDAB5102D6F}" type="presOf" srcId="{AADA39AB-6D47-4C65-86F2-018D34AB3663}" destId="{A99BF21F-0B27-4105-8602-501654B7681A}" srcOrd="0" destOrd="0" presId="urn:microsoft.com/office/officeart/2005/8/layout/lProcess2"/>
    <dgm:cxn modelId="{CF6BF33D-4C5A-4B05-8C7F-5B4CEEA8AAE3}" srcId="{CADE6A3C-0098-4BAF-9975-D9A973030982}" destId="{934AD681-DBD8-45AF-AAB6-CEC2DC16A520}" srcOrd="0" destOrd="0" parTransId="{EA86F5E3-C6A4-4E6C-AB62-210CAAF1D3EF}" sibTransId="{7FD2EBD7-5519-483C-8C33-BFC033668FDE}"/>
    <dgm:cxn modelId="{685294A0-71CA-4C81-A836-092045D0EEDF}" type="presOf" srcId="{D9F5310C-4511-455F-92A9-00BA44C19991}" destId="{BD2C6F9C-E1AA-4BE6-B594-FB4625025307}" srcOrd="1" destOrd="0" presId="urn:microsoft.com/office/officeart/2005/8/layout/lProcess2"/>
    <dgm:cxn modelId="{FD6BEDF7-1082-421B-A488-56BC16FBFAB9}" srcId="{D9F5310C-4511-455F-92A9-00BA44C19991}" destId="{6ECD7908-6F5B-4AB4-B281-C507AFBD4C3E}" srcOrd="0" destOrd="0" parTransId="{002E5A4A-5820-4F27-93AA-C5A5122CD0A1}" sibTransId="{7AAB4C61-513F-4B36-BF6A-9C61E0A72952}"/>
    <dgm:cxn modelId="{ACC8AA61-A4C3-4A7A-9253-0CD444E662B9}" type="presOf" srcId="{CE43C5AD-6C07-4999-B158-D74B4201C3C2}" destId="{029E1653-CEBE-4E96-BA6A-0E860EE1350D}" srcOrd="0" destOrd="0" presId="urn:microsoft.com/office/officeart/2005/8/layout/lProcess2"/>
    <dgm:cxn modelId="{BAD3E0E3-C01B-4610-9848-4B170CE2BB44}" srcId="{6F68A551-7E43-408A-B317-B66459EA04D9}" destId="{A630C113-DA40-478A-9754-EC83605356CA}" srcOrd="2" destOrd="0" parTransId="{E16659A8-9B51-4CF4-AA64-4920F3F5DD41}" sibTransId="{A3B7FF09-911C-49BF-98BB-E2FD6BBF744B}"/>
    <dgm:cxn modelId="{24449DF4-C9DD-405C-96CC-3BA8EDA9DB71}" srcId="{3F3F95B3-9EEB-48B0-9B79-C84406B165FC}" destId="{6AC65BD5-34BA-4139-87EB-D1B5B27C765C}" srcOrd="3" destOrd="0" parTransId="{EE6D3760-844D-49FD-8880-9B22941DD764}" sibTransId="{9E740A04-EE96-4F00-AA4A-AC69E181D0C5}"/>
    <dgm:cxn modelId="{8F29B4B6-D48D-4B6E-AE08-0A564E591E12}" type="presOf" srcId="{CADE6A3C-0098-4BAF-9975-D9A973030982}" destId="{60B8E20F-7344-4AF2-B1D6-59544D77A8DE}" srcOrd="0" destOrd="0" presId="urn:microsoft.com/office/officeart/2005/8/layout/lProcess2"/>
    <dgm:cxn modelId="{C55C3E49-43A1-4CB7-9DF6-1487AB76A42E}" srcId="{3F3F95B3-9EEB-48B0-9B79-C84406B165FC}" destId="{4CE9E562-3FE6-407F-8CE1-30BC68127994}" srcOrd="0" destOrd="0" parTransId="{D8776E7A-98C7-4564-B0E9-512B122EA563}" sibTransId="{DB85C9A5-FB34-4EC5-8913-D5342840D893}"/>
    <dgm:cxn modelId="{FA096446-4F0D-4E00-B4E5-559D7ADB71D7}" srcId="{CADE6A3C-0098-4BAF-9975-D9A973030982}" destId="{84381DA8-F502-4601-807E-A1A09A078113}" srcOrd="2" destOrd="0" parTransId="{C03E1958-F260-4EF3-8214-B8A6E6577C2D}" sibTransId="{136C6480-73F4-478D-A9EB-F2C8D05B9E95}"/>
    <dgm:cxn modelId="{26BB1296-D6DC-4F4C-A9FC-2A02BD9D5C19}" type="presOf" srcId="{D9F5310C-4511-455F-92A9-00BA44C19991}" destId="{97297838-C0CA-485A-B6CF-1FF34FB7A7DE}" srcOrd="0" destOrd="0" presId="urn:microsoft.com/office/officeart/2005/8/layout/lProcess2"/>
    <dgm:cxn modelId="{0AC191EB-EE21-4FB6-8D60-3EA3F483A5C4}" type="presOf" srcId="{A15EA1DA-247C-484A-80A0-DF1752D9D38F}" destId="{738794CB-3722-44FB-B7A6-E9945696A702}" srcOrd="0" destOrd="0" presId="urn:microsoft.com/office/officeart/2005/8/layout/lProcess2"/>
    <dgm:cxn modelId="{907DFBD3-EBD0-4AA2-BD21-8B2DB52031CE}" type="presOf" srcId="{3F3F95B3-9EEB-48B0-9B79-C84406B165FC}" destId="{0D9C5248-FBD6-4F92-9B4D-7ED7126C0711}" srcOrd="1" destOrd="0" presId="urn:microsoft.com/office/officeart/2005/8/layout/lProcess2"/>
    <dgm:cxn modelId="{45713A10-3D00-4045-9F5C-8866E4365A33}" srcId="{CADE6A3C-0098-4BAF-9975-D9A973030982}" destId="{70667BF5-46DF-4CDA-872E-A18C0587B9B9}" srcOrd="1" destOrd="0" parTransId="{E03B73EB-892A-4C98-8D22-4D66918C7C84}" sibTransId="{D6C5EF56-7D14-402A-97BE-FF86B01E26A0}"/>
    <dgm:cxn modelId="{B5A8A77C-71C5-4644-831B-A74D1B54CA83}" srcId="{D9F5310C-4511-455F-92A9-00BA44C19991}" destId="{275EEAF1-577E-4BCD-AAEF-014FB2B06FA3}" srcOrd="1" destOrd="0" parTransId="{2EDCF14C-E1BB-4208-A3F5-50A1BE82CA15}" sibTransId="{68D82382-2019-4151-857B-07961035C5BF}"/>
    <dgm:cxn modelId="{D4A3403F-B5B7-4048-B404-AD9043F74445}" srcId="{6F68A551-7E43-408A-B317-B66459EA04D9}" destId="{D9F5310C-4511-455F-92A9-00BA44C19991}" srcOrd="1" destOrd="0" parTransId="{F876E5C5-70A4-4EB4-9ACC-9655F9E43614}" sibTransId="{47F70D03-E16E-493E-818D-4523158665EF}"/>
    <dgm:cxn modelId="{67F9E18A-65F0-453F-883F-59CF097395EB}" srcId="{6F68A551-7E43-408A-B317-B66459EA04D9}" destId="{FC18CE6A-449B-4A3B-9028-BBFAB655BD7A}" srcOrd="5" destOrd="0" parTransId="{CED02176-047B-45E3-868A-F9167B277FD7}" sibTransId="{AF3F569A-192E-461F-83F5-6FF9EE1D7250}"/>
    <dgm:cxn modelId="{839398A7-7DB9-422A-B7F1-D4ADAEC34516}" type="presOf" srcId="{BBD7B213-F004-4007-B073-BA0AFB9DAE02}" destId="{2FAAA25B-0D93-4A52-8FC9-ACFA10D5CFCB}" srcOrd="0" destOrd="0" presId="urn:microsoft.com/office/officeart/2005/8/layout/lProcess2"/>
    <dgm:cxn modelId="{AEB06A8B-67AA-446C-AA08-E5CC1DE8FC24}" type="presOf" srcId="{D591F246-93B9-4D8F-87FE-86F2B1727377}" destId="{8308B8A2-360B-42B4-980D-1F12D35A1757}" srcOrd="0" destOrd="0" presId="urn:microsoft.com/office/officeart/2005/8/layout/lProcess2"/>
    <dgm:cxn modelId="{E7025D99-D8A6-4208-8898-903D06B6A9D3}" srcId="{D9F5310C-4511-455F-92A9-00BA44C19991}" destId="{933B4235-B9EE-4E5D-8761-341F2E948354}" srcOrd="2" destOrd="0" parTransId="{7EF6A037-0875-44F6-A230-69D97EB86EB2}" sibTransId="{D279A540-C18D-4BB0-8C07-E7D4F81DE624}"/>
    <dgm:cxn modelId="{04002B4D-B361-4A8E-9537-2C26715B39D2}" type="presOf" srcId="{B98DA5E3-382F-4F3E-8E46-9C50722A93E2}" destId="{3D039FBC-4EC4-4A0E-A82D-107839E4285E}" srcOrd="0" destOrd="0" presId="urn:microsoft.com/office/officeart/2005/8/layout/lProcess2"/>
    <dgm:cxn modelId="{593C80A4-5314-4136-BF00-E63DD6B703E0}" type="presParOf" srcId="{43D585D2-6C82-4363-BCDA-DFCC02902663}" destId="{DA4596DF-D8BE-423D-813B-7824A83D1BCB}" srcOrd="0" destOrd="0" presId="urn:microsoft.com/office/officeart/2005/8/layout/lProcess2"/>
    <dgm:cxn modelId="{8777B73E-5DA9-4FCE-9724-774A406442B9}" type="presParOf" srcId="{DA4596DF-D8BE-423D-813B-7824A83D1BCB}" destId="{E21927D5-F02B-4844-9621-B0478F4BCF2C}" srcOrd="0" destOrd="0" presId="urn:microsoft.com/office/officeart/2005/8/layout/lProcess2"/>
    <dgm:cxn modelId="{AE59460B-8111-4272-8C10-4F7A33EF9C31}" type="presParOf" srcId="{DA4596DF-D8BE-423D-813B-7824A83D1BCB}" destId="{0D9C5248-FBD6-4F92-9B4D-7ED7126C0711}" srcOrd="1" destOrd="0" presId="urn:microsoft.com/office/officeart/2005/8/layout/lProcess2"/>
    <dgm:cxn modelId="{B6C75421-E2B5-4197-B598-5EE0F3B9B25D}" type="presParOf" srcId="{DA4596DF-D8BE-423D-813B-7824A83D1BCB}" destId="{19051F54-4F8A-4005-B1A1-FB6866804164}" srcOrd="2" destOrd="0" presId="urn:microsoft.com/office/officeart/2005/8/layout/lProcess2"/>
    <dgm:cxn modelId="{6E0326C4-0705-48D6-AE53-38CA40F9F45B}" type="presParOf" srcId="{19051F54-4F8A-4005-B1A1-FB6866804164}" destId="{86A75FB6-DB0B-418A-99BA-65F2976406AE}" srcOrd="0" destOrd="0" presId="urn:microsoft.com/office/officeart/2005/8/layout/lProcess2"/>
    <dgm:cxn modelId="{9E91FF4D-D118-41D3-8FA6-2670B84A790F}" type="presParOf" srcId="{86A75FB6-DB0B-418A-99BA-65F2976406AE}" destId="{A070C372-D71C-4118-8D32-13162195B101}" srcOrd="0" destOrd="0" presId="urn:microsoft.com/office/officeart/2005/8/layout/lProcess2"/>
    <dgm:cxn modelId="{41DBAC8F-D8EC-4888-805A-6FEA4F8E61D9}" type="presParOf" srcId="{86A75FB6-DB0B-418A-99BA-65F2976406AE}" destId="{47D02F9D-BAA1-4847-A2F1-F976E09F2A30}" srcOrd="1" destOrd="0" presId="urn:microsoft.com/office/officeart/2005/8/layout/lProcess2"/>
    <dgm:cxn modelId="{7940221F-0E10-452D-8ECC-91A04A4A5AFA}" type="presParOf" srcId="{86A75FB6-DB0B-418A-99BA-65F2976406AE}" destId="{AC9B6F4F-3EC9-4F4E-82A4-0329E1F5E70D}" srcOrd="2" destOrd="0" presId="urn:microsoft.com/office/officeart/2005/8/layout/lProcess2"/>
    <dgm:cxn modelId="{19176D1B-C79B-47FA-903B-4A82F41BAF67}" type="presParOf" srcId="{86A75FB6-DB0B-418A-99BA-65F2976406AE}" destId="{C30562A0-7CD3-420D-997A-C5D3337BEABE}" srcOrd="3" destOrd="0" presId="urn:microsoft.com/office/officeart/2005/8/layout/lProcess2"/>
    <dgm:cxn modelId="{EC14B8C7-3B72-4C02-BD20-2DEA7C2A8813}" type="presParOf" srcId="{86A75FB6-DB0B-418A-99BA-65F2976406AE}" destId="{5FD6DD67-E24F-4457-B49E-347826010128}" srcOrd="4" destOrd="0" presId="urn:microsoft.com/office/officeart/2005/8/layout/lProcess2"/>
    <dgm:cxn modelId="{BE7159C2-E03A-45E0-A5A1-40EAD47785E3}" type="presParOf" srcId="{86A75FB6-DB0B-418A-99BA-65F2976406AE}" destId="{93F6643E-A31C-4E8E-8B17-721999F4633F}" srcOrd="5" destOrd="0" presId="urn:microsoft.com/office/officeart/2005/8/layout/lProcess2"/>
    <dgm:cxn modelId="{8B5F7050-0D0C-4AC0-A200-30BA709398DD}" type="presParOf" srcId="{86A75FB6-DB0B-418A-99BA-65F2976406AE}" destId="{85C2EDD8-0680-444F-8C4B-5EB0800B58D0}" srcOrd="6" destOrd="0" presId="urn:microsoft.com/office/officeart/2005/8/layout/lProcess2"/>
    <dgm:cxn modelId="{D48A13D2-2CD4-48E8-B5C2-4232E0EAF9B4}" type="presParOf" srcId="{43D585D2-6C82-4363-BCDA-DFCC02902663}" destId="{A1A0A228-74E8-4CB7-BEF6-055FE05A6FE5}" srcOrd="1" destOrd="0" presId="urn:microsoft.com/office/officeart/2005/8/layout/lProcess2"/>
    <dgm:cxn modelId="{8AD6EC15-AF6A-4A94-A44D-346641BC5291}" type="presParOf" srcId="{43D585D2-6C82-4363-BCDA-DFCC02902663}" destId="{91C47460-A3A4-4DF0-988B-968E8F996277}" srcOrd="2" destOrd="0" presId="urn:microsoft.com/office/officeart/2005/8/layout/lProcess2"/>
    <dgm:cxn modelId="{A5A226EF-5D29-4531-ACC7-8A6B605AB09E}" type="presParOf" srcId="{91C47460-A3A4-4DF0-988B-968E8F996277}" destId="{97297838-C0CA-485A-B6CF-1FF34FB7A7DE}" srcOrd="0" destOrd="0" presId="urn:microsoft.com/office/officeart/2005/8/layout/lProcess2"/>
    <dgm:cxn modelId="{06513BF6-173D-4255-8B7E-1606F33F0EED}" type="presParOf" srcId="{91C47460-A3A4-4DF0-988B-968E8F996277}" destId="{BD2C6F9C-E1AA-4BE6-B594-FB4625025307}" srcOrd="1" destOrd="0" presId="urn:microsoft.com/office/officeart/2005/8/layout/lProcess2"/>
    <dgm:cxn modelId="{2D744614-E65E-4F02-B90B-827A63819D7B}" type="presParOf" srcId="{91C47460-A3A4-4DF0-988B-968E8F996277}" destId="{2BF4BF86-E1A5-4F6F-B0D7-8DFBB249F0D5}" srcOrd="2" destOrd="0" presId="urn:microsoft.com/office/officeart/2005/8/layout/lProcess2"/>
    <dgm:cxn modelId="{CD4D92EF-8160-41CF-9594-35AA1E3CEEB9}" type="presParOf" srcId="{2BF4BF86-E1A5-4F6F-B0D7-8DFBB249F0D5}" destId="{86818B64-3968-456D-8389-53E03C773EC3}" srcOrd="0" destOrd="0" presId="urn:microsoft.com/office/officeart/2005/8/layout/lProcess2"/>
    <dgm:cxn modelId="{06E19497-68BE-4ABB-984B-24C58BBB37F9}" type="presParOf" srcId="{86818B64-3968-456D-8389-53E03C773EC3}" destId="{8E3CB9C1-7234-44BF-85E3-0C7186BC5303}" srcOrd="0" destOrd="0" presId="urn:microsoft.com/office/officeart/2005/8/layout/lProcess2"/>
    <dgm:cxn modelId="{BB30573A-EA5F-4756-9518-2140AA42AFFB}" type="presParOf" srcId="{86818B64-3968-456D-8389-53E03C773EC3}" destId="{92555FAE-6DDE-4333-9745-03AECC077982}" srcOrd="1" destOrd="0" presId="urn:microsoft.com/office/officeart/2005/8/layout/lProcess2"/>
    <dgm:cxn modelId="{5A783F31-1CFB-4D28-94AE-388FC3E6F6A5}" type="presParOf" srcId="{86818B64-3968-456D-8389-53E03C773EC3}" destId="{AEFF2EB4-1716-4172-98E4-A8FF49650DE4}" srcOrd="2" destOrd="0" presId="urn:microsoft.com/office/officeart/2005/8/layout/lProcess2"/>
    <dgm:cxn modelId="{DFC07416-5D1C-460C-B524-099DD048ED20}" type="presParOf" srcId="{86818B64-3968-456D-8389-53E03C773EC3}" destId="{967BF759-E4BB-4A50-B7BE-B0789FEFCE6C}" srcOrd="3" destOrd="0" presId="urn:microsoft.com/office/officeart/2005/8/layout/lProcess2"/>
    <dgm:cxn modelId="{20979A48-6946-4E2F-AB90-57FB47BDB5E5}" type="presParOf" srcId="{86818B64-3968-456D-8389-53E03C773EC3}" destId="{D0B2A5DD-568C-447C-AA05-0E291FF18176}" srcOrd="4" destOrd="0" presId="urn:microsoft.com/office/officeart/2005/8/layout/lProcess2"/>
    <dgm:cxn modelId="{E69CA520-FD8E-40A9-ACC2-11D46E716897}" type="presParOf" srcId="{43D585D2-6C82-4363-BCDA-DFCC02902663}" destId="{7DFBCEAF-F492-4926-BFB0-4E339CD938A4}" srcOrd="3" destOrd="0" presId="urn:microsoft.com/office/officeart/2005/8/layout/lProcess2"/>
    <dgm:cxn modelId="{C3E99A26-5323-4EEE-9A0F-CEE81C1F2E82}" type="presParOf" srcId="{43D585D2-6C82-4363-BCDA-DFCC02902663}" destId="{119404AA-F44A-4DEF-BE90-D88ADCD50753}" srcOrd="4" destOrd="0" presId="urn:microsoft.com/office/officeart/2005/8/layout/lProcess2"/>
    <dgm:cxn modelId="{2C2B7018-D761-4DFD-817D-8CF6C78D5F85}" type="presParOf" srcId="{119404AA-F44A-4DEF-BE90-D88ADCD50753}" destId="{15AB03EB-E778-43A0-A882-B8831A458131}" srcOrd="0" destOrd="0" presId="urn:microsoft.com/office/officeart/2005/8/layout/lProcess2"/>
    <dgm:cxn modelId="{CA99749E-0B36-4537-B145-DDB22ED7834E}" type="presParOf" srcId="{119404AA-F44A-4DEF-BE90-D88ADCD50753}" destId="{566B4A6F-0DF8-40B5-9053-701F979AB40B}" srcOrd="1" destOrd="0" presId="urn:microsoft.com/office/officeart/2005/8/layout/lProcess2"/>
    <dgm:cxn modelId="{AEF207AB-97C4-438B-BAC0-75AD71BBD29D}" type="presParOf" srcId="{119404AA-F44A-4DEF-BE90-D88ADCD50753}" destId="{B2113918-29A1-4ECE-BCFC-60688B329A4C}" srcOrd="2" destOrd="0" presId="urn:microsoft.com/office/officeart/2005/8/layout/lProcess2"/>
    <dgm:cxn modelId="{46ECC998-C37F-4769-9D1C-30777BBAF26A}" type="presParOf" srcId="{B2113918-29A1-4ECE-BCFC-60688B329A4C}" destId="{75DE006F-A4D4-490D-B19F-71F852B82322}" srcOrd="0" destOrd="0" presId="urn:microsoft.com/office/officeart/2005/8/layout/lProcess2"/>
    <dgm:cxn modelId="{27A6707E-B6C6-4B60-AF53-74242159E10A}" type="presParOf" srcId="{75DE006F-A4D4-490D-B19F-71F852B82322}" destId="{2FAAA25B-0D93-4A52-8FC9-ACFA10D5CFCB}" srcOrd="0" destOrd="0" presId="urn:microsoft.com/office/officeart/2005/8/layout/lProcess2"/>
    <dgm:cxn modelId="{CBBBF360-AAB2-4F02-BA64-47F4E08A6BD6}" type="presParOf" srcId="{75DE006F-A4D4-490D-B19F-71F852B82322}" destId="{EB654BA6-CA80-4EA8-A374-FCE1F45CE55B}" srcOrd="1" destOrd="0" presId="urn:microsoft.com/office/officeart/2005/8/layout/lProcess2"/>
    <dgm:cxn modelId="{1746626A-BB10-4377-AFF5-D326F345D35D}" type="presParOf" srcId="{75DE006F-A4D4-490D-B19F-71F852B82322}" destId="{8308B8A2-360B-42B4-980D-1F12D35A1757}" srcOrd="2" destOrd="0" presId="urn:microsoft.com/office/officeart/2005/8/layout/lProcess2"/>
    <dgm:cxn modelId="{E09ED457-7390-44E3-9122-6C2D8E8BA56A}" type="presParOf" srcId="{75DE006F-A4D4-490D-B19F-71F852B82322}" destId="{B64F9C1E-8226-452F-9901-6717B0FC7BA9}" srcOrd="3" destOrd="0" presId="urn:microsoft.com/office/officeart/2005/8/layout/lProcess2"/>
    <dgm:cxn modelId="{D5C71F90-E496-44FD-9548-CDC394E27C73}" type="presParOf" srcId="{75DE006F-A4D4-490D-B19F-71F852B82322}" destId="{D4262ECD-870B-4038-98C0-16CFE984456E}" srcOrd="4" destOrd="0" presId="urn:microsoft.com/office/officeart/2005/8/layout/lProcess2"/>
    <dgm:cxn modelId="{F4455CDC-EE3C-450D-9312-A4ED2F3CC86D}" type="presParOf" srcId="{75DE006F-A4D4-490D-B19F-71F852B82322}" destId="{EA032796-B2FB-422A-B8DD-763F8F3E6060}" srcOrd="5" destOrd="0" presId="urn:microsoft.com/office/officeart/2005/8/layout/lProcess2"/>
    <dgm:cxn modelId="{F6CA4778-736B-40B5-BE92-97B8034CA04E}" type="presParOf" srcId="{75DE006F-A4D4-490D-B19F-71F852B82322}" destId="{9690F679-C2FD-4E11-8217-E1A2F5C04381}" srcOrd="6" destOrd="0" presId="urn:microsoft.com/office/officeart/2005/8/layout/lProcess2"/>
    <dgm:cxn modelId="{C68AF9E4-6AD5-412C-94C7-B8026EE4E549}" type="presParOf" srcId="{75DE006F-A4D4-490D-B19F-71F852B82322}" destId="{29EFF550-6F66-4EEF-A503-9DDADEE2D3F3}" srcOrd="7" destOrd="0" presId="urn:microsoft.com/office/officeart/2005/8/layout/lProcess2"/>
    <dgm:cxn modelId="{1D211695-EC20-40EE-8D25-08F4BA3FCD79}" type="presParOf" srcId="{75DE006F-A4D4-490D-B19F-71F852B82322}" destId="{A99BF21F-0B27-4105-8602-501654B7681A}" srcOrd="8" destOrd="0" presId="urn:microsoft.com/office/officeart/2005/8/layout/lProcess2"/>
    <dgm:cxn modelId="{8799C8D8-F196-4A09-ADCB-4750484E39BF}" type="presParOf" srcId="{43D585D2-6C82-4363-BCDA-DFCC02902663}" destId="{03F41838-D586-426D-BD50-BA2E5B105B37}" srcOrd="5" destOrd="0" presId="urn:microsoft.com/office/officeart/2005/8/layout/lProcess2"/>
    <dgm:cxn modelId="{43CFDD37-E7B2-44C5-A199-AF61D9BC7939}" type="presParOf" srcId="{43D585D2-6C82-4363-BCDA-DFCC02902663}" destId="{01F6A6DE-181F-4D70-BEEC-AC7A0C8BE895}" srcOrd="6" destOrd="0" presId="urn:microsoft.com/office/officeart/2005/8/layout/lProcess2"/>
    <dgm:cxn modelId="{4F3F50A6-260C-4CB3-8AF8-4A1D2139249C}" type="presParOf" srcId="{01F6A6DE-181F-4D70-BEEC-AC7A0C8BE895}" destId="{60B8E20F-7344-4AF2-B1D6-59544D77A8DE}" srcOrd="0" destOrd="0" presId="urn:microsoft.com/office/officeart/2005/8/layout/lProcess2"/>
    <dgm:cxn modelId="{2F332D08-2F99-4EFB-AB5F-DD7488ECC2D8}" type="presParOf" srcId="{01F6A6DE-181F-4D70-BEEC-AC7A0C8BE895}" destId="{D9FBBC44-B6BF-4305-A44F-C32CB33140F8}" srcOrd="1" destOrd="0" presId="urn:microsoft.com/office/officeart/2005/8/layout/lProcess2"/>
    <dgm:cxn modelId="{D38AE7A4-BF2E-439A-9525-973FEA866B79}" type="presParOf" srcId="{01F6A6DE-181F-4D70-BEEC-AC7A0C8BE895}" destId="{E376F953-F333-4F53-959A-36B704B44E7C}" srcOrd="2" destOrd="0" presId="urn:microsoft.com/office/officeart/2005/8/layout/lProcess2"/>
    <dgm:cxn modelId="{20E18CAC-03F7-411F-A7FA-6C03E699D0FC}" type="presParOf" srcId="{E376F953-F333-4F53-959A-36B704B44E7C}" destId="{E571A712-E2C5-4464-A228-24ACBB7A6019}" srcOrd="0" destOrd="0" presId="urn:microsoft.com/office/officeart/2005/8/layout/lProcess2"/>
    <dgm:cxn modelId="{07071D39-835F-4F30-A391-087FEE074913}" type="presParOf" srcId="{E571A712-E2C5-4464-A228-24ACBB7A6019}" destId="{3AC91C35-1B87-4934-9721-F54CACF8ADBE}" srcOrd="0" destOrd="0" presId="urn:microsoft.com/office/officeart/2005/8/layout/lProcess2"/>
    <dgm:cxn modelId="{64B8C3E2-B1B6-4A33-9434-24071E951542}" type="presParOf" srcId="{E571A712-E2C5-4464-A228-24ACBB7A6019}" destId="{B5906F4E-8DF8-4C14-9677-DDA31DC6CE8B}" srcOrd="1" destOrd="0" presId="urn:microsoft.com/office/officeart/2005/8/layout/lProcess2"/>
    <dgm:cxn modelId="{BF60C352-7A74-49D4-AFC9-9D56FE202150}" type="presParOf" srcId="{E571A712-E2C5-4464-A228-24ACBB7A6019}" destId="{9D0C2DAB-87CD-4F88-A730-CF2C2EBD252A}" srcOrd="2" destOrd="0" presId="urn:microsoft.com/office/officeart/2005/8/layout/lProcess2"/>
    <dgm:cxn modelId="{1113ECAB-FE86-49DF-A610-438A3F6D8D3E}" type="presParOf" srcId="{E571A712-E2C5-4464-A228-24ACBB7A6019}" destId="{030A893E-22EA-4A06-BC3C-83670B5C7ED3}" srcOrd="3" destOrd="0" presId="urn:microsoft.com/office/officeart/2005/8/layout/lProcess2"/>
    <dgm:cxn modelId="{893AC9CE-8924-4786-A213-AEC31E722690}" type="presParOf" srcId="{E571A712-E2C5-4464-A228-24ACBB7A6019}" destId="{2AB1C415-7653-4B28-85A6-23A68AA47EC8}" srcOrd="4" destOrd="0" presId="urn:microsoft.com/office/officeart/2005/8/layout/lProcess2"/>
    <dgm:cxn modelId="{3D771B36-C4CB-47FA-9D03-E8491AE452E6}" type="presParOf" srcId="{E571A712-E2C5-4464-A228-24ACBB7A6019}" destId="{27412982-921B-4314-A0B5-BB9CDCE366EC}" srcOrd="5" destOrd="0" presId="urn:microsoft.com/office/officeart/2005/8/layout/lProcess2"/>
    <dgm:cxn modelId="{3320A1F7-223F-4A45-8627-A626B308445B}" type="presParOf" srcId="{E571A712-E2C5-4464-A228-24ACBB7A6019}" destId="{9BDE6CFF-BCED-47A0-8FD2-C47D1676E63D}" srcOrd="6" destOrd="0" presId="urn:microsoft.com/office/officeart/2005/8/layout/lProcess2"/>
    <dgm:cxn modelId="{E4DBB67C-85E0-47C8-82B3-72768F32C20B}" type="presParOf" srcId="{43D585D2-6C82-4363-BCDA-DFCC02902663}" destId="{FC765D0F-4A02-4C9F-A570-B9435ACCDC72}" srcOrd="7" destOrd="0" presId="urn:microsoft.com/office/officeart/2005/8/layout/lProcess2"/>
    <dgm:cxn modelId="{C02A9A16-0A9C-444D-AD9D-56358AFD92E3}" type="presParOf" srcId="{43D585D2-6C82-4363-BCDA-DFCC02902663}" destId="{0915EF29-1C24-4348-A5C2-C246ADB9BFCA}" srcOrd="8" destOrd="0" presId="urn:microsoft.com/office/officeart/2005/8/layout/lProcess2"/>
    <dgm:cxn modelId="{78C1EA23-AFBD-454A-890E-856E01A5D0A4}" type="presParOf" srcId="{0915EF29-1C24-4348-A5C2-C246ADB9BFCA}" destId="{6853EE3C-D3E3-48F5-B6B3-093C2112F3B1}" srcOrd="0" destOrd="0" presId="urn:microsoft.com/office/officeart/2005/8/layout/lProcess2"/>
    <dgm:cxn modelId="{937E367E-EDD5-4ED1-B2C4-2B78E89FD114}" type="presParOf" srcId="{0915EF29-1C24-4348-A5C2-C246ADB9BFCA}" destId="{43B1738A-034D-4269-A81E-CC29632C90E4}" srcOrd="1" destOrd="0" presId="urn:microsoft.com/office/officeart/2005/8/layout/lProcess2"/>
    <dgm:cxn modelId="{EC6A6A08-1F9E-4A64-BF65-D4C59635CBC7}" type="presParOf" srcId="{0915EF29-1C24-4348-A5C2-C246ADB9BFCA}" destId="{5F91ED73-3E2E-4B75-A765-8D2066C10C5B}" srcOrd="2" destOrd="0" presId="urn:microsoft.com/office/officeart/2005/8/layout/lProcess2"/>
    <dgm:cxn modelId="{65360422-0271-4940-BD03-112F3F0AA32D}" type="presParOf" srcId="{5F91ED73-3E2E-4B75-A765-8D2066C10C5B}" destId="{0C929385-9B7B-4BC9-9419-6CC1ECDF3AA1}" srcOrd="0" destOrd="0" presId="urn:microsoft.com/office/officeart/2005/8/layout/lProcess2"/>
    <dgm:cxn modelId="{9ECAD58D-8313-4177-983E-A001D23999FB}" type="presParOf" srcId="{0C929385-9B7B-4BC9-9419-6CC1ECDF3AA1}" destId="{738794CB-3722-44FB-B7A6-E9945696A702}" srcOrd="0" destOrd="0" presId="urn:microsoft.com/office/officeart/2005/8/layout/lProcess2"/>
    <dgm:cxn modelId="{B990B833-5128-4377-B114-133803C47A6A}" type="presParOf" srcId="{0C929385-9B7B-4BC9-9419-6CC1ECDF3AA1}" destId="{D5E223F1-D07F-44E9-8F33-6273BC70D672}" srcOrd="1" destOrd="0" presId="urn:microsoft.com/office/officeart/2005/8/layout/lProcess2"/>
    <dgm:cxn modelId="{54C19429-D6A8-422A-A0C1-6886B7CB0807}" type="presParOf" srcId="{0C929385-9B7B-4BC9-9419-6CC1ECDF3AA1}" destId="{3D039FBC-4EC4-4A0E-A82D-107839E4285E}" srcOrd="2" destOrd="0" presId="urn:microsoft.com/office/officeart/2005/8/layout/lProcess2"/>
    <dgm:cxn modelId="{F5B5A8C6-084B-4A24-AD8F-5B93F849E3C7}" type="presParOf" srcId="{0C929385-9B7B-4BC9-9419-6CC1ECDF3AA1}" destId="{9969BDCD-33C3-431D-B975-E2D72439DF13}" srcOrd="3" destOrd="0" presId="urn:microsoft.com/office/officeart/2005/8/layout/lProcess2"/>
    <dgm:cxn modelId="{9E928414-F935-4AFE-B12A-AA5949532088}" type="presParOf" srcId="{0C929385-9B7B-4BC9-9419-6CC1ECDF3AA1}" destId="{25669231-D05C-4991-8EE8-D9FCDFD7C4C8}" srcOrd="4" destOrd="0" presId="urn:microsoft.com/office/officeart/2005/8/layout/lProcess2"/>
    <dgm:cxn modelId="{384337AE-10EE-4DCE-A562-A35EA461DE56}" type="presParOf" srcId="{0C929385-9B7B-4BC9-9419-6CC1ECDF3AA1}" destId="{E9B884F3-221D-4C2F-B7BE-6AABDB2BF5E4}" srcOrd="5" destOrd="0" presId="urn:microsoft.com/office/officeart/2005/8/layout/lProcess2"/>
    <dgm:cxn modelId="{298788AD-BAC9-4C73-B89B-4315A07C0784}" type="presParOf" srcId="{0C929385-9B7B-4BC9-9419-6CC1ECDF3AA1}" destId="{029E1653-CEBE-4E96-BA6A-0E860EE1350D}" srcOrd="6" destOrd="0" presId="urn:microsoft.com/office/officeart/2005/8/layout/lProcess2"/>
    <dgm:cxn modelId="{F92F71E2-30EB-4280-9D9A-42659DD9A73B}" type="presParOf" srcId="{43D585D2-6C82-4363-BCDA-DFCC02902663}" destId="{E228FFEF-1080-4152-AD79-BACA750C1B83}" srcOrd="9" destOrd="0" presId="urn:microsoft.com/office/officeart/2005/8/layout/lProcess2"/>
    <dgm:cxn modelId="{B8615816-9C68-40EC-A200-86E547325C87}" type="presParOf" srcId="{43D585D2-6C82-4363-BCDA-DFCC02902663}" destId="{F4C643EE-39D8-4110-842A-F74BE395EDCF}" srcOrd="10" destOrd="0" presId="urn:microsoft.com/office/officeart/2005/8/layout/lProcess2"/>
    <dgm:cxn modelId="{D4F7B23F-EBA2-4535-AF5E-0188E1633FD7}" type="presParOf" srcId="{F4C643EE-39D8-4110-842A-F74BE395EDCF}" destId="{CBB87E65-F061-4707-912A-72F61957FD4A}" srcOrd="0" destOrd="0" presId="urn:microsoft.com/office/officeart/2005/8/layout/lProcess2"/>
    <dgm:cxn modelId="{3537FF0C-C8F7-474B-ACED-E4AC0A7F65E0}" type="presParOf" srcId="{F4C643EE-39D8-4110-842A-F74BE395EDCF}" destId="{6C3338E6-7393-4C3C-A666-9BB8B67A91B4}" srcOrd="1" destOrd="0" presId="urn:microsoft.com/office/officeart/2005/8/layout/lProcess2"/>
    <dgm:cxn modelId="{9377E22D-DACC-4E54-9AAC-C30C69B1344A}" type="presParOf" srcId="{F4C643EE-39D8-4110-842A-F74BE395EDCF}" destId="{79607486-27B0-4408-ABB2-0BFAF6BCEE9E}" srcOrd="2" destOrd="0" presId="urn:microsoft.com/office/officeart/2005/8/layout/lProcess2"/>
    <dgm:cxn modelId="{09D47D84-F1ED-4ED8-B81D-BD8023D0D64F}" type="presParOf" srcId="{79607486-27B0-4408-ABB2-0BFAF6BCEE9E}" destId="{00CB8B6B-B467-4367-ABC6-326BCA9BC433}" srcOrd="0" destOrd="0" presId="urn:microsoft.com/office/officeart/2005/8/layout/lProcess2"/>
    <dgm:cxn modelId="{7777B36B-A4B7-4AC1-85FC-6881F2E9BB85}" type="presParOf" srcId="{00CB8B6B-B467-4367-ABC6-326BCA9BC433}" destId="{D8ED6FB3-0123-4966-8309-EFC9A2436FC0}" srcOrd="0" destOrd="0" presId="urn:microsoft.com/office/officeart/2005/8/layout/lProcess2"/>
    <dgm:cxn modelId="{F6D7AE8B-F35B-4AE0-AF38-F84788888CED}" type="presParOf" srcId="{00CB8B6B-B467-4367-ABC6-326BCA9BC433}" destId="{4EE4E620-25E7-4D42-A1EF-391F3FF9B949}" srcOrd="1" destOrd="0" presId="urn:microsoft.com/office/officeart/2005/8/layout/lProcess2"/>
    <dgm:cxn modelId="{9C2D2788-9C57-4DEE-B4A7-ABB5ED623042}" type="presParOf" srcId="{00CB8B6B-B467-4367-ABC6-326BCA9BC433}" destId="{CDFAFB64-7D40-408D-9CC8-69585DD9A80F}" srcOrd="2" destOrd="0" presId="urn:microsoft.com/office/officeart/2005/8/layout/lProcess2"/>
    <dgm:cxn modelId="{3DEB06D9-A244-41ED-93CA-658577BFD40A}" type="presParOf" srcId="{00CB8B6B-B467-4367-ABC6-326BCA9BC433}" destId="{2C66DC57-9113-40A0-BCD5-67172C2F561B}" srcOrd="3" destOrd="0" presId="urn:microsoft.com/office/officeart/2005/8/layout/lProcess2"/>
    <dgm:cxn modelId="{5EC18F61-6BE4-4928-97D0-702AD529E042}" type="presParOf" srcId="{00CB8B6B-B467-4367-ABC6-326BCA9BC433}" destId="{FE893478-46A1-4231-B4A5-708A83815B59}" srcOrd="4" destOrd="0" presId="urn:microsoft.com/office/officeart/2005/8/layout/lProcess2"/>
    <dgm:cxn modelId="{F8EA7768-D995-48DC-9B74-DC4155F07C65}" type="presParOf" srcId="{00CB8B6B-B467-4367-ABC6-326BCA9BC433}" destId="{1C05EB73-92FC-4760-B26E-4FFBF659FD8C}" srcOrd="5" destOrd="0" presId="urn:microsoft.com/office/officeart/2005/8/layout/lProcess2"/>
    <dgm:cxn modelId="{808E5556-0E0B-4127-A966-11E5E3EED22A}" type="presParOf" srcId="{00CB8B6B-B467-4367-ABC6-326BCA9BC433}" destId="{0F350BF3-0FEE-4898-BF66-B591B2AF765C}"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384935C-C5DD-4955-981D-D9A1C7EC1578}" type="doc">
      <dgm:prSet loTypeId="urn:microsoft.com/office/officeart/2008/layout/BendingPictureBlocks" loCatId="picture" qsTypeId="urn:microsoft.com/office/officeart/2005/8/quickstyle/simple2" qsCatId="simple" csTypeId="urn:microsoft.com/office/officeart/2005/8/colors/accent1_2" csCatId="accent1" phldr="1"/>
      <dgm:spPr/>
      <dgm:t>
        <a:bodyPr/>
        <a:lstStyle/>
        <a:p>
          <a:endParaRPr lang="en-US"/>
        </a:p>
      </dgm:t>
    </dgm:pt>
    <dgm:pt modelId="{B35391F9-D3C7-4C06-8A31-2F0EC3030B59}" type="asst">
      <dgm:prSet phldrT="[Text]" custT="1"/>
      <dgm:spPr/>
      <dgm:t>
        <a:bodyPr/>
        <a:lstStyle/>
        <a:p>
          <a:pPr algn="l">
            <a:lnSpc>
              <a:spcPct val="90000"/>
            </a:lnSpc>
          </a:pPr>
          <a:r>
            <a:rPr lang="en-US" sz="1600" b="1" dirty="0" smtClean="0"/>
            <a:t>1 - Sensitive</a:t>
          </a:r>
        </a:p>
        <a:p>
          <a:pPr algn="l">
            <a:lnSpc>
              <a:spcPct val="90000"/>
            </a:lnSpc>
          </a:pPr>
          <a:r>
            <a:rPr lang="en-US" sz="1600" b="1" dirty="0" smtClean="0"/>
            <a:t>2 - Exposed</a:t>
          </a:r>
        </a:p>
        <a:p>
          <a:pPr algn="l">
            <a:lnSpc>
              <a:spcPct val="90000"/>
            </a:lnSpc>
          </a:pPr>
          <a:r>
            <a:rPr lang="en-US" sz="1600" b="1" dirty="0" smtClean="0"/>
            <a:t>3 - Robust</a:t>
          </a:r>
        </a:p>
        <a:p>
          <a:pPr algn="l">
            <a:lnSpc>
              <a:spcPct val="90000"/>
            </a:lnSpc>
          </a:pPr>
          <a:endParaRPr lang="en-US" sz="1200" b="1" dirty="0" smtClean="0"/>
        </a:p>
        <a:p>
          <a:pPr algn="l">
            <a:lnSpc>
              <a:spcPct val="90000"/>
            </a:lnSpc>
          </a:pPr>
          <a:r>
            <a:rPr lang="en-US" sz="1200" b="1" dirty="0" smtClean="0"/>
            <a:t>Example:</a:t>
          </a:r>
          <a:r>
            <a:rPr lang="en-US" sz="1200" dirty="0" smtClean="0"/>
            <a:t> </a:t>
          </a:r>
        </a:p>
        <a:p>
          <a:pPr algn="l">
            <a:lnSpc>
              <a:spcPct val="150000"/>
            </a:lnSpc>
          </a:pPr>
          <a:r>
            <a:rPr lang="en-US" sz="1200" i="0" dirty="0" smtClean="0">
              <a:latin typeface="+mn-lt"/>
              <a:cs typeface="Arial" panose="020B0604020202020204" pitchFamily="34" charset="0"/>
            </a:rPr>
            <a:t>The 2 lane roadway is paved with concrete and set in a rocky, rolling terrain. The design combines at grade and cut and fill sections with very few dirt ditches. </a:t>
          </a:r>
        </a:p>
        <a:p>
          <a:pPr algn="l">
            <a:lnSpc>
              <a:spcPct val="150000"/>
            </a:lnSpc>
          </a:pPr>
          <a:r>
            <a:rPr lang="en-US" sz="1200" i="0" dirty="0" smtClean="0">
              <a:latin typeface="+mn-lt"/>
              <a:cs typeface="Arial" panose="020B0604020202020204" pitchFamily="34" charset="0"/>
            </a:rPr>
            <a:t>The roadway should be downgraded from robust (concrete), to </a:t>
          </a:r>
          <a:r>
            <a:rPr lang="en-US" sz="1200" b="1" i="0" dirty="0" smtClean="0">
              <a:solidFill>
                <a:schemeClr val="tx1"/>
              </a:solidFill>
              <a:latin typeface="+mn-lt"/>
              <a:cs typeface="Arial" panose="020B0604020202020204" pitchFamily="34" charset="0"/>
            </a:rPr>
            <a:t>Exposed</a:t>
          </a:r>
          <a:r>
            <a:rPr lang="en-US" sz="1200" i="0" dirty="0" smtClean="0">
              <a:latin typeface="+mn-lt"/>
              <a:cs typeface="Arial" panose="020B0604020202020204" pitchFamily="34" charset="0"/>
            </a:rPr>
            <a:t> based on poor drainage conditions</a:t>
          </a:r>
          <a:r>
            <a:rPr lang="en-US" sz="1200" i="1" dirty="0" smtClean="0">
              <a:latin typeface="+mn-lt"/>
            </a:rPr>
            <a:t>.</a:t>
          </a:r>
          <a:endParaRPr lang="en-US" sz="1200" i="0" dirty="0">
            <a:latin typeface="+mn-lt"/>
            <a:cs typeface="Arial" panose="020B0604020202020204" pitchFamily="34" charset="0"/>
          </a:endParaRPr>
        </a:p>
      </dgm:t>
    </dgm:pt>
    <dgm:pt modelId="{B4DCB00F-54A1-47C0-A0E4-BB6C465CE742}" type="parTrans" cxnId="{45CF36AE-2FD3-447B-87FB-AE4D7AD2FB03}">
      <dgm:prSet/>
      <dgm:spPr/>
      <dgm:t>
        <a:bodyPr/>
        <a:lstStyle/>
        <a:p>
          <a:endParaRPr lang="en-US"/>
        </a:p>
      </dgm:t>
    </dgm:pt>
    <dgm:pt modelId="{ED89F502-389D-434E-88CD-6D0AB7C26BF4}" type="sibTrans" cxnId="{45CF36AE-2FD3-447B-87FB-AE4D7AD2FB03}">
      <dgm:prSet/>
      <dgm:spPr/>
      <dgm:t>
        <a:bodyPr/>
        <a:lstStyle/>
        <a:p>
          <a:endParaRPr lang="en-US"/>
        </a:p>
      </dgm:t>
    </dgm:pt>
    <dgm:pt modelId="{C245CC9E-C0EA-4877-A371-69B92322806B}" type="pres">
      <dgm:prSet presAssocID="{4384935C-C5DD-4955-981D-D9A1C7EC1578}" presName="Name0" presStyleCnt="0">
        <dgm:presLayoutVars>
          <dgm:dir/>
          <dgm:resizeHandles/>
        </dgm:presLayoutVars>
      </dgm:prSet>
      <dgm:spPr/>
      <dgm:t>
        <a:bodyPr/>
        <a:lstStyle/>
        <a:p>
          <a:endParaRPr lang="en-US"/>
        </a:p>
      </dgm:t>
    </dgm:pt>
    <dgm:pt modelId="{E75EEAC3-99F0-4FDF-835A-5E3707C98E3E}" type="pres">
      <dgm:prSet presAssocID="{B35391F9-D3C7-4C06-8A31-2F0EC3030B59}" presName="composite" presStyleCnt="0"/>
      <dgm:spPr/>
      <dgm:t>
        <a:bodyPr/>
        <a:lstStyle/>
        <a:p>
          <a:endParaRPr lang="en-US"/>
        </a:p>
      </dgm:t>
    </dgm:pt>
    <dgm:pt modelId="{B7125431-6238-4FCE-AEBA-CD584719F6C9}" type="pres">
      <dgm:prSet presAssocID="{B35391F9-D3C7-4C06-8A31-2F0EC3030B59}" presName="rect1" presStyleLbl="bgImgPlace1" presStyleIdx="0" presStyleCnt="1" custScaleY="112832" custLinFactNeighborX="41259" custLinFactNeighborY="-67164"/>
      <dgm:spPr>
        <a:prstGeom prst="ellipse">
          <a:avLst/>
        </a:prstGeom>
        <a:blipFill>
          <a:blip xmlns:r="http://schemas.openxmlformats.org/officeDocument/2006/relationships" r:embed="rId1">
            <a:duotone>
              <a:schemeClr val="accent1">
                <a:shade val="45000"/>
                <a:satMod val="135000"/>
              </a:schemeClr>
              <a:prstClr val="white"/>
            </a:duotone>
            <a:extLst>
              <a:ext uri="{28A0092B-C50C-407E-A947-70E740481C1C}">
                <a14:useLocalDpi xmlns:a14="http://schemas.microsoft.com/office/drawing/2010/main" val="0"/>
              </a:ext>
            </a:extLst>
          </a:blip>
          <a:srcRect/>
          <a:stretch>
            <a:fillRect t="-3000" b="-3000"/>
          </a:stretch>
        </a:blipFill>
      </dgm:spPr>
      <dgm:t>
        <a:bodyPr/>
        <a:lstStyle/>
        <a:p>
          <a:endParaRPr lang="en-US"/>
        </a:p>
      </dgm:t>
    </dgm:pt>
    <dgm:pt modelId="{0D0E88EA-4B09-422A-8FB1-A477460CE6A2}" type="pres">
      <dgm:prSet presAssocID="{B35391F9-D3C7-4C06-8A31-2F0EC3030B59}" presName="rect2" presStyleLbl="node1" presStyleIdx="0" presStyleCnt="1" custScaleX="184941" custScaleY="486733">
        <dgm:presLayoutVars>
          <dgm:bulletEnabled val="1"/>
        </dgm:presLayoutVars>
      </dgm:prSet>
      <dgm:spPr/>
      <dgm:t>
        <a:bodyPr/>
        <a:lstStyle/>
        <a:p>
          <a:endParaRPr lang="en-US"/>
        </a:p>
      </dgm:t>
    </dgm:pt>
  </dgm:ptLst>
  <dgm:cxnLst>
    <dgm:cxn modelId="{45CF36AE-2FD3-447B-87FB-AE4D7AD2FB03}" srcId="{4384935C-C5DD-4955-981D-D9A1C7EC1578}" destId="{B35391F9-D3C7-4C06-8A31-2F0EC3030B59}" srcOrd="0" destOrd="0" parTransId="{B4DCB00F-54A1-47C0-A0E4-BB6C465CE742}" sibTransId="{ED89F502-389D-434E-88CD-6D0AB7C26BF4}"/>
    <dgm:cxn modelId="{68F853A5-63BB-42F8-8F36-930EFAAE54CA}" type="presOf" srcId="{B35391F9-D3C7-4C06-8A31-2F0EC3030B59}" destId="{0D0E88EA-4B09-422A-8FB1-A477460CE6A2}" srcOrd="0" destOrd="0" presId="urn:microsoft.com/office/officeart/2008/layout/BendingPictureBlocks"/>
    <dgm:cxn modelId="{BB5FB28E-9979-4A79-8A51-EF1EC1107DC0}" type="presOf" srcId="{4384935C-C5DD-4955-981D-D9A1C7EC1578}" destId="{C245CC9E-C0EA-4877-A371-69B92322806B}" srcOrd="0" destOrd="0" presId="urn:microsoft.com/office/officeart/2008/layout/BendingPictureBlocks"/>
    <dgm:cxn modelId="{E991DD5D-0A09-441A-AAEB-0CD0BAA03F9F}" type="presParOf" srcId="{C245CC9E-C0EA-4877-A371-69B92322806B}" destId="{E75EEAC3-99F0-4FDF-835A-5E3707C98E3E}" srcOrd="0" destOrd="0" presId="urn:microsoft.com/office/officeart/2008/layout/BendingPictureBlocks"/>
    <dgm:cxn modelId="{DC9A272D-694B-4657-9A00-A03E67F5ED34}" type="presParOf" srcId="{E75EEAC3-99F0-4FDF-835A-5E3707C98E3E}" destId="{B7125431-6238-4FCE-AEBA-CD584719F6C9}" srcOrd="0" destOrd="0" presId="urn:microsoft.com/office/officeart/2008/layout/BendingPictureBlocks"/>
    <dgm:cxn modelId="{FC0248F3-1D3A-4038-B2D5-73A005A62B54}" type="presParOf" srcId="{E75EEAC3-99F0-4FDF-835A-5E3707C98E3E}" destId="{0D0E88EA-4B09-422A-8FB1-A477460CE6A2}" srcOrd="1" destOrd="0" presId="urn:microsoft.com/office/officeart/2008/layout/BendingPictureBlock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3C3BB05-331E-4A72-8C48-A9E5C87EA0C1}" type="doc">
      <dgm:prSet loTypeId="urn:microsoft.com/office/officeart/2005/8/layout/pyramid3" loCatId="pyramid" qsTypeId="urn:microsoft.com/office/officeart/2005/8/quickstyle/3d5" qsCatId="3D" csTypeId="urn:microsoft.com/office/officeart/2005/8/colors/accent2_4" csCatId="accent2" phldr="1"/>
      <dgm:spPr/>
      <dgm:t>
        <a:bodyPr/>
        <a:lstStyle/>
        <a:p>
          <a:endParaRPr lang="en-US"/>
        </a:p>
      </dgm:t>
    </dgm:pt>
    <dgm:pt modelId="{E0839F9B-C9C0-405C-BC67-EA6A72541B78}">
      <dgm:prSet phldrT="[Text]"/>
      <dgm:spPr/>
      <dgm:t>
        <a:bodyPr/>
        <a:lstStyle/>
        <a:p>
          <a:r>
            <a:rPr lang="en-US" dirty="0"/>
            <a:t> </a:t>
          </a:r>
        </a:p>
      </dgm:t>
    </dgm:pt>
    <dgm:pt modelId="{C41F9B98-3998-428E-ACCB-1BE1B6E4E63B}" type="parTrans" cxnId="{EB09365B-3BE8-459B-8D89-D0406B4259D4}">
      <dgm:prSet/>
      <dgm:spPr/>
      <dgm:t>
        <a:bodyPr/>
        <a:lstStyle/>
        <a:p>
          <a:endParaRPr lang="en-US"/>
        </a:p>
      </dgm:t>
    </dgm:pt>
    <dgm:pt modelId="{88E35601-420D-406D-9021-57620C0335BC}" type="sibTrans" cxnId="{EB09365B-3BE8-459B-8D89-D0406B4259D4}">
      <dgm:prSet/>
      <dgm:spPr/>
      <dgm:t>
        <a:bodyPr/>
        <a:lstStyle/>
        <a:p>
          <a:endParaRPr lang="en-US"/>
        </a:p>
      </dgm:t>
    </dgm:pt>
    <dgm:pt modelId="{10737913-80C6-4095-BF8A-7DB36D6B979F}">
      <dgm:prSet phldrT="[Text]"/>
      <dgm:spPr/>
      <dgm:t>
        <a:bodyPr/>
        <a:lstStyle/>
        <a:p>
          <a:r>
            <a:rPr lang="en-US" dirty="0"/>
            <a:t> </a:t>
          </a:r>
        </a:p>
      </dgm:t>
    </dgm:pt>
    <dgm:pt modelId="{CB59507B-F768-4258-90E2-7677B84FF2EE}" type="parTrans" cxnId="{6FB6CF16-1C06-4459-9F72-7F62C6E140CD}">
      <dgm:prSet/>
      <dgm:spPr/>
      <dgm:t>
        <a:bodyPr/>
        <a:lstStyle/>
        <a:p>
          <a:endParaRPr lang="en-US"/>
        </a:p>
      </dgm:t>
    </dgm:pt>
    <dgm:pt modelId="{05315615-908A-40DC-A9F8-3A851013B361}" type="sibTrans" cxnId="{6FB6CF16-1C06-4459-9F72-7F62C6E140CD}">
      <dgm:prSet/>
      <dgm:spPr/>
      <dgm:t>
        <a:bodyPr/>
        <a:lstStyle/>
        <a:p>
          <a:endParaRPr lang="en-US"/>
        </a:p>
      </dgm:t>
    </dgm:pt>
    <dgm:pt modelId="{035BB789-23FA-4E13-B8D9-EA87A337686D}">
      <dgm:prSet phldrT="[Text]"/>
      <dgm:spPr/>
      <dgm:t>
        <a:bodyPr/>
        <a:lstStyle/>
        <a:p>
          <a:r>
            <a:rPr lang="en-US" dirty="0"/>
            <a:t> </a:t>
          </a:r>
        </a:p>
      </dgm:t>
    </dgm:pt>
    <dgm:pt modelId="{C73E721A-9978-477A-9DEA-02D3C0F14EFC}" type="parTrans" cxnId="{87B1BAA0-4EF5-4F59-9572-951D928188BF}">
      <dgm:prSet/>
      <dgm:spPr/>
      <dgm:t>
        <a:bodyPr/>
        <a:lstStyle/>
        <a:p>
          <a:endParaRPr lang="en-US"/>
        </a:p>
      </dgm:t>
    </dgm:pt>
    <dgm:pt modelId="{DC85018A-9672-460D-9D1C-742EC0847F72}" type="sibTrans" cxnId="{87B1BAA0-4EF5-4F59-9572-951D928188BF}">
      <dgm:prSet/>
      <dgm:spPr/>
      <dgm:t>
        <a:bodyPr/>
        <a:lstStyle/>
        <a:p>
          <a:endParaRPr lang="en-US"/>
        </a:p>
      </dgm:t>
    </dgm:pt>
    <dgm:pt modelId="{AE2BFC98-6362-4187-84EB-F010A8F6F752}">
      <dgm:prSet/>
      <dgm:spPr/>
      <dgm:t>
        <a:bodyPr/>
        <a:lstStyle/>
        <a:p>
          <a:endParaRPr lang="en-US"/>
        </a:p>
      </dgm:t>
    </dgm:pt>
    <dgm:pt modelId="{06D1CC11-207A-47BD-8B9F-476B9F44FB4E}" type="parTrans" cxnId="{488C35BB-F804-4255-B51F-2AD9F889039C}">
      <dgm:prSet/>
      <dgm:spPr/>
      <dgm:t>
        <a:bodyPr/>
        <a:lstStyle/>
        <a:p>
          <a:endParaRPr lang="en-US"/>
        </a:p>
      </dgm:t>
    </dgm:pt>
    <dgm:pt modelId="{8B161552-51C1-436B-9B7E-DCF2D14FC092}" type="sibTrans" cxnId="{488C35BB-F804-4255-B51F-2AD9F889039C}">
      <dgm:prSet/>
      <dgm:spPr/>
      <dgm:t>
        <a:bodyPr/>
        <a:lstStyle/>
        <a:p>
          <a:endParaRPr lang="en-US"/>
        </a:p>
      </dgm:t>
    </dgm:pt>
    <dgm:pt modelId="{4A8AED4C-4E09-45D2-B9F9-E742D4119E99}">
      <dgm:prSet/>
      <dgm:spPr>
        <a:ln>
          <a:noFill/>
        </a:ln>
      </dgm:spPr>
      <dgm:t>
        <a:bodyPr/>
        <a:lstStyle/>
        <a:p>
          <a:endParaRPr lang="en-US"/>
        </a:p>
      </dgm:t>
    </dgm:pt>
    <dgm:pt modelId="{41ABF39E-BF33-4552-8596-B2C0ABFEBF16}" type="parTrans" cxnId="{5AF7CA1D-00D3-457B-905B-82C3FAA94A06}">
      <dgm:prSet/>
      <dgm:spPr/>
      <dgm:t>
        <a:bodyPr/>
        <a:lstStyle/>
        <a:p>
          <a:endParaRPr lang="en-US"/>
        </a:p>
      </dgm:t>
    </dgm:pt>
    <dgm:pt modelId="{05C15B4B-D09D-4EF0-B062-E79487C2D293}" type="sibTrans" cxnId="{5AF7CA1D-00D3-457B-905B-82C3FAA94A06}">
      <dgm:prSet/>
      <dgm:spPr/>
      <dgm:t>
        <a:bodyPr/>
        <a:lstStyle/>
        <a:p>
          <a:endParaRPr lang="en-US"/>
        </a:p>
      </dgm:t>
    </dgm:pt>
    <dgm:pt modelId="{112A7114-9F50-48DE-A7ED-1E5C883ABC16}">
      <dgm:prSet/>
      <dgm:spPr/>
      <dgm:t>
        <a:bodyPr/>
        <a:lstStyle/>
        <a:p>
          <a:endParaRPr lang="en-US"/>
        </a:p>
      </dgm:t>
    </dgm:pt>
    <dgm:pt modelId="{3E6EFF01-99BF-4F6B-B19C-1BDC0AF4760B}" type="parTrans" cxnId="{6313E777-56E3-441B-A482-6A68B4B5A8B1}">
      <dgm:prSet/>
      <dgm:spPr/>
      <dgm:t>
        <a:bodyPr/>
        <a:lstStyle/>
        <a:p>
          <a:endParaRPr lang="en-US"/>
        </a:p>
      </dgm:t>
    </dgm:pt>
    <dgm:pt modelId="{B9D46DC0-44E4-4B74-BEFD-A08B62D51C1E}" type="sibTrans" cxnId="{6313E777-56E3-441B-A482-6A68B4B5A8B1}">
      <dgm:prSet/>
      <dgm:spPr/>
      <dgm:t>
        <a:bodyPr/>
        <a:lstStyle/>
        <a:p>
          <a:endParaRPr lang="en-US"/>
        </a:p>
      </dgm:t>
    </dgm:pt>
    <dgm:pt modelId="{A7789F3C-F0B8-4EEB-8B9C-96663FD4FD7B}" type="pres">
      <dgm:prSet presAssocID="{F3C3BB05-331E-4A72-8C48-A9E5C87EA0C1}" presName="Name0" presStyleCnt="0">
        <dgm:presLayoutVars>
          <dgm:dir/>
          <dgm:animLvl val="lvl"/>
          <dgm:resizeHandles val="exact"/>
        </dgm:presLayoutVars>
      </dgm:prSet>
      <dgm:spPr/>
      <dgm:t>
        <a:bodyPr/>
        <a:lstStyle/>
        <a:p>
          <a:endParaRPr lang="en-US"/>
        </a:p>
      </dgm:t>
    </dgm:pt>
    <dgm:pt modelId="{0E62976B-94AD-4EC0-8F5F-DFA6F0AABB1D}" type="pres">
      <dgm:prSet presAssocID="{E0839F9B-C9C0-405C-BC67-EA6A72541B78}" presName="Name8" presStyleCnt="0"/>
      <dgm:spPr/>
    </dgm:pt>
    <dgm:pt modelId="{D289BB6E-D21C-4A9E-9B30-912769CCDDD5}" type="pres">
      <dgm:prSet presAssocID="{E0839F9B-C9C0-405C-BC67-EA6A72541B78}" presName="level" presStyleLbl="node1" presStyleIdx="0" presStyleCnt="6">
        <dgm:presLayoutVars>
          <dgm:chMax val="1"/>
          <dgm:bulletEnabled val="1"/>
        </dgm:presLayoutVars>
      </dgm:prSet>
      <dgm:spPr/>
      <dgm:t>
        <a:bodyPr/>
        <a:lstStyle/>
        <a:p>
          <a:endParaRPr lang="en-US"/>
        </a:p>
      </dgm:t>
    </dgm:pt>
    <dgm:pt modelId="{F4B0142E-F147-4422-846F-B385C536BB6D}" type="pres">
      <dgm:prSet presAssocID="{E0839F9B-C9C0-405C-BC67-EA6A72541B78}" presName="levelTx" presStyleLbl="revTx" presStyleIdx="0" presStyleCnt="0">
        <dgm:presLayoutVars>
          <dgm:chMax val="1"/>
          <dgm:bulletEnabled val="1"/>
        </dgm:presLayoutVars>
      </dgm:prSet>
      <dgm:spPr/>
      <dgm:t>
        <a:bodyPr/>
        <a:lstStyle/>
        <a:p>
          <a:endParaRPr lang="en-US"/>
        </a:p>
      </dgm:t>
    </dgm:pt>
    <dgm:pt modelId="{57049A81-FB51-4833-9232-0EC69E2860E1}" type="pres">
      <dgm:prSet presAssocID="{10737913-80C6-4095-BF8A-7DB36D6B979F}" presName="Name8" presStyleCnt="0"/>
      <dgm:spPr/>
    </dgm:pt>
    <dgm:pt modelId="{8D875A23-BB55-49D0-ADF3-26871AD735B7}" type="pres">
      <dgm:prSet presAssocID="{10737913-80C6-4095-BF8A-7DB36D6B979F}" presName="level" presStyleLbl="node1" presStyleIdx="1" presStyleCnt="6">
        <dgm:presLayoutVars>
          <dgm:chMax val="1"/>
          <dgm:bulletEnabled val="1"/>
        </dgm:presLayoutVars>
      </dgm:prSet>
      <dgm:spPr/>
      <dgm:t>
        <a:bodyPr/>
        <a:lstStyle/>
        <a:p>
          <a:endParaRPr lang="en-US"/>
        </a:p>
      </dgm:t>
    </dgm:pt>
    <dgm:pt modelId="{B96DF3D3-AFC6-4325-B692-33FE7445FAE9}" type="pres">
      <dgm:prSet presAssocID="{10737913-80C6-4095-BF8A-7DB36D6B979F}" presName="levelTx" presStyleLbl="revTx" presStyleIdx="0" presStyleCnt="0">
        <dgm:presLayoutVars>
          <dgm:chMax val="1"/>
          <dgm:bulletEnabled val="1"/>
        </dgm:presLayoutVars>
      </dgm:prSet>
      <dgm:spPr/>
      <dgm:t>
        <a:bodyPr/>
        <a:lstStyle/>
        <a:p>
          <a:endParaRPr lang="en-US"/>
        </a:p>
      </dgm:t>
    </dgm:pt>
    <dgm:pt modelId="{76121D3C-7EBB-445A-A998-4F17426FEB17}" type="pres">
      <dgm:prSet presAssocID="{035BB789-23FA-4E13-B8D9-EA87A337686D}" presName="Name8" presStyleCnt="0"/>
      <dgm:spPr/>
    </dgm:pt>
    <dgm:pt modelId="{248FB3EC-7406-4B0C-93E1-523CA1618B6B}" type="pres">
      <dgm:prSet presAssocID="{035BB789-23FA-4E13-B8D9-EA87A337686D}" presName="level" presStyleLbl="node1" presStyleIdx="2" presStyleCnt="6">
        <dgm:presLayoutVars>
          <dgm:chMax val="1"/>
          <dgm:bulletEnabled val="1"/>
        </dgm:presLayoutVars>
      </dgm:prSet>
      <dgm:spPr/>
      <dgm:t>
        <a:bodyPr/>
        <a:lstStyle/>
        <a:p>
          <a:endParaRPr lang="en-US"/>
        </a:p>
      </dgm:t>
    </dgm:pt>
    <dgm:pt modelId="{0EF4AA6F-94EE-42BA-A260-9D2AC48AED02}" type="pres">
      <dgm:prSet presAssocID="{035BB789-23FA-4E13-B8D9-EA87A337686D}" presName="levelTx" presStyleLbl="revTx" presStyleIdx="0" presStyleCnt="0">
        <dgm:presLayoutVars>
          <dgm:chMax val="1"/>
          <dgm:bulletEnabled val="1"/>
        </dgm:presLayoutVars>
      </dgm:prSet>
      <dgm:spPr/>
      <dgm:t>
        <a:bodyPr/>
        <a:lstStyle/>
        <a:p>
          <a:endParaRPr lang="en-US"/>
        </a:p>
      </dgm:t>
    </dgm:pt>
    <dgm:pt modelId="{798E9C6A-64C7-4D70-8B52-5952279A6DD4}" type="pres">
      <dgm:prSet presAssocID="{AE2BFC98-6362-4187-84EB-F010A8F6F752}" presName="Name8" presStyleCnt="0"/>
      <dgm:spPr/>
    </dgm:pt>
    <dgm:pt modelId="{D7776C25-D081-4065-A58C-0CDBB53CE2A4}" type="pres">
      <dgm:prSet presAssocID="{AE2BFC98-6362-4187-84EB-F010A8F6F752}" presName="level" presStyleLbl="node1" presStyleIdx="3" presStyleCnt="6">
        <dgm:presLayoutVars>
          <dgm:chMax val="1"/>
          <dgm:bulletEnabled val="1"/>
        </dgm:presLayoutVars>
      </dgm:prSet>
      <dgm:spPr/>
      <dgm:t>
        <a:bodyPr/>
        <a:lstStyle/>
        <a:p>
          <a:endParaRPr lang="en-US"/>
        </a:p>
      </dgm:t>
    </dgm:pt>
    <dgm:pt modelId="{2CD9285B-74F6-476E-975E-249A28B7BE46}" type="pres">
      <dgm:prSet presAssocID="{AE2BFC98-6362-4187-84EB-F010A8F6F752}" presName="levelTx" presStyleLbl="revTx" presStyleIdx="0" presStyleCnt="0">
        <dgm:presLayoutVars>
          <dgm:chMax val="1"/>
          <dgm:bulletEnabled val="1"/>
        </dgm:presLayoutVars>
      </dgm:prSet>
      <dgm:spPr/>
      <dgm:t>
        <a:bodyPr/>
        <a:lstStyle/>
        <a:p>
          <a:endParaRPr lang="en-US"/>
        </a:p>
      </dgm:t>
    </dgm:pt>
    <dgm:pt modelId="{A40D508E-B062-4915-AB3E-DB239F342624}" type="pres">
      <dgm:prSet presAssocID="{4A8AED4C-4E09-45D2-B9F9-E742D4119E99}" presName="Name8" presStyleCnt="0"/>
      <dgm:spPr/>
    </dgm:pt>
    <dgm:pt modelId="{BA12E191-508D-479F-A6EA-E05C60F445F4}" type="pres">
      <dgm:prSet presAssocID="{4A8AED4C-4E09-45D2-B9F9-E742D4119E99}" presName="level" presStyleLbl="node1" presStyleIdx="4" presStyleCnt="6">
        <dgm:presLayoutVars>
          <dgm:chMax val="1"/>
          <dgm:bulletEnabled val="1"/>
        </dgm:presLayoutVars>
      </dgm:prSet>
      <dgm:spPr/>
      <dgm:t>
        <a:bodyPr/>
        <a:lstStyle/>
        <a:p>
          <a:endParaRPr lang="en-US"/>
        </a:p>
      </dgm:t>
    </dgm:pt>
    <dgm:pt modelId="{290BF1B4-C61C-4EF3-A189-2AFE8D40A935}" type="pres">
      <dgm:prSet presAssocID="{4A8AED4C-4E09-45D2-B9F9-E742D4119E99}" presName="levelTx" presStyleLbl="revTx" presStyleIdx="0" presStyleCnt="0">
        <dgm:presLayoutVars>
          <dgm:chMax val="1"/>
          <dgm:bulletEnabled val="1"/>
        </dgm:presLayoutVars>
      </dgm:prSet>
      <dgm:spPr/>
      <dgm:t>
        <a:bodyPr/>
        <a:lstStyle/>
        <a:p>
          <a:endParaRPr lang="en-US"/>
        </a:p>
      </dgm:t>
    </dgm:pt>
    <dgm:pt modelId="{4A56503C-B731-422A-BA83-B3DDB98158E2}" type="pres">
      <dgm:prSet presAssocID="{112A7114-9F50-48DE-A7ED-1E5C883ABC16}" presName="Name8" presStyleCnt="0"/>
      <dgm:spPr/>
    </dgm:pt>
    <dgm:pt modelId="{770262D9-CD1F-4B77-A7BA-4242781C26C3}" type="pres">
      <dgm:prSet presAssocID="{112A7114-9F50-48DE-A7ED-1E5C883ABC16}" presName="level" presStyleLbl="node1" presStyleIdx="5" presStyleCnt="6">
        <dgm:presLayoutVars>
          <dgm:chMax val="1"/>
          <dgm:bulletEnabled val="1"/>
        </dgm:presLayoutVars>
      </dgm:prSet>
      <dgm:spPr/>
      <dgm:t>
        <a:bodyPr/>
        <a:lstStyle/>
        <a:p>
          <a:endParaRPr lang="en-US"/>
        </a:p>
      </dgm:t>
    </dgm:pt>
    <dgm:pt modelId="{0C4AD953-E0D4-4C88-9C4F-D5A98D46C19C}" type="pres">
      <dgm:prSet presAssocID="{112A7114-9F50-48DE-A7ED-1E5C883ABC16}" presName="levelTx" presStyleLbl="revTx" presStyleIdx="0" presStyleCnt="0">
        <dgm:presLayoutVars>
          <dgm:chMax val="1"/>
          <dgm:bulletEnabled val="1"/>
        </dgm:presLayoutVars>
      </dgm:prSet>
      <dgm:spPr/>
      <dgm:t>
        <a:bodyPr/>
        <a:lstStyle/>
        <a:p>
          <a:endParaRPr lang="en-US"/>
        </a:p>
      </dgm:t>
    </dgm:pt>
  </dgm:ptLst>
  <dgm:cxnLst>
    <dgm:cxn modelId="{24FECA95-9DB0-49FA-B8FC-D5F68D6FEA16}" type="presOf" srcId="{4A8AED4C-4E09-45D2-B9F9-E742D4119E99}" destId="{BA12E191-508D-479F-A6EA-E05C60F445F4}" srcOrd="0" destOrd="0" presId="urn:microsoft.com/office/officeart/2005/8/layout/pyramid3"/>
    <dgm:cxn modelId="{EADD3F7D-07AE-4D5B-8169-448A74AEDF21}" type="presOf" srcId="{F3C3BB05-331E-4A72-8C48-A9E5C87EA0C1}" destId="{A7789F3C-F0B8-4EEB-8B9C-96663FD4FD7B}" srcOrd="0" destOrd="0" presId="urn:microsoft.com/office/officeart/2005/8/layout/pyramid3"/>
    <dgm:cxn modelId="{71353398-0066-482F-8644-D84C6F84E053}" type="presOf" srcId="{112A7114-9F50-48DE-A7ED-1E5C883ABC16}" destId="{770262D9-CD1F-4B77-A7BA-4242781C26C3}" srcOrd="0" destOrd="0" presId="urn:microsoft.com/office/officeart/2005/8/layout/pyramid3"/>
    <dgm:cxn modelId="{4F12BE28-4E18-4542-A606-03D79B5CBF47}" type="presOf" srcId="{035BB789-23FA-4E13-B8D9-EA87A337686D}" destId="{0EF4AA6F-94EE-42BA-A260-9D2AC48AED02}" srcOrd="1" destOrd="0" presId="urn:microsoft.com/office/officeart/2005/8/layout/pyramid3"/>
    <dgm:cxn modelId="{751841F3-6204-4BFE-A004-BB08E888C8EF}" type="presOf" srcId="{112A7114-9F50-48DE-A7ED-1E5C883ABC16}" destId="{0C4AD953-E0D4-4C88-9C4F-D5A98D46C19C}" srcOrd="1" destOrd="0" presId="urn:microsoft.com/office/officeart/2005/8/layout/pyramid3"/>
    <dgm:cxn modelId="{25B40210-B4F8-4119-9B29-070ADC55755F}" type="presOf" srcId="{10737913-80C6-4095-BF8A-7DB36D6B979F}" destId="{B96DF3D3-AFC6-4325-B692-33FE7445FAE9}" srcOrd="1" destOrd="0" presId="urn:microsoft.com/office/officeart/2005/8/layout/pyramid3"/>
    <dgm:cxn modelId="{8F27303A-E3C0-4926-9998-45A250EFCE6C}" type="presOf" srcId="{AE2BFC98-6362-4187-84EB-F010A8F6F752}" destId="{2CD9285B-74F6-476E-975E-249A28B7BE46}" srcOrd="1" destOrd="0" presId="urn:microsoft.com/office/officeart/2005/8/layout/pyramid3"/>
    <dgm:cxn modelId="{6FB6CF16-1C06-4459-9F72-7F62C6E140CD}" srcId="{F3C3BB05-331E-4A72-8C48-A9E5C87EA0C1}" destId="{10737913-80C6-4095-BF8A-7DB36D6B979F}" srcOrd="1" destOrd="0" parTransId="{CB59507B-F768-4258-90E2-7677B84FF2EE}" sibTransId="{05315615-908A-40DC-A9F8-3A851013B361}"/>
    <dgm:cxn modelId="{62F0463E-A094-49C6-A79A-1FF4EB4F2736}" type="presOf" srcId="{E0839F9B-C9C0-405C-BC67-EA6A72541B78}" destId="{F4B0142E-F147-4422-846F-B385C536BB6D}" srcOrd="1" destOrd="0" presId="urn:microsoft.com/office/officeart/2005/8/layout/pyramid3"/>
    <dgm:cxn modelId="{6313E777-56E3-441B-A482-6A68B4B5A8B1}" srcId="{F3C3BB05-331E-4A72-8C48-A9E5C87EA0C1}" destId="{112A7114-9F50-48DE-A7ED-1E5C883ABC16}" srcOrd="5" destOrd="0" parTransId="{3E6EFF01-99BF-4F6B-B19C-1BDC0AF4760B}" sibTransId="{B9D46DC0-44E4-4B74-BEFD-A08B62D51C1E}"/>
    <dgm:cxn modelId="{87B1BAA0-4EF5-4F59-9572-951D928188BF}" srcId="{F3C3BB05-331E-4A72-8C48-A9E5C87EA0C1}" destId="{035BB789-23FA-4E13-B8D9-EA87A337686D}" srcOrd="2" destOrd="0" parTransId="{C73E721A-9978-477A-9DEA-02D3C0F14EFC}" sibTransId="{DC85018A-9672-460D-9D1C-742EC0847F72}"/>
    <dgm:cxn modelId="{5AF7CA1D-00D3-457B-905B-82C3FAA94A06}" srcId="{F3C3BB05-331E-4A72-8C48-A9E5C87EA0C1}" destId="{4A8AED4C-4E09-45D2-B9F9-E742D4119E99}" srcOrd="4" destOrd="0" parTransId="{41ABF39E-BF33-4552-8596-B2C0ABFEBF16}" sibTransId="{05C15B4B-D09D-4EF0-B062-E79487C2D293}"/>
    <dgm:cxn modelId="{488C35BB-F804-4255-B51F-2AD9F889039C}" srcId="{F3C3BB05-331E-4A72-8C48-A9E5C87EA0C1}" destId="{AE2BFC98-6362-4187-84EB-F010A8F6F752}" srcOrd="3" destOrd="0" parTransId="{06D1CC11-207A-47BD-8B9F-476B9F44FB4E}" sibTransId="{8B161552-51C1-436B-9B7E-DCF2D14FC092}"/>
    <dgm:cxn modelId="{03AE0762-4D7E-4046-96FE-972A2AB16A0F}" type="presOf" srcId="{10737913-80C6-4095-BF8A-7DB36D6B979F}" destId="{8D875A23-BB55-49D0-ADF3-26871AD735B7}" srcOrd="0" destOrd="0" presId="urn:microsoft.com/office/officeart/2005/8/layout/pyramid3"/>
    <dgm:cxn modelId="{90530FBB-7D1B-40E3-8641-DE9987772EB5}" type="presOf" srcId="{AE2BFC98-6362-4187-84EB-F010A8F6F752}" destId="{D7776C25-D081-4065-A58C-0CDBB53CE2A4}" srcOrd="0" destOrd="0" presId="urn:microsoft.com/office/officeart/2005/8/layout/pyramid3"/>
    <dgm:cxn modelId="{C4EA1563-86D0-4137-B97C-08AFD3E7F234}" type="presOf" srcId="{035BB789-23FA-4E13-B8D9-EA87A337686D}" destId="{248FB3EC-7406-4B0C-93E1-523CA1618B6B}" srcOrd="0" destOrd="0" presId="urn:microsoft.com/office/officeart/2005/8/layout/pyramid3"/>
    <dgm:cxn modelId="{A2CEBA37-B9E0-4D9C-BB39-461D88093368}" type="presOf" srcId="{E0839F9B-C9C0-405C-BC67-EA6A72541B78}" destId="{D289BB6E-D21C-4A9E-9B30-912769CCDDD5}" srcOrd="0" destOrd="0" presId="urn:microsoft.com/office/officeart/2005/8/layout/pyramid3"/>
    <dgm:cxn modelId="{25132DA8-4101-4703-BB15-9C5C42C63280}" type="presOf" srcId="{4A8AED4C-4E09-45D2-B9F9-E742D4119E99}" destId="{290BF1B4-C61C-4EF3-A189-2AFE8D40A935}" srcOrd="1" destOrd="0" presId="urn:microsoft.com/office/officeart/2005/8/layout/pyramid3"/>
    <dgm:cxn modelId="{EB09365B-3BE8-459B-8D89-D0406B4259D4}" srcId="{F3C3BB05-331E-4A72-8C48-A9E5C87EA0C1}" destId="{E0839F9B-C9C0-405C-BC67-EA6A72541B78}" srcOrd="0" destOrd="0" parTransId="{C41F9B98-3998-428E-ACCB-1BE1B6E4E63B}" sibTransId="{88E35601-420D-406D-9021-57620C0335BC}"/>
    <dgm:cxn modelId="{7F2230AA-062D-448B-920B-3616CB26315E}" type="presParOf" srcId="{A7789F3C-F0B8-4EEB-8B9C-96663FD4FD7B}" destId="{0E62976B-94AD-4EC0-8F5F-DFA6F0AABB1D}" srcOrd="0" destOrd="0" presId="urn:microsoft.com/office/officeart/2005/8/layout/pyramid3"/>
    <dgm:cxn modelId="{98194D5F-3E5E-4385-AAAC-0E7D05907426}" type="presParOf" srcId="{0E62976B-94AD-4EC0-8F5F-DFA6F0AABB1D}" destId="{D289BB6E-D21C-4A9E-9B30-912769CCDDD5}" srcOrd="0" destOrd="0" presId="urn:microsoft.com/office/officeart/2005/8/layout/pyramid3"/>
    <dgm:cxn modelId="{10BDF027-0950-4FC1-99AF-A1973996F0BE}" type="presParOf" srcId="{0E62976B-94AD-4EC0-8F5F-DFA6F0AABB1D}" destId="{F4B0142E-F147-4422-846F-B385C536BB6D}" srcOrd="1" destOrd="0" presId="urn:microsoft.com/office/officeart/2005/8/layout/pyramid3"/>
    <dgm:cxn modelId="{B36F96AB-50E8-4237-BF1F-F12351309AB0}" type="presParOf" srcId="{A7789F3C-F0B8-4EEB-8B9C-96663FD4FD7B}" destId="{57049A81-FB51-4833-9232-0EC69E2860E1}" srcOrd="1" destOrd="0" presId="urn:microsoft.com/office/officeart/2005/8/layout/pyramid3"/>
    <dgm:cxn modelId="{50EAE482-A1E2-40F4-81C8-C7BE1C8A0138}" type="presParOf" srcId="{57049A81-FB51-4833-9232-0EC69E2860E1}" destId="{8D875A23-BB55-49D0-ADF3-26871AD735B7}" srcOrd="0" destOrd="0" presId="urn:microsoft.com/office/officeart/2005/8/layout/pyramid3"/>
    <dgm:cxn modelId="{B015E3B4-5389-46DB-A685-D61BD16D943B}" type="presParOf" srcId="{57049A81-FB51-4833-9232-0EC69E2860E1}" destId="{B96DF3D3-AFC6-4325-B692-33FE7445FAE9}" srcOrd="1" destOrd="0" presId="urn:microsoft.com/office/officeart/2005/8/layout/pyramid3"/>
    <dgm:cxn modelId="{46039F90-A09E-4301-9058-270C86FF9A92}" type="presParOf" srcId="{A7789F3C-F0B8-4EEB-8B9C-96663FD4FD7B}" destId="{76121D3C-7EBB-445A-A998-4F17426FEB17}" srcOrd="2" destOrd="0" presId="urn:microsoft.com/office/officeart/2005/8/layout/pyramid3"/>
    <dgm:cxn modelId="{0E15EDBB-EDF2-4146-9DD8-AA42D2D5FE18}" type="presParOf" srcId="{76121D3C-7EBB-445A-A998-4F17426FEB17}" destId="{248FB3EC-7406-4B0C-93E1-523CA1618B6B}" srcOrd="0" destOrd="0" presId="urn:microsoft.com/office/officeart/2005/8/layout/pyramid3"/>
    <dgm:cxn modelId="{5A423B4D-D40D-4E4E-8475-B035F05864A8}" type="presParOf" srcId="{76121D3C-7EBB-445A-A998-4F17426FEB17}" destId="{0EF4AA6F-94EE-42BA-A260-9D2AC48AED02}" srcOrd="1" destOrd="0" presId="urn:microsoft.com/office/officeart/2005/8/layout/pyramid3"/>
    <dgm:cxn modelId="{F8AA6DD8-9A29-443D-87E2-0C4023EFF55D}" type="presParOf" srcId="{A7789F3C-F0B8-4EEB-8B9C-96663FD4FD7B}" destId="{798E9C6A-64C7-4D70-8B52-5952279A6DD4}" srcOrd="3" destOrd="0" presId="urn:microsoft.com/office/officeart/2005/8/layout/pyramid3"/>
    <dgm:cxn modelId="{F41E0165-E894-4D21-AA96-99D98B4D241C}" type="presParOf" srcId="{798E9C6A-64C7-4D70-8B52-5952279A6DD4}" destId="{D7776C25-D081-4065-A58C-0CDBB53CE2A4}" srcOrd="0" destOrd="0" presId="urn:microsoft.com/office/officeart/2005/8/layout/pyramid3"/>
    <dgm:cxn modelId="{6AEEB229-BABD-4BBA-B871-193BD1B32A25}" type="presParOf" srcId="{798E9C6A-64C7-4D70-8B52-5952279A6DD4}" destId="{2CD9285B-74F6-476E-975E-249A28B7BE46}" srcOrd="1" destOrd="0" presId="urn:microsoft.com/office/officeart/2005/8/layout/pyramid3"/>
    <dgm:cxn modelId="{D21B2A0E-87D0-4C94-BDED-D3DE2B90CC44}" type="presParOf" srcId="{A7789F3C-F0B8-4EEB-8B9C-96663FD4FD7B}" destId="{A40D508E-B062-4915-AB3E-DB239F342624}" srcOrd="4" destOrd="0" presId="urn:microsoft.com/office/officeart/2005/8/layout/pyramid3"/>
    <dgm:cxn modelId="{080D3B10-9928-40F2-A56F-62B70ECE7CB6}" type="presParOf" srcId="{A40D508E-B062-4915-AB3E-DB239F342624}" destId="{BA12E191-508D-479F-A6EA-E05C60F445F4}" srcOrd="0" destOrd="0" presId="urn:microsoft.com/office/officeart/2005/8/layout/pyramid3"/>
    <dgm:cxn modelId="{4502037F-95F1-4A9C-9770-CBAF93B1159C}" type="presParOf" srcId="{A40D508E-B062-4915-AB3E-DB239F342624}" destId="{290BF1B4-C61C-4EF3-A189-2AFE8D40A935}" srcOrd="1" destOrd="0" presId="urn:microsoft.com/office/officeart/2005/8/layout/pyramid3"/>
    <dgm:cxn modelId="{A0197194-BDDC-4EFC-A4B2-5BEF299267B5}" type="presParOf" srcId="{A7789F3C-F0B8-4EEB-8B9C-96663FD4FD7B}" destId="{4A56503C-B731-422A-BA83-B3DDB98158E2}" srcOrd="5" destOrd="0" presId="urn:microsoft.com/office/officeart/2005/8/layout/pyramid3"/>
    <dgm:cxn modelId="{12F672D6-39DA-4850-AFB0-8EF3E6A3D0D8}" type="presParOf" srcId="{4A56503C-B731-422A-BA83-B3DDB98158E2}" destId="{770262D9-CD1F-4B77-A7BA-4242781C26C3}" srcOrd="0" destOrd="0" presId="urn:microsoft.com/office/officeart/2005/8/layout/pyramid3"/>
    <dgm:cxn modelId="{2538E3F0-19A0-4B8C-A177-6489582BB02D}" type="presParOf" srcId="{4A56503C-B731-422A-BA83-B3DDB98158E2}" destId="{0C4AD953-E0D4-4C88-9C4F-D5A98D46C19C}" srcOrd="1" destOrd="0" presId="urn:microsoft.com/office/officeart/2005/8/layout/pyramid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125431-6238-4FCE-AEBA-CD584719F6C9}">
      <dsp:nvSpPr>
        <dsp:cNvPr id="0" name=""/>
        <dsp:cNvSpPr/>
      </dsp:nvSpPr>
      <dsp:spPr>
        <a:xfrm>
          <a:off x="1856586" y="397045"/>
          <a:ext cx="1863032" cy="1768013"/>
        </a:xfrm>
        <a:prstGeom prst="ellipse">
          <a:avLst/>
        </a:prstGeom>
        <a:blipFill>
          <a:blip xmlns:r="http://schemas.openxmlformats.org/officeDocument/2006/relationships" r:embed="rId1">
            <a:duotone>
              <a:schemeClr val="accent4">
                <a:shade val="45000"/>
                <a:satMod val="135000"/>
              </a:schemeClr>
              <a:prstClr val="white"/>
            </a:duotone>
            <a:extLst>
              <a:ext uri="{28A0092B-C50C-407E-A947-70E740481C1C}">
                <a14:useLocalDpi xmlns:a14="http://schemas.microsoft.com/office/drawing/2010/main" val="0"/>
              </a:ext>
            </a:extLst>
          </a:blip>
          <a:srcRect/>
          <a:stretch>
            <a:fillRect t="-3000" b="-3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D0E88EA-4B09-422A-8FB1-A477460CE6A2}">
      <dsp:nvSpPr>
        <dsp:cNvPr id="0" name=""/>
        <dsp:cNvSpPr/>
      </dsp:nvSpPr>
      <dsp:spPr>
        <a:xfrm>
          <a:off x="366858" y="256301"/>
          <a:ext cx="1867344" cy="4914529"/>
        </a:xfrm>
        <a:prstGeom prst="rect">
          <a:avLst/>
        </a:prstGeom>
        <a:solidFill>
          <a:schemeClr val="accent4">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1" kern="1200" dirty="0" smtClean="0"/>
            <a:t>1 – Likely</a:t>
          </a:r>
        </a:p>
        <a:p>
          <a:pPr lvl="0" algn="l" defTabSz="711200">
            <a:lnSpc>
              <a:spcPct val="90000"/>
            </a:lnSpc>
            <a:spcBef>
              <a:spcPct val="0"/>
            </a:spcBef>
            <a:spcAft>
              <a:spcPct val="35000"/>
            </a:spcAft>
          </a:pPr>
          <a:r>
            <a:rPr lang="en-US" sz="1600" b="1" kern="1200" dirty="0" smtClean="0"/>
            <a:t>2 – Possible</a:t>
          </a:r>
        </a:p>
        <a:p>
          <a:pPr lvl="0" algn="l" defTabSz="711200">
            <a:lnSpc>
              <a:spcPct val="90000"/>
            </a:lnSpc>
            <a:spcBef>
              <a:spcPct val="0"/>
            </a:spcBef>
            <a:spcAft>
              <a:spcPct val="35000"/>
            </a:spcAft>
          </a:pPr>
          <a:r>
            <a:rPr lang="en-US" sz="1600" b="1" kern="1200" dirty="0" smtClean="0"/>
            <a:t>3 – Potential</a:t>
          </a:r>
        </a:p>
        <a:p>
          <a:pPr lvl="0" algn="l" defTabSz="711200">
            <a:lnSpc>
              <a:spcPct val="90000"/>
            </a:lnSpc>
            <a:spcBef>
              <a:spcPct val="0"/>
            </a:spcBef>
            <a:spcAft>
              <a:spcPct val="35000"/>
            </a:spcAft>
          </a:pPr>
          <a:endParaRPr lang="en-US" sz="1200" b="1" kern="1200" dirty="0" smtClean="0"/>
        </a:p>
        <a:p>
          <a:pPr lvl="0" algn="l" defTabSz="711200">
            <a:lnSpc>
              <a:spcPct val="90000"/>
            </a:lnSpc>
            <a:spcBef>
              <a:spcPct val="0"/>
            </a:spcBef>
            <a:spcAft>
              <a:spcPct val="35000"/>
            </a:spcAft>
          </a:pPr>
          <a:r>
            <a:rPr lang="en-US" sz="1200" b="1" kern="1200" dirty="0" smtClean="0"/>
            <a:t>Example:</a:t>
          </a:r>
          <a:r>
            <a:rPr lang="en-US" sz="1200" kern="1200" dirty="0" smtClean="0"/>
            <a:t> </a:t>
          </a:r>
        </a:p>
        <a:p>
          <a:pPr lvl="0" algn="l" defTabSz="711200">
            <a:lnSpc>
              <a:spcPct val="150000"/>
            </a:lnSpc>
            <a:spcBef>
              <a:spcPct val="0"/>
            </a:spcBef>
            <a:spcAft>
              <a:spcPct val="35000"/>
            </a:spcAft>
          </a:pPr>
          <a:r>
            <a:rPr lang="en-US" sz="1200" i="0" kern="1200" dirty="0" smtClean="0"/>
            <a:t>A paved roadway base along a river in Tonga will last 30 years, deeming a 2050 planning horizon when the precipitation and heat from the RCP 6 model will be most severe. </a:t>
          </a:r>
        </a:p>
        <a:p>
          <a:pPr lvl="0" algn="l" defTabSz="711200">
            <a:lnSpc>
              <a:spcPct val="150000"/>
            </a:lnSpc>
            <a:spcBef>
              <a:spcPct val="0"/>
            </a:spcBef>
            <a:spcAft>
              <a:spcPct val="35000"/>
            </a:spcAft>
          </a:pPr>
          <a:r>
            <a:rPr lang="en-US" sz="1200" i="0" kern="1200" dirty="0" smtClean="0"/>
            <a:t>This Major roadway will use the 75</a:t>
          </a:r>
          <a:r>
            <a:rPr lang="en-US" sz="1200" i="0" kern="1200" baseline="30000" dirty="0" smtClean="0"/>
            <a:t>th</a:t>
          </a:r>
          <a:r>
            <a:rPr lang="en-US" sz="1200" i="0" kern="1200" dirty="0" smtClean="0"/>
            <a:t> percentile to predict that floods and landslides are </a:t>
          </a:r>
          <a:r>
            <a:rPr lang="en-US" sz="1200" i="0" kern="1200" dirty="0" smtClean="0">
              <a:solidFill>
                <a:schemeClr val="tx1"/>
              </a:solidFill>
            </a:rPr>
            <a:t>L</a:t>
          </a:r>
          <a:r>
            <a:rPr lang="en-US" sz="1200" b="1" i="0" kern="1200" dirty="0" smtClean="0">
              <a:solidFill>
                <a:schemeClr val="tx1"/>
              </a:solidFill>
            </a:rPr>
            <a:t>ikely</a:t>
          </a:r>
          <a:endParaRPr lang="en-US" sz="1200" i="0" kern="1200" dirty="0">
            <a:solidFill>
              <a:schemeClr val="tx1"/>
            </a:solidFill>
            <a:latin typeface="+mn-lt"/>
            <a:cs typeface="Arial" panose="020B0604020202020204" pitchFamily="34" charset="0"/>
          </a:endParaRPr>
        </a:p>
      </dsp:txBody>
      <dsp:txXfrm>
        <a:off x="366858" y="256301"/>
        <a:ext cx="1867344" cy="491452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13265C-0B22-4B9D-8A8E-379A78F94C6F}">
      <dsp:nvSpPr>
        <dsp:cNvPr id="0" name=""/>
        <dsp:cNvSpPr/>
      </dsp:nvSpPr>
      <dsp:spPr>
        <a:xfrm>
          <a:off x="3103" y="0"/>
          <a:ext cx="1226092" cy="4910666"/>
        </a:xfrm>
        <a:prstGeom prst="round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a:latin typeface="Times New Roman" panose="02020603050405020304"/>
              <a:ea typeface="+mn-ea"/>
              <a:cs typeface="+mn-cs"/>
            </a:rPr>
            <a:t>Source Proximity</a:t>
          </a:r>
        </a:p>
      </dsp:txBody>
      <dsp:txXfrm>
        <a:off x="3103" y="0"/>
        <a:ext cx="1226092" cy="1473199"/>
      </dsp:txXfrm>
    </dsp:sp>
    <dsp:sp modelId="{A9213B6B-AFD0-418A-845A-56A54BF2F623}">
      <dsp:nvSpPr>
        <dsp:cNvPr id="0" name=""/>
        <dsp:cNvSpPr/>
      </dsp:nvSpPr>
      <dsp:spPr>
        <a:xfrm>
          <a:off x="125712" y="1474128"/>
          <a:ext cx="980874" cy="568095"/>
        </a:xfrm>
        <a:prstGeom prst="round2SameRect">
          <a:avLst>
            <a:gd name="adj1" fmla="val 8000"/>
            <a:gd name="adj2" fmla="val 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Sea</a:t>
          </a:r>
        </a:p>
      </dsp:txBody>
      <dsp:txXfrm>
        <a:off x="139023" y="1487439"/>
        <a:ext cx="954252" cy="554784"/>
      </dsp:txXfrm>
    </dsp:sp>
    <dsp:sp modelId="{881451FF-C1D5-4857-A043-742F95A09659}">
      <dsp:nvSpPr>
        <dsp:cNvPr id="0" name=""/>
        <dsp:cNvSpPr/>
      </dsp:nvSpPr>
      <dsp:spPr>
        <a:xfrm>
          <a:off x="125712" y="2129623"/>
          <a:ext cx="980874" cy="56809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River</a:t>
          </a:r>
        </a:p>
      </dsp:txBody>
      <dsp:txXfrm>
        <a:off x="142351" y="2146262"/>
        <a:ext cx="947596" cy="534817"/>
      </dsp:txXfrm>
    </dsp:sp>
    <dsp:sp modelId="{6E291A2E-B053-4CEE-B63E-9438110E9374}">
      <dsp:nvSpPr>
        <dsp:cNvPr id="0" name=""/>
        <dsp:cNvSpPr/>
      </dsp:nvSpPr>
      <dsp:spPr>
        <a:xfrm>
          <a:off x="125712" y="2785118"/>
          <a:ext cx="980874" cy="56809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Canal</a:t>
          </a:r>
        </a:p>
      </dsp:txBody>
      <dsp:txXfrm>
        <a:off x="142351" y="2801757"/>
        <a:ext cx="947596" cy="534817"/>
      </dsp:txXfrm>
    </dsp:sp>
    <dsp:sp modelId="{E7C44452-B449-4B8E-AE54-3D3C66A09930}">
      <dsp:nvSpPr>
        <dsp:cNvPr id="0" name=""/>
        <dsp:cNvSpPr/>
      </dsp:nvSpPr>
      <dsp:spPr>
        <a:xfrm>
          <a:off x="125712" y="3440613"/>
          <a:ext cx="980874" cy="56809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Dam/Lake</a:t>
          </a:r>
        </a:p>
      </dsp:txBody>
      <dsp:txXfrm>
        <a:off x="142351" y="3457252"/>
        <a:ext cx="947596" cy="534817"/>
      </dsp:txXfrm>
    </dsp:sp>
    <dsp:sp modelId="{A49E3DC5-0E0A-4802-9FF8-19749D60574A}">
      <dsp:nvSpPr>
        <dsp:cNvPr id="0" name=""/>
        <dsp:cNvSpPr/>
      </dsp:nvSpPr>
      <dsp:spPr>
        <a:xfrm>
          <a:off x="125712" y="4096108"/>
          <a:ext cx="980874" cy="568095"/>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Glacier</a:t>
          </a:r>
        </a:p>
      </dsp:txBody>
      <dsp:txXfrm>
        <a:off x="142351" y="4112747"/>
        <a:ext cx="947596" cy="534817"/>
      </dsp:txXfrm>
    </dsp:sp>
    <dsp:sp modelId="{4FD24DDE-7D70-45F0-9ADA-1E12A591D2DA}">
      <dsp:nvSpPr>
        <dsp:cNvPr id="0" name=""/>
        <dsp:cNvSpPr/>
      </dsp:nvSpPr>
      <dsp:spPr>
        <a:xfrm>
          <a:off x="1321153" y="0"/>
          <a:ext cx="1226092" cy="4910666"/>
        </a:xfrm>
        <a:prstGeom prst="roundRect">
          <a:avLst/>
        </a:prstGeom>
        <a:solidFill>
          <a:schemeClr val="accent4">
            <a:lumMod val="60000"/>
            <a:lumOff val="40000"/>
          </a:schemeClr>
        </a:solidFill>
        <a:ln>
          <a:solidFill>
            <a:schemeClr val="accent4">
              <a:lumMod val="75000"/>
            </a:schemeClr>
          </a:solid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a:latin typeface="Times New Roman" panose="02020603050405020304"/>
              <a:ea typeface="+mn-ea"/>
              <a:cs typeface="+mn-cs"/>
            </a:rPr>
            <a:t>Planning Horizon</a:t>
          </a:r>
        </a:p>
      </dsp:txBody>
      <dsp:txXfrm>
        <a:off x="1321153" y="0"/>
        <a:ext cx="1226092" cy="1473199"/>
      </dsp:txXfrm>
    </dsp:sp>
    <dsp:sp modelId="{683FF6C4-CBB0-4877-99B3-C67E55BFC765}">
      <dsp:nvSpPr>
        <dsp:cNvPr id="0" name=""/>
        <dsp:cNvSpPr/>
      </dsp:nvSpPr>
      <dsp:spPr>
        <a:xfrm>
          <a:off x="1443762" y="1473319"/>
          <a:ext cx="980874" cy="715379"/>
        </a:xfrm>
        <a:prstGeom prst="round2SameRect">
          <a:avLst>
            <a:gd name="adj1" fmla="val 8000"/>
            <a:gd name="adj2" fmla="val 0"/>
          </a:avLst>
        </a:prstGeom>
        <a:solidFill>
          <a:schemeClr val="accent4">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2030</a:t>
          </a:r>
        </a:p>
      </dsp:txBody>
      <dsp:txXfrm>
        <a:off x="1460524" y="1490081"/>
        <a:ext cx="947350" cy="698617"/>
      </dsp:txXfrm>
    </dsp:sp>
    <dsp:sp modelId="{0B493253-197A-401D-A3EC-9EE6D5B1C472}">
      <dsp:nvSpPr>
        <dsp:cNvPr id="0" name=""/>
        <dsp:cNvSpPr/>
      </dsp:nvSpPr>
      <dsp:spPr>
        <a:xfrm>
          <a:off x="1443762" y="2298757"/>
          <a:ext cx="980874" cy="715379"/>
        </a:xfrm>
        <a:prstGeom prst="roundRect">
          <a:avLst>
            <a:gd name="adj" fmla="val 10000"/>
          </a:avLst>
        </a:prstGeom>
        <a:solidFill>
          <a:schemeClr val="accent4">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2040</a:t>
          </a:r>
        </a:p>
      </dsp:txBody>
      <dsp:txXfrm>
        <a:off x="1464715" y="2319710"/>
        <a:ext cx="938968" cy="673473"/>
      </dsp:txXfrm>
    </dsp:sp>
    <dsp:sp modelId="{75AD852E-355B-420A-B55E-2883E49B2B09}">
      <dsp:nvSpPr>
        <dsp:cNvPr id="0" name=""/>
        <dsp:cNvSpPr/>
      </dsp:nvSpPr>
      <dsp:spPr>
        <a:xfrm>
          <a:off x="1443762" y="3124195"/>
          <a:ext cx="980874" cy="715379"/>
        </a:xfrm>
        <a:prstGeom prst="roundRect">
          <a:avLst>
            <a:gd name="adj" fmla="val 10000"/>
          </a:avLst>
        </a:prstGeom>
        <a:solidFill>
          <a:schemeClr val="accent4">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2050</a:t>
          </a:r>
        </a:p>
      </dsp:txBody>
      <dsp:txXfrm>
        <a:off x="1464715" y="3145148"/>
        <a:ext cx="938968" cy="673473"/>
      </dsp:txXfrm>
    </dsp:sp>
    <dsp:sp modelId="{5417DB4D-C77E-4A93-AF87-AD2C0DE9C8E9}">
      <dsp:nvSpPr>
        <dsp:cNvPr id="0" name=""/>
        <dsp:cNvSpPr/>
      </dsp:nvSpPr>
      <dsp:spPr>
        <a:xfrm>
          <a:off x="1443762" y="3949633"/>
          <a:ext cx="980874" cy="71537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2100</a:t>
          </a:r>
        </a:p>
      </dsp:txBody>
      <dsp:txXfrm>
        <a:off x="1464715" y="3970586"/>
        <a:ext cx="938968" cy="673473"/>
      </dsp:txXfrm>
    </dsp:sp>
    <dsp:sp modelId="{A7EBD67B-0417-46AF-B15C-F8C362167C7E}">
      <dsp:nvSpPr>
        <dsp:cNvPr id="0" name=""/>
        <dsp:cNvSpPr/>
      </dsp:nvSpPr>
      <dsp:spPr>
        <a:xfrm>
          <a:off x="2639202" y="0"/>
          <a:ext cx="1226092" cy="4910666"/>
        </a:xfrm>
        <a:prstGeom prst="round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a:latin typeface="Times New Roman" panose="02020603050405020304"/>
              <a:ea typeface="+mn-ea"/>
              <a:cs typeface="+mn-cs"/>
            </a:rPr>
            <a:t>Hazard</a:t>
          </a:r>
        </a:p>
      </dsp:txBody>
      <dsp:txXfrm>
        <a:off x="2639202" y="0"/>
        <a:ext cx="1226092" cy="1473199"/>
      </dsp:txXfrm>
    </dsp:sp>
    <dsp:sp modelId="{0CC11804-3875-4930-8766-8CDB221CCEC9}">
      <dsp:nvSpPr>
        <dsp:cNvPr id="0" name=""/>
        <dsp:cNvSpPr/>
      </dsp:nvSpPr>
      <dsp:spPr>
        <a:xfrm>
          <a:off x="2761812" y="1473439"/>
          <a:ext cx="980874" cy="471464"/>
        </a:xfrm>
        <a:prstGeom prst="roundRect">
          <a:avLst/>
        </a:prstGeom>
        <a:solidFill>
          <a:schemeClr val="accent4">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Percipitation</a:t>
          </a:r>
        </a:p>
      </dsp:txBody>
      <dsp:txXfrm>
        <a:off x="2784827" y="1496454"/>
        <a:ext cx="934844" cy="425434"/>
      </dsp:txXfrm>
    </dsp:sp>
    <dsp:sp modelId="{7DB1D492-8454-4013-9BEF-B8BC9C5D66BC}">
      <dsp:nvSpPr>
        <dsp:cNvPr id="0" name=""/>
        <dsp:cNvSpPr/>
      </dsp:nvSpPr>
      <dsp:spPr>
        <a:xfrm>
          <a:off x="2761812" y="2017437"/>
          <a:ext cx="980874" cy="47146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Sea Level Rise</a:t>
          </a:r>
        </a:p>
      </dsp:txBody>
      <dsp:txXfrm>
        <a:off x="2775621" y="2031246"/>
        <a:ext cx="953256" cy="443846"/>
      </dsp:txXfrm>
    </dsp:sp>
    <dsp:sp modelId="{2314BA4B-09A5-4C4A-8EF4-DD16254BE0EE}">
      <dsp:nvSpPr>
        <dsp:cNvPr id="0" name=""/>
        <dsp:cNvSpPr/>
      </dsp:nvSpPr>
      <dsp:spPr>
        <a:xfrm>
          <a:off x="2761812" y="2561435"/>
          <a:ext cx="980874" cy="471464"/>
        </a:xfrm>
        <a:prstGeom prst="roundRect">
          <a:avLst>
            <a:gd name="adj" fmla="val 10000"/>
          </a:avLst>
        </a:prstGeom>
        <a:solidFill>
          <a:schemeClr val="accent4">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Heat</a:t>
          </a:r>
        </a:p>
      </dsp:txBody>
      <dsp:txXfrm>
        <a:off x="2775621" y="2575244"/>
        <a:ext cx="953256" cy="443846"/>
      </dsp:txXfrm>
    </dsp:sp>
    <dsp:sp modelId="{D33F3292-576E-4098-9AA1-F98A9E76FF8E}">
      <dsp:nvSpPr>
        <dsp:cNvPr id="0" name=""/>
        <dsp:cNvSpPr/>
      </dsp:nvSpPr>
      <dsp:spPr>
        <a:xfrm>
          <a:off x="2761812" y="3105432"/>
          <a:ext cx="980874" cy="47146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Cold</a:t>
          </a:r>
        </a:p>
      </dsp:txBody>
      <dsp:txXfrm>
        <a:off x="2775621" y="3119241"/>
        <a:ext cx="953256" cy="443846"/>
      </dsp:txXfrm>
    </dsp:sp>
    <dsp:sp modelId="{5BC82F9B-0B2D-415E-B1CC-3B0C0D27CF43}">
      <dsp:nvSpPr>
        <dsp:cNvPr id="0" name=""/>
        <dsp:cNvSpPr/>
      </dsp:nvSpPr>
      <dsp:spPr>
        <a:xfrm>
          <a:off x="2761812" y="3649430"/>
          <a:ext cx="980874" cy="47146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Wind</a:t>
          </a:r>
        </a:p>
      </dsp:txBody>
      <dsp:txXfrm>
        <a:off x="2775621" y="3663239"/>
        <a:ext cx="953256" cy="443846"/>
      </dsp:txXfrm>
    </dsp:sp>
    <dsp:sp modelId="{C3431DFE-5226-4433-9413-D5DF05A00B66}">
      <dsp:nvSpPr>
        <dsp:cNvPr id="0" name=""/>
        <dsp:cNvSpPr/>
      </dsp:nvSpPr>
      <dsp:spPr>
        <a:xfrm>
          <a:off x="2761812" y="4193428"/>
          <a:ext cx="980874" cy="471464"/>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Storm Surge</a:t>
          </a:r>
          <a:endParaRPr lang="en-US" sz="1300" kern="1200"/>
        </a:p>
      </dsp:txBody>
      <dsp:txXfrm>
        <a:off x="2775621" y="4207237"/>
        <a:ext cx="953256" cy="443846"/>
      </dsp:txXfrm>
    </dsp:sp>
    <dsp:sp modelId="{427054C7-1136-44E4-866C-A10DB3570D9F}">
      <dsp:nvSpPr>
        <dsp:cNvPr id="0" name=""/>
        <dsp:cNvSpPr/>
      </dsp:nvSpPr>
      <dsp:spPr>
        <a:xfrm>
          <a:off x="3957252" y="0"/>
          <a:ext cx="1226092" cy="4910666"/>
        </a:xfrm>
        <a:prstGeom prst="round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a:latin typeface="Times New Roman" panose="02020603050405020304"/>
              <a:ea typeface="+mn-ea"/>
              <a:cs typeface="+mn-cs"/>
            </a:rPr>
            <a:t>Concern</a:t>
          </a:r>
        </a:p>
      </dsp:txBody>
      <dsp:txXfrm>
        <a:off x="3957252" y="0"/>
        <a:ext cx="1226092" cy="1473199"/>
      </dsp:txXfrm>
    </dsp:sp>
    <dsp:sp modelId="{8237130C-CFC1-458B-B4C8-4DBAF4D22636}">
      <dsp:nvSpPr>
        <dsp:cNvPr id="0" name=""/>
        <dsp:cNvSpPr/>
      </dsp:nvSpPr>
      <dsp:spPr>
        <a:xfrm>
          <a:off x="4079861" y="1473319"/>
          <a:ext cx="980874" cy="715379"/>
        </a:xfrm>
        <a:prstGeom prst="roundRect">
          <a:avLst/>
        </a:prstGeom>
        <a:solidFill>
          <a:schemeClr val="accent4">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Flood</a:t>
          </a:r>
        </a:p>
      </dsp:txBody>
      <dsp:txXfrm>
        <a:off x="4114783" y="1508241"/>
        <a:ext cx="911030" cy="645535"/>
      </dsp:txXfrm>
    </dsp:sp>
    <dsp:sp modelId="{25770E3C-D575-434C-9FA3-9B4B4E5F51D3}">
      <dsp:nvSpPr>
        <dsp:cNvPr id="0" name=""/>
        <dsp:cNvSpPr/>
      </dsp:nvSpPr>
      <dsp:spPr>
        <a:xfrm>
          <a:off x="4079861" y="2298757"/>
          <a:ext cx="980874" cy="715379"/>
        </a:xfrm>
        <a:prstGeom prst="roundRect">
          <a:avLst>
            <a:gd name="adj" fmla="val 10000"/>
          </a:avLst>
        </a:prstGeom>
        <a:solidFill>
          <a:schemeClr val="accent4">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Landslide</a:t>
          </a:r>
        </a:p>
      </dsp:txBody>
      <dsp:txXfrm>
        <a:off x="4100814" y="2319710"/>
        <a:ext cx="938968" cy="673473"/>
      </dsp:txXfrm>
    </dsp:sp>
    <dsp:sp modelId="{FEBDB620-9732-485A-BF23-75777F50BF53}">
      <dsp:nvSpPr>
        <dsp:cNvPr id="0" name=""/>
        <dsp:cNvSpPr/>
      </dsp:nvSpPr>
      <dsp:spPr>
        <a:xfrm>
          <a:off x="4079861" y="3124195"/>
          <a:ext cx="980874" cy="71537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Material Failure</a:t>
          </a:r>
        </a:p>
      </dsp:txBody>
      <dsp:txXfrm>
        <a:off x="4100814" y="3145148"/>
        <a:ext cx="938968" cy="673473"/>
      </dsp:txXfrm>
    </dsp:sp>
    <dsp:sp modelId="{FCADB838-A3CA-4A8D-AEC9-14EC767CCF35}">
      <dsp:nvSpPr>
        <dsp:cNvPr id="0" name=""/>
        <dsp:cNvSpPr/>
      </dsp:nvSpPr>
      <dsp:spPr>
        <a:xfrm>
          <a:off x="4079861" y="3949633"/>
          <a:ext cx="980874" cy="71537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Snow/Ice</a:t>
          </a:r>
        </a:p>
      </dsp:txBody>
      <dsp:txXfrm>
        <a:off x="4100814" y="3970586"/>
        <a:ext cx="938968" cy="673473"/>
      </dsp:txXfrm>
    </dsp:sp>
    <dsp:sp modelId="{13CA8D46-D4CC-4ADF-A576-ED1A5A75012F}">
      <dsp:nvSpPr>
        <dsp:cNvPr id="0" name=""/>
        <dsp:cNvSpPr/>
      </dsp:nvSpPr>
      <dsp:spPr>
        <a:xfrm>
          <a:off x="5275302" y="0"/>
          <a:ext cx="1226092" cy="4910666"/>
        </a:xfrm>
        <a:prstGeom prst="round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a:latin typeface="Times New Roman" panose="02020603050405020304"/>
              <a:ea typeface="+mn-ea"/>
              <a:cs typeface="+mn-cs"/>
            </a:rPr>
            <a:t>RCP</a:t>
          </a:r>
        </a:p>
      </dsp:txBody>
      <dsp:txXfrm>
        <a:off x="5275302" y="0"/>
        <a:ext cx="1226092" cy="1473199"/>
      </dsp:txXfrm>
    </dsp:sp>
    <dsp:sp modelId="{2D9E9755-6C19-4D9F-8697-2A78908BB979}">
      <dsp:nvSpPr>
        <dsp:cNvPr id="0" name=""/>
        <dsp:cNvSpPr/>
      </dsp:nvSpPr>
      <dsp:spPr>
        <a:xfrm>
          <a:off x="5397911" y="1473619"/>
          <a:ext cx="980874" cy="964749"/>
        </a:xfrm>
        <a:prstGeom prst="round2SameRect">
          <a:avLst>
            <a:gd name="adj1" fmla="val 8000"/>
            <a:gd name="adj2" fmla="val 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b="0" kern="1200">
              <a:latin typeface="Times New Roman" panose="02020603050405020304"/>
              <a:ea typeface="+mn-ea"/>
              <a:cs typeface="+mn-cs"/>
            </a:rPr>
            <a:t>RCP 8.5</a:t>
          </a:r>
        </a:p>
      </dsp:txBody>
      <dsp:txXfrm>
        <a:off x="5420516" y="1496224"/>
        <a:ext cx="935664" cy="942144"/>
      </dsp:txXfrm>
    </dsp:sp>
    <dsp:sp modelId="{4AE5FFDD-1BF1-4B95-82F9-DE99E74A98AF}">
      <dsp:nvSpPr>
        <dsp:cNvPr id="0" name=""/>
        <dsp:cNvSpPr/>
      </dsp:nvSpPr>
      <dsp:spPr>
        <a:xfrm>
          <a:off x="5397911" y="2586791"/>
          <a:ext cx="980874" cy="964749"/>
        </a:xfrm>
        <a:prstGeom prst="roundRect">
          <a:avLst>
            <a:gd name="adj" fmla="val 10000"/>
          </a:avLst>
        </a:prstGeom>
        <a:solidFill>
          <a:schemeClr val="accent4">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b="0" kern="1200">
              <a:latin typeface="Times New Roman" panose="02020603050405020304"/>
              <a:ea typeface="+mn-ea"/>
              <a:cs typeface="+mn-cs"/>
            </a:rPr>
            <a:t>RCP 6</a:t>
          </a:r>
        </a:p>
      </dsp:txBody>
      <dsp:txXfrm>
        <a:off x="5426168" y="2615048"/>
        <a:ext cx="924360" cy="908235"/>
      </dsp:txXfrm>
    </dsp:sp>
    <dsp:sp modelId="{0E8CD5D9-1964-4D84-84BA-638805FD3C5D}">
      <dsp:nvSpPr>
        <dsp:cNvPr id="0" name=""/>
        <dsp:cNvSpPr/>
      </dsp:nvSpPr>
      <dsp:spPr>
        <a:xfrm>
          <a:off x="5397911" y="3699963"/>
          <a:ext cx="980874" cy="964749"/>
        </a:xfrm>
        <a:prstGeom prst="roundRect">
          <a:avLst>
            <a:gd name="adj" fmla="val 10000"/>
          </a:avLst>
        </a:prstGeom>
        <a:solidFill>
          <a:schemeClr val="accent4">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b="0" kern="1200">
              <a:latin typeface="Times New Roman" panose="02020603050405020304"/>
              <a:ea typeface="+mn-ea"/>
              <a:cs typeface="+mn-cs"/>
            </a:rPr>
            <a:t>RCP 4.5</a:t>
          </a:r>
        </a:p>
      </dsp:txBody>
      <dsp:txXfrm>
        <a:off x="5426168" y="3728220"/>
        <a:ext cx="924360" cy="908235"/>
      </dsp:txXfrm>
    </dsp:sp>
    <dsp:sp modelId="{27591124-774B-46CA-899A-9DE9E08D368C}">
      <dsp:nvSpPr>
        <dsp:cNvPr id="0" name=""/>
        <dsp:cNvSpPr/>
      </dsp:nvSpPr>
      <dsp:spPr>
        <a:xfrm>
          <a:off x="6593351" y="0"/>
          <a:ext cx="1226092" cy="4910666"/>
        </a:xfrm>
        <a:prstGeom prst="roundRect">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r>
            <a:rPr lang="en-US" sz="1700" b="1" kern="1200">
              <a:latin typeface="Times New Roman" panose="02020603050405020304"/>
              <a:ea typeface="+mn-ea"/>
              <a:cs typeface="+mn-cs"/>
            </a:rPr>
            <a:t>Confidence</a:t>
          </a:r>
        </a:p>
      </dsp:txBody>
      <dsp:txXfrm>
        <a:off x="6593351" y="0"/>
        <a:ext cx="1226092" cy="1473199"/>
      </dsp:txXfrm>
    </dsp:sp>
    <dsp:sp modelId="{553F750D-4F62-4DE8-8E31-65D8991E5DDE}">
      <dsp:nvSpPr>
        <dsp:cNvPr id="0" name=""/>
        <dsp:cNvSpPr/>
      </dsp:nvSpPr>
      <dsp:spPr>
        <a:xfrm>
          <a:off x="6715961" y="1473319"/>
          <a:ext cx="980874" cy="715379"/>
        </a:xfrm>
        <a:prstGeom prst="round2SameRect">
          <a:avLst>
            <a:gd name="adj1" fmla="val 8000"/>
            <a:gd name="adj2" fmla="val 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95th %</a:t>
          </a:r>
        </a:p>
      </dsp:txBody>
      <dsp:txXfrm>
        <a:off x="6732723" y="1490081"/>
        <a:ext cx="947350" cy="698617"/>
      </dsp:txXfrm>
    </dsp:sp>
    <dsp:sp modelId="{17CC3CF1-D57E-4CE2-88DC-3295D8EB1AA5}">
      <dsp:nvSpPr>
        <dsp:cNvPr id="0" name=""/>
        <dsp:cNvSpPr/>
      </dsp:nvSpPr>
      <dsp:spPr>
        <a:xfrm>
          <a:off x="6715961" y="2298757"/>
          <a:ext cx="980874" cy="715379"/>
        </a:xfrm>
        <a:prstGeom prst="roundRect">
          <a:avLst>
            <a:gd name="adj" fmla="val 10000"/>
          </a:avLst>
        </a:prstGeom>
        <a:solidFill>
          <a:schemeClr val="accent4">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75th %</a:t>
          </a:r>
        </a:p>
      </dsp:txBody>
      <dsp:txXfrm>
        <a:off x="6736914" y="2319710"/>
        <a:ext cx="938968" cy="673473"/>
      </dsp:txXfrm>
    </dsp:sp>
    <dsp:sp modelId="{3AFB6A47-98C1-4448-BD2B-0207C5C095F4}">
      <dsp:nvSpPr>
        <dsp:cNvPr id="0" name=""/>
        <dsp:cNvSpPr/>
      </dsp:nvSpPr>
      <dsp:spPr>
        <a:xfrm>
          <a:off x="6715961" y="3124195"/>
          <a:ext cx="980874" cy="715379"/>
        </a:xfrm>
        <a:prstGeom prst="roundRect">
          <a:avLst>
            <a:gd name="adj" fmla="val 10000"/>
          </a:avLst>
        </a:prstGeom>
        <a:solidFill>
          <a:schemeClr val="accent4">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50th %</a:t>
          </a:r>
        </a:p>
      </dsp:txBody>
      <dsp:txXfrm>
        <a:off x="6736914" y="3145148"/>
        <a:ext cx="938968" cy="673473"/>
      </dsp:txXfrm>
    </dsp:sp>
    <dsp:sp modelId="{44DF4F1E-C3CE-4E69-8FE0-FB81A896E57D}">
      <dsp:nvSpPr>
        <dsp:cNvPr id="0" name=""/>
        <dsp:cNvSpPr/>
      </dsp:nvSpPr>
      <dsp:spPr>
        <a:xfrm>
          <a:off x="6715961" y="3949633"/>
          <a:ext cx="980874" cy="715379"/>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020" tIns="24765" rIns="33020" bIns="24765" numCol="1" spcCol="1270" anchor="ctr" anchorCtr="0">
          <a:noAutofit/>
        </a:bodyPr>
        <a:lstStyle/>
        <a:p>
          <a:pPr lvl="0" algn="ctr" defTabSz="577850">
            <a:lnSpc>
              <a:spcPct val="90000"/>
            </a:lnSpc>
            <a:spcBef>
              <a:spcPct val="0"/>
            </a:spcBef>
            <a:spcAft>
              <a:spcPct val="35000"/>
            </a:spcAft>
          </a:pPr>
          <a:r>
            <a:rPr lang="en-US" sz="1300" kern="1200">
              <a:latin typeface="Times New Roman" panose="02020603050405020304"/>
              <a:ea typeface="+mn-ea"/>
              <a:cs typeface="+mn-cs"/>
            </a:rPr>
            <a:t>25th %</a:t>
          </a:r>
        </a:p>
      </dsp:txBody>
      <dsp:txXfrm>
        <a:off x="6736914" y="3970586"/>
        <a:ext cx="938968" cy="67347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E1C306-2CA4-4074-84B1-B9BFC0D31AF5}">
      <dsp:nvSpPr>
        <dsp:cNvPr id="0" name=""/>
        <dsp:cNvSpPr/>
      </dsp:nvSpPr>
      <dsp:spPr>
        <a:xfrm flipH="1">
          <a:off x="3551990" y="0"/>
          <a:ext cx="3815648" cy="4925959"/>
        </a:xfrm>
        <a:prstGeom prst="roundRect">
          <a:avLst/>
        </a:prstGeom>
        <a:solidFill>
          <a:schemeClr val="accent2">
            <a:tint val="5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BE5945A-5E54-4941-AA71-AEAE25209639}">
      <dsp:nvSpPr>
        <dsp:cNvPr id="0" name=""/>
        <dsp:cNvSpPr/>
      </dsp:nvSpPr>
      <dsp:spPr>
        <a:xfrm>
          <a:off x="962681" y="1836102"/>
          <a:ext cx="2703096" cy="2686618"/>
        </a:xfrm>
        <a:prstGeom prst="rect">
          <a:avLst/>
        </a:prstGeom>
        <a:noFill/>
        <a:ln w="38100" cap="flat" cmpd="sng" algn="ctr">
          <a:noFill/>
          <a:prstDash val="solid"/>
        </a:ln>
        <a:effectLst>
          <a:outerShdw blurRad="40000" dist="20000" dir="5400000" rotWithShape="0">
            <a:srgbClr val="000000">
              <a:alpha val="38000"/>
            </a:srgbClr>
          </a:outerShdw>
        </a:effectLst>
        <a:sp3d/>
      </dsp:spPr>
      <dsp:style>
        <a:lnRef idx="3">
          <a:scrgbClr r="0" g="0" b="0"/>
        </a:lnRef>
        <a:fillRef idx="1">
          <a:scrgbClr r="0" g="0" b="0"/>
        </a:fillRef>
        <a:effectRef idx="1">
          <a:scrgbClr r="0" g="0" b="0"/>
        </a:effectRef>
        <a:fontRef idx="minor">
          <a:schemeClr val="lt1"/>
        </a:fontRef>
      </dsp:style>
      <dsp:txBody>
        <a:bodyPr spcFirstLastPara="0" vert="horz" wrap="square" lIns="165100" tIns="165100" rIns="165100" bIns="165100" numCol="1" spcCol="1270" anchor="b" anchorCtr="0">
          <a:noAutofit/>
        </a:bodyPr>
        <a:lstStyle/>
        <a:p>
          <a:pPr lvl="0" algn="l" defTabSz="2889250">
            <a:lnSpc>
              <a:spcPct val="90000"/>
            </a:lnSpc>
            <a:spcBef>
              <a:spcPct val="0"/>
            </a:spcBef>
            <a:spcAft>
              <a:spcPct val="35000"/>
            </a:spcAft>
          </a:pPr>
          <a:endParaRPr lang="en-US" sz="6500" kern="1200" dirty="0"/>
        </a:p>
      </dsp:txBody>
      <dsp:txXfrm>
        <a:off x="962681" y="1836102"/>
        <a:ext cx="2703096" cy="2686618"/>
      </dsp:txXfrm>
    </dsp:sp>
    <dsp:sp modelId="{58BEC78A-E748-4AA5-9F8D-1E0851BBB91E}">
      <dsp:nvSpPr>
        <dsp:cNvPr id="0" name=""/>
        <dsp:cNvSpPr/>
      </dsp:nvSpPr>
      <dsp:spPr>
        <a:xfrm>
          <a:off x="3790860" y="246"/>
          <a:ext cx="1083830" cy="1083830"/>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B6E2AEA7-9D17-4D9F-BF98-992626917D36}">
      <dsp:nvSpPr>
        <dsp:cNvPr id="0" name=""/>
        <dsp:cNvSpPr/>
      </dsp:nvSpPr>
      <dsp:spPr>
        <a:xfrm>
          <a:off x="4874690" y="246"/>
          <a:ext cx="1823254" cy="1083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24130" rIns="48260" bIns="24130" numCol="1" spcCol="1270" anchor="t" anchorCtr="0">
          <a:noAutofit/>
        </a:bodyPr>
        <a:lstStyle/>
        <a:p>
          <a:pPr lvl="0" algn="l" defTabSz="844550">
            <a:lnSpc>
              <a:spcPct val="90000"/>
            </a:lnSpc>
            <a:spcBef>
              <a:spcPct val="0"/>
            </a:spcBef>
            <a:spcAft>
              <a:spcPct val="35000"/>
            </a:spcAft>
          </a:pPr>
          <a:r>
            <a:rPr lang="en-US" sz="1900" kern="1200" dirty="0" smtClean="0"/>
            <a:t>Operations</a:t>
          </a:r>
          <a:endParaRPr lang="en-US" sz="1900" kern="1200" dirty="0"/>
        </a:p>
        <a:p>
          <a:pPr marL="114300" lvl="1" indent="-114300" algn="l" defTabSz="666750">
            <a:lnSpc>
              <a:spcPct val="90000"/>
            </a:lnSpc>
            <a:spcBef>
              <a:spcPct val="0"/>
            </a:spcBef>
            <a:spcAft>
              <a:spcPct val="15000"/>
            </a:spcAft>
            <a:buChar char="••"/>
          </a:pPr>
          <a:r>
            <a:rPr lang="en-US" sz="1500" kern="1200" dirty="0" smtClean="0"/>
            <a:t>Snow Removal</a:t>
          </a:r>
          <a:endParaRPr lang="en-US" sz="1500" kern="1200" dirty="0"/>
        </a:p>
        <a:p>
          <a:pPr marL="114300" lvl="1" indent="-114300" algn="l" defTabSz="666750">
            <a:lnSpc>
              <a:spcPct val="90000"/>
            </a:lnSpc>
            <a:spcBef>
              <a:spcPct val="0"/>
            </a:spcBef>
            <a:spcAft>
              <a:spcPct val="15000"/>
            </a:spcAft>
            <a:buChar char="••"/>
          </a:pPr>
          <a:r>
            <a:rPr lang="en-US" sz="1500" kern="1200" dirty="0" smtClean="0"/>
            <a:t>Electrical Costs</a:t>
          </a:r>
          <a:endParaRPr lang="en-US" sz="1500" kern="1200" dirty="0"/>
        </a:p>
        <a:p>
          <a:pPr marL="114300" lvl="1" indent="-114300" algn="l" defTabSz="666750">
            <a:lnSpc>
              <a:spcPct val="90000"/>
            </a:lnSpc>
            <a:spcBef>
              <a:spcPct val="0"/>
            </a:spcBef>
            <a:spcAft>
              <a:spcPct val="15000"/>
            </a:spcAft>
            <a:buChar char="••"/>
          </a:pPr>
          <a:endParaRPr lang="en-US" sz="1500" kern="1200" dirty="0"/>
        </a:p>
      </dsp:txBody>
      <dsp:txXfrm>
        <a:off x="4874690" y="246"/>
        <a:ext cx="1823254" cy="1083830"/>
      </dsp:txXfrm>
    </dsp:sp>
    <dsp:sp modelId="{78413FD4-08FA-4382-AA29-48CB56D11F16}">
      <dsp:nvSpPr>
        <dsp:cNvPr id="0" name=""/>
        <dsp:cNvSpPr/>
      </dsp:nvSpPr>
      <dsp:spPr>
        <a:xfrm>
          <a:off x="3790860" y="1279165"/>
          <a:ext cx="1083830" cy="1083830"/>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3000" r="-23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1E3FCE25-16C6-4707-834B-4C4AABE8EEE9}">
      <dsp:nvSpPr>
        <dsp:cNvPr id="0" name=""/>
        <dsp:cNvSpPr/>
      </dsp:nvSpPr>
      <dsp:spPr>
        <a:xfrm>
          <a:off x="4874690" y="1279165"/>
          <a:ext cx="1823254" cy="1083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24130" rIns="48260" bIns="24130" numCol="1" spcCol="1270" anchor="t" anchorCtr="0">
          <a:noAutofit/>
        </a:bodyPr>
        <a:lstStyle/>
        <a:p>
          <a:pPr lvl="0" algn="l" defTabSz="844550">
            <a:lnSpc>
              <a:spcPct val="90000"/>
            </a:lnSpc>
            <a:spcBef>
              <a:spcPct val="0"/>
            </a:spcBef>
            <a:spcAft>
              <a:spcPct val="35000"/>
            </a:spcAft>
          </a:pPr>
          <a:r>
            <a:rPr lang="en-US" sz="1900" kern="1200" dirty="0"/>
            <a:t> </a:t>
          </a:r>
          <a:r>
            <a:rPr lang="en-US" sz="1900" kern="1200" dirty="0" smtClean="0"/>
            <a:t>Maintenance</a:t>
          </a:r>
          <a:endParaRPr lang="en-US" sz="1900" kern="1200" dirty="0"/>
        </a:p>
        <a:p>
          <a:pPr marL="114300" lvl="1" indent="-114300" algn="l" defTabSz="666750">
            <a:lnSpc>
              <a:spcPct val="90000"/>
            </a:lnSpc>
            <a:spcBef>
              <a:spcPct val="0"/>
            </a:spcBef>
            <a:spcAft>
              <a:spcPct val="15000"/>
            </a:spcAft>
            <a:buChar char="••"/>
          </a:pPr>
          <a:r>
            <a:rPr lang="en-US" sz="1500" kern="1200" dirty="0" smtClean="0"/>
            <a:t>Pump Replacements</a:t>
          </a:r>
          <a:endParaRPr lang="en-US" sz="1500" kern="1200" dirty="0"/>
        </a:p>
        <a:p>
          <a:pPr marL="114300" lvl="1" indent="-114300" algn="l" defTabSz="666750">
            <a:lnSpc>
              <a:spcPct val="90000"/>
            </a:lnSpc>
            <a:spcBef>
              <a:spcPct val="0"/>
            </a:spcBef>
            <a:spcAft>
              <a:spcPct val="15000"/>
            </a:spcAft>
            <a:buChar char="••"/>
          </a:pPr>
          <a:r>
            <a:rPr lang="en-US" sz="1500" kern="1200" dirty="0" smtClean="0"/>
            <a:t>Asphalt Wear</a:t>
          </a:r>
          <a:endParaRPr lang="en-US" sz="1500" kern="1200" dirty="0"/>
        </a:p>
        <a:p>
          <a:pPr marL="114300" lvl="1" indent="-114300" algn="l" defTabSz="666750">
            <a:lnSpc>
              <a:spcPct val="90000"/>
            </a:lnSpc>
            <a:spcBef>
              <a:spcPct val="0"/>
            </a:spcBef>
            <a:spcAft>
              <a:spcPct val="15000"/>
            </a:spcAft>
            <a:buChar char="••"/>
          </a:pPr>
          <a:endParaRPr lang="en-US" sz="1500" kern="1200" dirty="0"/>
        </a:p>
      </dsp:txBody>
      <dsp:txXfrm>
        <a:off x="4874690" y="1279165"/>
        <a:ext cx="1823254" cy="1083830"/>
      </dsp:txXfrm>
    </dsp:sp>
    <dsp:sp modelId="{B897D277-5C1C-491D-8AD9-6079B3389156}">
      <dsp:nvSpPr>
        <dsp:cNvPr id="0" name=""/>
        <dsp:cNvSpPr/>
      </dsp:nvSpPr>
      <dsp:spPr>
        <a:xfrm>
          <a:off x="3790860" y="2558085"/>
          <a:ext cx="1083830" cy="1083830"/>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6F94229-04DE-4AAF-92AA-5BDC6BB793CA}">
      <dsp:nvSpPr>
        <dsp:cNvPr id="0" name=""/>
        <dsp:cNvSpPr/>
      </dsp:nvSpPr>
      <dsp:spPr>
        <a:xfrm>
          <a:off x="4874690" y="2558085"/>
          <a:ext cx="1823254" cy="1083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24130" rIns="48260" bIns="24130" numCol="1" spcCol="1270" anchor="t" anchorCtr="0">
          <a:noAutofit/>
        </a:bodyPr>
        <a:lstStyle/>
        <a:p>
          <a:pPr lvl="0" algn="l" defTabSz="844550">
            <a:lnSpc>
              <a:spcPct val="90000"/>
            </a:lnSpc>
            <a:spcBef>
              <a:spcPct val="0"/>
            </a:spcBef>
            <a:spcAft>
              <a:spcPct val="35000"/>
            </a:spcAft>
          </a:pPr>
          <a:r>
            <a:rPr lang="en-US" sz="1900" kern="1200" dirty="0"/>
            <a:t> </a:t>
          </a:r>
          <a:r>
            <a:rPr lang="en-US" sz="1900" kern="1200" dirty="0" smtClean="0"/>
            <a:t>Payments</a:t>
          </a:r>
          <a:endParaRPr lang="en-US" sz="1900" kern="1200" dirty="0"/>
        </a:p>
        <a:p>
          <a:pPr marL="114300" lvl="1" indent="-114300" algn="l" defTabSz="666750">
            <a:lnSpc>
              <a:spcPct val="90000"/>
            </a:lnSpc>
            <a:spcBef>
              <a:spcPct val="0"/>
            </a:spcBef>
            <a:spcAft>
              <a:spcPct val="15000"/>
            </a:spcAft>
            <a:buChar char="••"/>
          </a:pPr>
          <a:r>
            <a:rPr lang="en-US" sz="1500" kern="1200" dirty="0" smtClean="0"/>
            <a:t>Failed KPIs</a:t>
          </a:r>
          <a:endParaRPr lang="en-US" sz="1500" kern="1200" dirty="0"/>
        </a:p>
        <a:p>
          <a:pPr marL="114300" lvl="1" indent="-114300" algn="l" defTabSz="666750">
            <a:lnSpc>
              <a:spcPct val="90000"/>
            </a:lnSpc>
            <a:spcBef>
              <a:spcPct val="0"/>
            </a:spcBef>
            <a:spcAft>
              <a:spcPct val="15000"/>
            </a:spcAft>
            <a:buChar char="••"/>
          </a:pPr>
          <a:r>
            <a:rPr lang="en-US" sz="1500" kern="1200" dirty="0" smtClean="0"/>
            <a:t>Availability Loss</a:t>
          </a:r>
          <a:endParaRPr lang="en-US" sz="1500" kern="1200" dirty="0"/>
        </a:p>
        <a:p>
          <a:pPr marL="114300" lvl="1" indent="-114300" algn="l" defTabSz="666750">
            <a:lnSpc>
              <a:spcPct val="90000"/>
            </a:lnSpc>
            <a:spcBef>
              <a:spcPct val="0"/>
            </a:spcBef>
            <a:spcAft>
              <a:spcPct val="15000"/>
            </a:spcAft>
            <a:buChar char="••"/>
          </a:pPr>
          <a:endParaRPr lang="en-US" sz="1500" kern="1200" dirty="0"/>
        </a:p>
      </dsp:txBody>
      <dsp:txXfrm>
        <a:off x="4874690" y="2558085"/>
        <a:ext cx="1823254" cy="1083830"/>
      </dsp:txXfrm>
    </dsp:sp>
    <dsp:sp modelId="{57EC1BD6-18E4-4015-8F7A-092B0F9617C5}">
      <dsp:nvSpPr>
        <dsp:cNvPr id="0" name=""/>
        <dsp:cNvSpPr/>
      </dsp:nvSpPr>
      <dsp:spPr>
        <a:xfrm>
          <a:off x="3790860" y="3837005"/>
          <a:ext cx="1083830" cy="1083830"/>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18370E7-8634-4BC6-9249-99505A31F8E3}">
      <dsp:nvSpPr>
        <dsp:cNvPr id="0" name=""/>
        <dsp:cNvSpPr/>
      </dsp:nvSpPr>
      <dsp:spPr>
        <a:xfrm>
          <a:off x="4874690" y="3837005"/>
          <a:ext cx="1823254" cy="1083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8260" tIns="24130" rIns="48260" bIns="24130" numCol="1" spcCol="1270" anchor="t" anchorCtr="0">
          <a:noAutofit/>
        </a:bodyPr>
        <a:lstStyle/>
        <a:p>
          <a:pPr lvl="0" algn="l" defTabSz="844550">
            <a:lnSpc>
              <a:spcPct val="90000"/>
            </a:lnSpc>
            <a:spcBef>
              <a:spcPct val="0"/>
            </a:spcBef>
            <a:spcAft>
              <a:spcPct val="35000"/>
            </a:spcAft>
          </a:pPr>
          <a:r>
            <a:rPr lang="en-US" sz="1900" kern="1200" dirty="0" smtClean="0"/>
            <a:t>Usage</a:t>
          </a:r>
          <a:endParaRPr lang="en-US" sz="1900" kern="1200" dirty="0"/>
        </a:p>
        <a:p>
          <a:pPr marL="114300" lvl="1" indent="-114300" algn="l" defTabSz="666750">
            <a:lnSpc>
              <a:spcPct val="90000"/>
            </a:lnSpc>
            <a:spcBef>
              <a:spcPct val="0"/>
            </a:spcBef>
            <a:spcAft>
              <a:spcPct val="15000"/>
            </a:spcAft>
            <a:buChar char="••"/>
          </a:pPr>
          <a:r>
            <a:rPr lang="en-US" sz="1500" kern="1200" dirty="0" smtClean="0"/>
            <a:t>Revenue</a:t>
          </a:r>
          <a:endParaRPr lang="en-US" sz="1500" kern="1200" dirty="0"/>
        </a:p>
        <a:p>
          <a:pPr marL="114300" lvl="1" indent="-114300" algn="l" defTabSz="666750">
            <a:lnSpc>
              <a:spcPct val="90000"/>
            </a:lnSpc>
            <a:spcBef>
              <a:spcPct val="0"/>
            </a:spcBef>
            <a:spcAft>
              <a:spcPct val="15000"/>
            </a:spcAft>
            <a:buChar char="••"/>
          </a:pPr>
          <a:r>
            <a:rPr lang="en-US" sz="1500" kern="1200" dirty="0" smtClean="0"/>
            <a:t>Funding</a:t>
          </a:r>
          <a:endParaRPr lang="en-US" sz="1500" kern="1200" dirty="0"/>
        </a:p>
        <a:p>
          <a:pPr marL="114300" lvl="1" indent="-114300" algn="l" defTabSz="666750">
            <a:lnSpc>
              <a:spcPct val="90000"/>
            </a:lnSpc>
            <a:spcBef>
              <a:spcPct val="0"/>
            </a:spcBef>
            <a:spcAft>
              <a:spcPct val="15000"/>
            </a:spcAft>
            <a:buChar char="••"/>
          </a:pPr>
          <a:endParaRPr lang="en-US" sz="1500" kern="1200" dirty="0"/>
        </a:p>
      </dsp:txBody>
      <dsp:txXfrm>
        <a:off x="4874690" y="3837005"/>
        <a:ext cx="1823254" cy="108383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125431-6238-4FCE-AEBA-CD584719F6C9}">
      <dsp:nvSpPr>
        <dsp:cNvPr id="0" name=""/>
        <dsp:cNvSpPr/>
      </dsp:nvSpPr>
      <dsp:spPr>
        <a:xfrm>
          <a:off x="1856586" y="397045"/>
          <a:ext cx="1863032" cy="1768013"/>
        </a:xfrm>
        <a:prstGeom prst="ellipse">
          <a:avLst/>
        </a:prstGeom>
        <a:blipFill>
          <a:blip xmlns:r="http://schemas.openxmlformats.org/officeDocument/2006/relationships" r:embed="rId1">
            <a:duotone>
              <a:schemeClr val="accent2">
                <a:shade val="45000"/>
                <a:satMod val="135000"/>
              </a:schemeClr>
              <a:prstClr val="white"/>
            </a:duotone>
            <a:extLst>
              <a:ext uri="{28A0092B-C50C-407E-A947-70E740481C1C}">
                <a14:useLocalDpi xmlns:a14="http://schemas.microsoft.com/office/drawing/2010/main" val="0"/>
              </a:ext>
            </a:extLst>
          </a:blip>
          <a:srcRect/>
          <a:stretch>
            <a:fillRect t="-3000" b="-3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D0E88EA-4B09-422A-8FB1-A477460CE6A2}">
      <dsp:nvSpPr>
        <dsp:cNvPr id="0" name=""/>
        <dsp:cNvSpPr/>
      </dsp:nvSpPr>
      <dsp:spPr>
        <a:xfrm>
          <a:off x="366858" y="256301"/>
          <a:ext cx="1867344" cy="4914529"/>
        </a:xfrm>
        <a:prstGeom prst="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1" kern="1200" dirty="0" smtClean="0"/>
            <a:t>1 – Repair Costs</a:t>
          </a:r>
        </a:p>
        <a:p>
          <a:pPr lvl="0" algn="l" defTabSz="711200">
            <a:lnSpc>
              <a:spcPct val="90000"/>
            </a:lnSpc>
            <a:spcBef>
              <a:spcPct val="0"/>
            </a:spcBef>
            <a:spcAft>
              <a:spcPct val="35000"/>
            </a:spcAft>
          </a:pPr>
          <a:r>
            <a:rPr lang="en-US" sz="1600" b="1" kern="1200" dirty="0" smtClean="0"/>
            <a:t>2 – O&amp;M Costs</a:t>
          </a:r>
        </a:p>
        <a:p>
          <a:pPr lvl="0" algn="l" defTabSz="711200">
            <a:lnSpc>
              <a:spcPct val="90000"/>
            </a:lnSpc>
            <a:spcBef>
              <a:spcPct val="0"/>
            </a:spcBef>
            <a:spcAft>
              <a:spcPct val="35000"/>
            </a:spcAft>
          </a:pPr>
          <a:r>
            <a:rPr lang="en-US" sz="1600" b="1" kern="1200" dirty="0" smtClean="0"/>
            <a:t>3 – Deductions</a:t>
          </a:r>
        </a:p>
        <a:p>
          <a:pPr lvl="0" algn="l" defTabSz="711200">
            <a:lnSpc>
              <a:spcPct val="90000"/>
            </a:lnSpc>
            <a:spcBef>
              <a:spcPct val="0"/>
            </a:spcBef>
            <a:spcAft>
              <a:spcPct val="35000"/>
            </a:spcAft>
          </a:pPr>
          <a:endParaRPr lang="en-US" sz="1200" b="1" kern="1200" dirty="0" smtClean="0"/>
        </a:p>
        <a:p>
          <a:pPr lvl="0" algn="l" defTabSz="711200">
            <a:lnSpc>
              <a:spcPct val="150000"/>
            </a:lnSpc>
            <a:spcBef>
              <a:spcPct val="0"/>
            </a:spcBef>
            <a:spcAft>
              <a:spcPct val="35000"/>
            </a:spcAft>
          </a:pPr>
          <a:r>
            <a:rPr lang="en-US" sz="1200" b="1" kern="1200" dirty="0" smtClean="0"/>
            <a:t>Example:</a:t>
          </a:r>
          <a:r>
            <a:rPr lang="en-US" sz="1200" kern="1200" dirty="0" smtClean="0"/>
            <a:t> </a:t>
          </a:r>
        </a:p>
        <a:p>
          <a:pPr lvl="0" algn="l" defTabSz="711200">
            <a:lnSpc>
              <a:spcPct val="150000"/>
            </a:lnSpc>
            <a:spcBef>
              <a:spcPct val="0"/>
            </a:spcBef>
            <a:spcAft>
              <a:spcPct val="35000"/>
            </a:spcAft>
          </a:pPr>
          <a:r>
            <a:rPr lang="en-US" sz="1200" i="1" kern="1200" dirty="0" smtClean="0"/>
            <a:t>There is a high risk the roadway will experience slope and surface failures as a result of over saturation and flooding, leading to closures, delays and failure to meet KPI s. </a:t>
          </a:r>
          <a:endParaRPr lang="en-US" sz="1200" kern="1200" dirty="0" smtClean="0"/>
        </a:p>
        <a:p>
          <a:pPr lvl="0" algn="l" defTabSz="711200">
            <a:lnSpc>
              <a:spcPct val="150000"/>
            </a:lnSpc>
            <a:spcBef>
              <a:spcPct val="0"/>
            </a:spcBef>
            <a:spcAft>
              <a:spcPct val="35000"/>
            </a:spcAft>
          </a:pPr>
          <a:r>
            <a:rPr lang="en-US" sz="1200" b="1" i="1" kern="1200" dirty="0" smtClean="0">
              <a:solidFill>
                <a:schemeClr val="tx1"/>
              </a:solidFill>
            </a:rPr>
            <a:t>Deductions</a:t>
          </a:r>
          <a:r>
            <a:rPr lang="en-US" sz="1200" i="1" kern="1200" dirty="0" smtClean="0"/>
            <a:t> are possible and additional labor to repair damage will increase </a:t>
          </a:r>
          <a:r>
            <a:rPr lang="en-US" sz="1200" b="1" i="1" kern="1200" dirty="0" smtClean="0">
              <a:solidFill>
                <a:schemeClr val="tx1"/>
              </a:solidFill>
            </a:rPr>
            <a:t>O&amp;M costs</a:t>
          </a:r>
          <a:r>
            <a:rPr lang="en-US" sz="1200" i="1" kern="1200" dirty="0" smtClean="0">
              <a:solidFill>
                <a:schemeClr val="tx1"/>
              </a:solidFill>
            </a:rPr>
            <a:t>.</a:t>
          </a:r>
          <a:endParaRPr lang="en-US" sz="1200" i="0" kern="1200" dirty="0">
            <a:solidFill>
              <a:schemeClr val="tx1"/>
            </a:solidFill>
            <a:latin typeface="+mn-lt"/>
            <a:cs typeface="Arial" panose="020B0604020202020204" pitchFamily="34" charset="0"/>
          </a:endParaRPr>
        </a:p>
      </dsp:txBody>
      <dsp:txXfrm>
        <a:off x="366858" y="256301"/>
        <a:ext cx="1867344" cy="491452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1E321BF-E8C7-40CF-BE36-D1A71D591B04}">
      <dsp:nvSpPr>
        <dsp:cNvPr id="0" name=""/>
        <dsp:cNvSpPr/>
      </dsp:nvSpPr>
      <dsp:spPr>
        <a:xfrm>
          <a:off x="3171" y="0"/>
          <a:ext cx="1253144" cy="4910135"/>
        </a:xfrm>
        <a:prstGeom prst="roundRect">
          <a:avLst>
            <a:gd name="adj" fmla="val 10000"/>
          </a:avLst>
        </a:prstGeom>
        <a:solidFill>
          <a:schemeClr val="accent2">
            <a:lumMod val="40000"/>
            <a:lumOff val="60000"/>
          </a:schemeClr>
        </a:solidFill>
        <a:ln>
          <a:solidFill>
            <a:schemeClr val="accent2">
              <a:lumMod val="60000"/>
              <a:lumOff val="40000"/>
            </a:schemeClr>
          </a:solid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latin typeface="Times New Roman" panose="02020603050405020304"/>
              <a:ea typeface="+mn-ea"/>
              <a:cs typeface="+mn-cs"/>
            </a:rPr>
            <a:t>Risk</a:t>
          </a:r>
        </a:p>
      </dsp:txBody>
      <dsp:txXfrm>
        <a:off x="3171" y="0"/>
        <a:ext cx="1253144" cy="1473040"/>
      </dsp:txXfrm>
    </dsp:sp>
    <dsp:sp modelId="{1380BBF2-F92E-43AA-BD06-2A9B8219332C}">
      <dsp:nvSpPr>
        <dsp:cNvPr id="0" name=""/>
        <dsp:cNvSpPr/>
      </dsp:nvSpPr>
      <dsp:spPr>
        <a:xfrm>
          <a:off x="128486" y="1473460"/>
          <a:ext cx="1002515" cy="964645"/>
        </a:xfrm>
        <a:prstGeom prst="roundRect">
          <a:avLst/>
        </a:prstGeom>
        <a:solidFill>
          <a:schemeClr val="accent2">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latin typeface="Times New Roman" panose="02020603050405020304"/>
              <a:ea typeface="+mn-ea"/>
              <a:cs typeface="+mn-cs"/>
            </a:rPr>
            <a:t>High</a:t>
          </a:r>
        </a:p>
      </dsp:txBody>
      <dsp:txXfrm>
        <a:off x="175576" y="1520550"/>
        <a:ext cx="908335" cy="870465"/>
      </dsp:txXfrm>
    </dsp:sp>
    <dsp:sp modelId="{43FE6F37-1998-46A6-AC6D-52E911D54111}">
      <dsp:nvSpPr>
        <dsp:cNvPr id="0" name=""/>
        <dsp:cNvSpPr/>
      </dsp:nvSpPr>
      <dsp:spPr>
        <a:xfrm>
          <a:off x="128486" y="2586512"/>
          <a:ext cx="1002515" cy="964645"/>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latin typeface="Times New Roman" panose="02020603050405020304"/>
              <a:ea typeface="+mn-ea"/>
              <a:cs typeface="+mn-cs"/>
            </a:rPr>
            <a:t>Medium</a:t>
          </a:r>
        </a:p>
      </dsp:txBody>
      <dsp:txXfrm>
        <a:off x="156739" y="2614765"/>
        <a:ext cx="946009" cy="908139"/>
      </dsp:txXfrm>
    </dsp:sp>
    <dsp:sp modelId="{20004024-ACE7-4E9B-B3FF-26DD75510814}">
      <dsp:nvSpPr>
        <dsp:cNvPr id="0" name=""/>
        <dsp:cNvSpPr/>
      </dsp:nvSpPr>
      <dsp:spPr>
        <a:xfrm>
          <a:off x="128486" y="3699564"/>
          <a:ext cx="1002515" cy="964645"/>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1" kern="1200">
              <a:latin typeface="Times New Roman" panose="02020603050405020304"/>
              <a:ea typeface="+mn-ea"/>
              <a:cs typeface="+mn-cs"/>
            </a:rPr>
            <a:t>Low</a:t>
          </a:r>
        </a:p>
      </dsp:txBody>
      <dsp:txXfrm>
        <a:off x="156739" y="3727817"/>
        <a:ext cx="946009" cy="908139"/>
      </dsp:txXfrm>
    </dsp:sp>
    <dsp:sp modelId="{7A13265C-0B22-4B9D-8A8E-379A78F94C6F}">
      <dsp:nvSpPr>
        <dsp:cNvPr id="0" name=""/>
        <dsp:cNvSpPr/>
      </dsp:nvSpPr>
      <dsp:spPr>
        <a:xfrm>
          <a:off x="1350301" y="0"/>
          <a:ext cx="1253144" cy="4910135"/>
        </a:xfrm>
        <a:prstGeom prst="roundRect">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latin typeface="Times New Roman" panose="02020603050405020304"/>
              <a:ea typeface="+mn-ea"/>
              <a:cs typeface="+mn-cs"/>
            </a:rPr>
            <a:t>Material Costs</a:t>
          </a:r>
        </a:p>
      </dsp:txBody>
      <dsp:txXfrm>
        <a:off x="1350301" y="0"/>
        <a:ext cx="1253144" cy="1473040"/>
      </dsp:txXfrm>
    </dsp:sp>
    <dsp:sp modelId="{A9213B6B-AFD0-418A-845A-56A54BF2F623}">
      <dsp:nvSpPr>
        <dsp:cNvPr id="0" name=""/>
        <dsp:cNvSpPr/>
      </dsp:nvSpPr>
      <dsp:spPr>
        <a:xfrm>
          <a:off x="1475616" y="1473969"/>
          <a:ext cx="1002515" cy="568034"/>
        </a:xfrm>
        <a:prstGeom prst="round2SameRect">
          <a:avLst>
            <a:gd name="adj1" fmla="val 8000"/>
            <a:gd name="adj2" fmla="val 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Concrete</a:t>
          </a:r>
        </a:p>
      </dsp:txBody>
      <dsp:txXfrm>
        <a:off x="1488926" y="1487279"/>
        <a:ext cx="975895" cy="554724"/>
      </dsp:txXfrm>
    </dsp:sp>
    <dsp:sp modelId="{881451FF-C1D5-4857-A043-742F95A09659}">
      <dsp:nvSpPr>
        <dsp:cNvPr id="0" name=""/>
        <dsp:cNvSpPr/>
      </dsp:nvSpPr>
      <dsp:spPr>
        <a:xfrm>
          <a:off x="1475616" y="2129393"/>
          <a:ext cx="1002515" cy="5680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Gravel</a:t>
          </a:r>
        </a:p>
      </dsp:txBody>
      <dsp:txXfrm>
        <a:off x="1492253" y="2146030"/>
        <a:ext cx="969241" cy="534760"/>
      </dsp:txXfrm>
    </dsp:sp>
    <dsp:sp modelId="{6E291A2E-B053-4CEE-B63E-9438110E9374}">
      <dsp:nvSpPr>
        <dsp:cNvPr id="0" name=""/>
        <dsp:cNvSpPr/>
      </dsp:nvSpPr>
      <dsp:spPr>
        <a:xfrm>
          <a:off x="1475616" y="2784817"/>
          <a:ext cx="1002515" cy="5680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Stone</a:t>
          </a:r>
        </a:p>
      </dsp:txBody>
      <dsp:txXfrm>
        <a:off x="1492253" y="2801454"/>
        <a:ext cx="969241" cy="534760"/>
      </dsp:txXfrm>
    </dsp:sp>
    <dsp:sp modelId="{E7C44452-B449-4B8E-AE54-3D3C66A09930}">
      <dsp:nvSpPr>
        <dsp:cNvPr id="0" name=""/>
        <dsp:cNvSpPr/>
      </dsp:nvSpPr>
      <dsp:spPr>
        <a:xfrm>
          <a:off x="1475616" y="3440241"/>
          <a:ext cx="1002515" cy="5680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Pipe</a:t>
          </a:r>
        </a:p>
      </dsp:txBody>
      <dsp:txXfrm>
        <a:off x="1492253" y="3456878"/>
        <a:ext cx="969241" cy="534760"/>
      </dsp:txXfrm>
    </dsp:sp>
    <dsp:sp modelId="{A49E3DC5-0E0A-4802-9FF8-19749D60574A}">
      <dsp:nvSpPr>
        <dsp:cNvPr id="0" name=""/>
        <dsp:cNvSpPr/>
      </dsp:nvSpPr>
      <dsp:spPr>
        <a:xfrm>
          <a:off x="1475616" y="4095665"/>
          <a:ext cx="1002515" cy="5680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Steal</a:t>
          </a:r>
        </a:p>
      </dsp:txBody>
      <dsp:txXfrm>
        <a:off x="1492253" y="4112302"/>
        <a:ext cx="969241" cy="534760"/>
      </dsp:txXfrm>
    </dsp:sp>
    <dsp:sp modelId="{4FD24DDE-7D70-45F0-9ADA-1E12A591D2DA}">
      <dsp:nvSpPr>
        <dsp:cNvPr id="0" name=""/>
        <dsp:cNvSpPr/>
      </dsp:nvSpPr>
      <dsp:spPr>
        <a:xfrm>
          <a:off x="2697431" y="0"/>
          <a:ext cx="1253144" cy="4910135"/>
        </a:xfrm>
        <a:prstGeom prst="roundRect">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latin typeface="Times New Roman" panose="02020603050405020304"/>
              <a:ea typeface="+mn-ea"/>
              <a:cs typeface="+mn-cs"/>
            </a:rPr>
            <a:t>Labor Costs</a:t>
          </a:r>
        </a:p>
      </dsp:txBody>
      <dsp:txXfrm>
        <a:off x="2697431" y="0"/>
        <a:ext cx="1253144" cy="1473040"/>
      </dsp:txXfrm>
    </dsp:sp>
    <dsp:sp modelId="{683FF6C4-CBB0-4877-99B3-C67E55BFC765}">
      <dsp:nvSpPr>
        <dsp:cNvPr id="0" name=""/>
        <dsp:cNvSpPr/>
      </dsp:nvSpPr>
      <dsp:spPr>
        <a:xfrm>
          <a:off x="2822746" y="1473460"/>
          <a:ext cx="1002515" cy="964645"/>
        </a:xfrm>
        <a:prstGeom prst="round2SameRect">
          <a:avLst>
            <a:gd name="adj1" fmla="val 8000"/>
            <a:gd name="adj2" fmla="val 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Person</a:t>
          </a:r>
        </a:p>
      </dsp:txBody>
      <dsp:txXfrm>
        <a:off x="2845349" y="1496063"/>
        <a:ext cx="957309" cy="942042"/>
      </dsp:txXfrm>
    </dsp:sp>
    <dsp:sp modelId="{0B493253-197A-401D-A3EC-9EE6D5B1C472}">
      <dsp:nvSpPr>
        <dsp:cNvPr id="0" name=""/>
        <dsp:cNvSpPr/>
      </dsp:nvSpPr>
      <dsp:spPr>
        <a:xfrm>
          <a:off x="2822746" y="2586512"/>
          <a:ext cx="1002515" cy="964645"/>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Truck</a:t>
          </a:r>
        </a:p>
      </dsp:txBody>
      <dsp:txXfrm>
        <a:off x="2850999" y="2614765"/>
        <a:ext cx="946009" cy="908139"/>
      </dsp:txXfrm>
    </dsp:sp>
    <dsp:sp modelId="{75AD852E-355B-420A-B55E-2883E49B2B09}">
      <dsp:nvSpPr>
        <dsp:cNvPr id="0" name=""/>
        <dsp:cNvSpPr/>
      </dsp:nvSpPr>
      <dsp:spPr>
        <a:xfrm>
          <a:off x="2822746" y="3699564"/>
          <a:ext cx="1002515" cy="964645"/>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Heavy Equipment</a:t>
          </a:r>
        </a:p>
      </dsp:txBody>
      <dsp:txXfrm>
        <a:off x="2850999" y="3727817"/>
        <a:ext cx="946009" cy="908139"/>
      </dsp:txXfrm>
    </dsp:sp>
    <dsp:sp modelId="{427054C7-1136-44E4-866C-A10DB3570D9F}">
      <dsp:nvSpPr>
        <dsp:cNvPr id="0" name=""/>
        <dsp:cNvSpPr/>
      </dsp:nvSpPr>
      <dsp:spPr>
        <a:xfrm>
          <a:off x="4044561" y="0"/>
          <a:ext cx="1253144" cy="4910135"/>
        </a:xfrm>
        <a:prstGeom prst="roundRect">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latin typeface="Times New Roman" panose="02020603050405020304"/>
              <a:ea typeface="+mn-ea"/>
              <a:cs typeface="+mn-cs"/>
            </a:rPr>
            <a:t>Losses</a:t>
          </a:r>
        </a:p>
      </dsp:txBody>
      <dsp:txXfrm>
        <a:off x="4044561" y="0"/>
        <a:ext cx="1253144" cy="1473040"/>
      </dsp:txXfrm>
    </dsp:sp>
    <dsp:sp modelId="{8237130C-CFC1-458B-B4C8-4DBAF4D22636}">
      <dsp:nvSpPr>
        <dsp:cNvPr id="0" name=""/>
        <dsp:cNvSpPr/>
      </dsp:nvSpPr>
      <dsp:spPr>
        <a:xfrm>
          <a:off x="4169876" y="1473160"/>
          <a:ext cx="1002515" cy="715302"/>
        </a:xfrm>
        <a:prstGeom prst="roundRect">
          <a:avLst/>
        </a:prstGeom>
        <a:solidFill>
          <a:schemeClr val="accent2">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Crossings</a:t>
          </a:r>
        </a:p>
      </dsp:txBody>
      <dsp:txXfrm>
        <a:off x="4204794" y="1508078"/>
        <a:ext cx="932679" cy="645466"/>
      </dsp:txXfrm>
    </dsp:sp>
    <dsp:sp modelId="{25770E3C-D575-434C-9FA3-9B4B4E5F51D3}">
      <dsp:nvSpPr>
        <dsp:cNvPr id="0" name=""/>
        <dsp:cNvSpPr/>
      </dsp:nvSpPr>
      <dsp:spPr>
        <a:xfrm>
          <a:off x="4169876" y="2298509"/>
          <a:ext cx="1002515" cy="715302"/>
        </a:xfrm>
        <a:prstGeom prst="roundRect">
          <a:avLst/>
        </a:prstGeom>
        <a:solidFill>
          <a:schemeClr val="accent2">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Slopes</a:t>
          </a:r>
        </a:p>
      </dsp:txBody>
      <dsp:txXfrm>
        <a:off x="4204794" y="2333427"/>
        <a:ext cx="932679" cy="645466"/>
      </dsp:txXfrm>
    </dsp:sp>
    <dsp:sp modelId="{FEBDB620-9732-485A-BF23-75777F50BF53}">
      <dsp:nvSpPr>
        <dsp:cNvPr id="0" name=""/>
        <dsp:cNvSpPr/>
      </dsp:nvSpPr>
      <dsp:spPr>
        <a:xfrm>
          <a:off x="4169876" y="3123858"/>
          <a:ext cx="1002515" cy="715302"/>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Drainage</a:t>
          </a:r>
        </a:p>
      </dsp:txBody>
      <dsp:txXfrm>
        <a:off x="4190826" y="3144808"/>
        <a:ext cx="960615" cy="673402"/>
      </dsp:txXfrm>
    </dsp:sp>
    <dsp:sp modelId="{FCADB838-A3CA-4A8D-AEC9-14EC767CCF35}">
      <dsp:nvSpPr>
        <dsp:cNvPr id="0" name=""/>
        <dsp:cNvSpPr/>
      </dsp:nvSpPr>
      <dsp:spPr>
        <a:xfrm>
          <a:off x="4169876" y="3949207"/>
          <a:ext cx="1002515" cy="715302"/>
        </a:xfrm>
        <a:prstGeom prst="roundRect">
          <a:avLst>
            <a:gd name="adj" fmla="val 10000"/>
          </a:avLst>
        </a:prstGeom>
        <a:solidFill>
          <a:schemeClr val="accent2">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Surface</a:t>
          </a:r>
        </a:p>
      </dsp:txBody>
      <dsp:txXfrm>
        <a:off x="4190826" y="3970157"/>
        <a:ext cx="960615" cy="673402"/>
      </dsp:txXfrm>
    </dsp:sp>
    <dsp:sp modelId="{13CA8D46-D4CC-4ADF-A576-ED1A5A75012F}">
      <dsp:nvSpPr>
        <dsp:cNvPr id="0" name=""/>
        <dsp:cNvSpPr/>
      </dsp:nvSpPr>
      <dsp:spPr>
        <a:xfrm>
          <a:off x="5391691" y="0"/>
          <a:ext cx="1253144" cy="4910135"/>
        </a:xfrm>
        <a:prstGeom prst="roundRect">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latin typeface="Times New Roman" panose="02020603050405020304"/>
              <a:ea typeface="+mn-ea"/>
              <a:cs typeface="+mn-cs"/>
            </a:rPr>
            <a:t>Operations Performance</a:t>
          </a:r>
        </a:p>
      </dsp:txBody>
      <dsp:txXfrm>
        <a:off x="5391691" y="0"/>
        <a:ext cx="1253144" cy="1473040"/>
      </dsp:txXfrm>
    </dsp:sp>
    <dsp:sp modelId="{2D9E9755-6C19-4D9F-8697-2A78908BB979}">
      <dsp:nvSpPr>
        <dsp:cNvPr id="0" name=""/>
        <dsp:cNvSpPr/>
      </dsp:nvSpPr>
      <dsp:spPr>
        <a:xfrm>
          <a:off x="5517006" y="1473460"/>
          <a:ext cx="1002515" cy="964645"/>
        </a:xfrm>
        <a:prstGeom prst="roundRect">
          <a:avLst/>
        </a:prstGeom>
        <a:solidFill>
          <a:schemeClr val="accent2">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0" kern="1200">
              <a:latin typeface="Times New Roman" panose="02020603050405020304"/>
              <a:ea typeface="+mn-ea"/>
              <a:cs typeface="+mn-cs"/>
            </a:rPr>
            <a:t>Closures</a:t>
          </a:r>
        </a:p>
      </dsp:txBody>
      <dsp:txXfrm>
        <a:off x="5564096" y="1520550"/>
        <a:ext cx="908335" cy="870465"/>
      </dsp:txXfrm>
    </dsp:sp>
    <dsp:sp modelId="{4AE5FFDD-1BF1-4B95-82F9-DE99E74A98AF}">
      <dsp:nvSpPr>
        <dsp:cNvPr id="0" name=""/>
        <dsp:cNvSpPr/>
      </dsp:nvSpPr>
      <dsp:spPr>
        <a:xfrm>
          <a:off x="5517006" y="2586512"/>
          <a:ext cx="1002515" cy="964645"/>
        </a:xfrm>
        <a:prstGeom prst="roundRect">
          <a:avLst/>
        </a:prstGeom>
        <a:solidFill>
          <a:schemeClr val="accent2">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0" kern="1200">
              <a:latin typeface="Times New Roman" panose="02020603050405020304"/>
              <a:ea typeface="+mn-ea"/>
              <a:cs typeface="+mn-cs"/>
            </a:rPr>
            <a:t>Accidents</a:t>
          </a:r>
        </a:p>
      </dsp:txBody>
      <dsp:txXfrm>
        <a:off x="5564096" y="2633602"/>
        <a:ext cx="908335" cy="870465"/>
      </dsp:txXfrm>
    </dsp:sp>
    <dsp:sp modelId="{0E8CD5D9-1964-4D84-84BA-638805FD3C5D}">
      <dsp:nvSpPr>
        <dsp:cNvPr id="0" name=""/>
        <dsp:cNvSpPr/>
      </dsp:nvSpPr>
      <dsp:spPr>
        <a:xfrm>
          <a:off x="5517006" y="3699564"/>
          <a:ext cx="1002515" cy="964645"/>
        </a:xfrm>
        <a:prstGeom prst="roundRect">
          <a:avLst/>
        </a:prstGeom>
        <a:solidFill>
          <a:schemeClr val="accent2">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b="0" kern="1200">
              <a:latin typeface="Times New Roman" panose="02020603050405020304"/>
              <a:ea typeface="+mn-ea"/>
              <a:cs typeface="+mn-cs"/>
            </a:rPr>
            <a:t>Delays</a:t>
          </a:r>
        </a:p>
      </dsp:txBody>
      <dsp:txXfrm>
        <a:off x="5564096" y="3746654"/>
        <a:ext cx="908335" cy="870465"/>
      </dsp:txXfrm>
    </dsp:sp>
    <dsp:sp modelId="{27591124-774B-46CA-899A-9DE9E08D368C}">
      <dsp:nvSpPr>
        <dsp:cNvPr id="0" name=""/>
        <dsp:cNvSpPr/>
      </dsp:nvSpPr>
      <dsp:spPr>
        <a:xfrm>
          <a:off x="6738821" y="0"/>
          <a:ext cx="1253144" cy="4910135"/>
        </a:xfrm>
        <a:prstGeom prst="roundRect">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latin typeface="Times New Roman" panose="02020603050405020304"/>
              <a:ea typeface="+mn-ea"/>
              <a:cs typeface="+mn-cs"/>
            </a:rPr>
            <a:t>Maintainence Performance</a:t>
          </a:r>
        </a:p>
      </dsp:txBody>
      <dsp:txXfrm>
        <a:off x="6738821" y="0"/>
        <a:ext cx="1253144" cy="1473040"/>
      </dsp:txXfrm>
    </dsp:sp>
    <dsp:sp modelId="{553F750D-4F62-4DE8-8E31-65D8991E5DDE}">
      <dsp:nvSpPr>
        <dsp:cNvPr id="0" name=""/>
        <dsp:cNvSpPr/>
      </dsp:nvSpPr>
      <dsp:spPr>
        <a:xfrm>
          <a:off x="6864136" y="1473969"/>
          <a:ext cx="1002515" cy="568034"/>
        </a:xfrm>
        <a:prstGeom prst="roundRect">
          <a:avLst/>
        </a:prstGeom>
        <a:solidFill>
          <a:schemeClr val="accent2">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Potholes</a:t>
          </a:r>
        </a:p>
      </dsp:txBody>
      <dsp:txXfrm>
        <a:off x="6891865" y="1501698"/>
        <a:ext cx="947057" cy="512576"/>
      </dsp:txXfrm>
    </dsp:sp>
    <dsp:sp modelId="{3AFB6A47-98C1-4448-BD2B-0207C5C095F4}">
      <dsp:nvSpPr>
        <dsp:cNvPr id="0" name=""/>
        <dsp:cNvSpPr/>
      </dsp:nvSpPr>
      <dsp:spPr>
        <a:xfrm>
          <a:off x="6864136" y="2129393"/>
          <a:ext cx="1002515" cy="568034"/>
        </a:xfrm>
        <a:prstGeom prst="roundRect">
          <a:avLst/>
        </a:prstGeom>
        <a:solidFill>
          <a:schemeClr val="accent2">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Slides</a:t>
          </a:r>
        </a:p>
      </dsp:txBody>
      <dsp:txXfrm>
        <a:off x="6891865" y="2157122"/>
        <a:ext cx="947057" cy="512576"/>
      </dsp:txXfrm>
    </dsp:sp>
    <dsp:sp modelId="{44DF4F1E-C3CE-4E69-8FE0-FB81A896E57D}">
      <dsp:nvSpPr>
        <dsp:cNvPr id="0" name=""/>
        <dsp:cNvSpPr/>
      </dsp:nvSpPr>
      <dsp:spPr>
        <a:xfrm>
          <a:off x="6864136" y="2784817"/>
          <a:ext cx="1002515" cy="5680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Base Failures</a:t>
          </a:r>
        </a:p>
      </dsp:txBody>
      <dsp:txXfrm>
        <a:off x="6880773" y="2801454"/>
        <a:ext cx="969241" cy="534760"/>
      </dsp:txXfrm>
    </dsp:sp>
    <dsp:sp modelId="{9EE523E2-FD30-4CA9-A6CF-8D8AD8DAA6FD}">
      <dsp:nvSpPr>
        <dsp:cNvPr id="0" name=""/>
        <dsp:cNvSpPr/>
      </dsp:nvSpPr>
      <dsp:spPr>
        <a:xfrm>
          <a:off x="6864136" y="3440241"/>
          <a:ext cx="1002515" cy="568034"/>
        </a:xfrm>
        <a:prstGeom prst="round2SameRect">
          <a:avLst>
            <a:gd name="adj1" fmla="val 8000"/>
            <a:gd name="adj2" fmla="val 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Vegitation</a:t>
          </a:r>
        </a:p>
      </dsp:txBody>
      <dsp:txXfrm>
        <a:off x="6877446" y="3453551"/>
        <a:ext cx="975895" cy="554724"/>
      </dsp:txXfrm>
    </dsp:sp>
    <dsp:sp modelId="{B959EA7D-9F0B-4E45-9F93-18B7D37621CE}">
      <dsp:nvSpPr>
        <dsp:cNvPr id="0" name=""/>
        <dsp:cNvSpPr/>
      </dsp:nvSpPr>
      <dsp:spPr>
        <a:xfrm>
          <a:off x="6864136" y="4095665"/>
          <a:ext cx="1002515" cy="56803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8575" rIns="38100" bIns="28575" numCol="1" spcCol="1270" anchor="ctr" anchorCtr="0">
          <a:noAutofit/>
        </a:bodyPr>
        <a:lstStyle/>
        <a:p>
          <a:pPr lvl="0" algn="ctr" defTabSz="666750">
            <a:lnSpc>
              <a:spcPct val="90000"/>
            </a:lnSpc>
            <a:spcBef>
              <a:spcPct val="0"/>
            </a:spcBef>
            <a:spcAft>
              <a:spcPct val="35000"/>
            </a:spcAft>
          </a:pPr>
          <a:r>
            <a:rPr lang="en-US" sz="1500" kern="1200">
              <a:latin typeface="Times New Roman" panose="02020603050405020304"/>
              <a:ea typeface="+mn-ea"/>
              <a:cs typeface="+mn-cs"/>
            </a:rPr>
            <a:t>Dirt/ Debris</a:t>
          </a:r>
        </a:p>
      </dsp:txBody>
      <dsp:txXfrm>
        <a:off x="6880773" y="4112302"/>
        <a:ext cx="969241" cy="53476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E1C306-2CA4-4074-84B1-B9BFC0D31AF5}">
      <dsp:nvSpPr>
        <dsp:cNvPr id="0" name=""/>
        <dsp:cNvSpPr/>
      </dsp:nvSpPr>
      <dsp:spPr>
        <a:xfrm>
          <a:off x="911636" y="226570"/>
          <a:ext cx="5544366" cy="4477697"/>
        </a:xfrm>
        <a:prstGeom prst="roundRect">
          <a:avLst/>
        </a:prstGeom>
        <a:solidFill>
          <a:schemeClr val="accent2">
            <a:tint val="5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BE5945A-5E54-4941-AA71-AEAE25209639}">
      <dsp:nvSpPr>
        <dsp:cNvPr id="0" name=""/>
        <dsp:cNvSpPr/>
      </dsp:nvSpPr>
      <dsp:spPr>
        <a:xfrm>
          <a:off x="2068982" y="1838541"/>
          <a:ext cx="2703096" cy="2686618"/>
        </a:xfrm>
        <a:prstGeom prst="rect">
          <a:avLst/>
        </a:prstGeom>
        <a:noFill/>
        <a:ln w="38100" cap="flat" cmpd="sng" algn="ctr">
          <a:noFill/>
          <a:prstDash val="solid"/>
        </a:ln>
        <a:effectLst>
          <a:outerShdw blurRad="40000" dist="20000" dir="5400000" rotWithShape="0">
            <a:srgbClr val="000000">
              <a:alpha val="38000"/>
            </a:srgbClr>
          </a:outerShdw>
        </a:effectLst>
        <a:sp3d/>
      </dsp:spPr>
      <dsp:style>
        <a:lnRef idx="3">
          <a:scrgbClr r="0" g="0" b="0"/>
        </a:lnRef>
        <a:fillRef idx="1">
          <a:scrgbClr r="0" g="0" b="0"/>
        </a:fillRef>
        <a:effectRef idx="1">
          <a:scrgbClr r="0" g="0" b="0"/>
        </a:effectRef>
        <a:fontRef idx="minor">
          <a:schemeClr val="lt1"/>
        </a:fontRef>
      </dsp:style>
      <dsp:txBody>
        <a:bodyPr spcFirstLastPara="0" vert="horz" wrap="square" lIns="165100" tIns="165100" rIns="165100" bIns="165100" numCol="1" spcCol="1270" anchor="b" anchorCtr="0">
          <a:noAutofit/>
        </a:bodyPr>
        <a:lstStyle/>
        <a:p>
          <a:pPr lvl="0" algn="l" defTabSz="2889250">
            <a:lnSpc>
              <a:spcPct val="90000"/>
            </a:lnSpc>
            <a:spcBef>
              <a:spcPct val="0"/>
            </a:spcBef>
            <a:spcAft>
              <a:spcPct val="35000"/>
            </a:spcAft>
          </a:pPr>
          <a:endParaRPr lang="en-US" sz="6500" kern="1200"/>
        </a:p>
      </dsp:txBody>
      <dsp:txXfrm>
        <a:off x="2068982" y="1838541"/>
        <a:ext cx="2703096" cy="2686618"/>
      </dsp:txXfrm>
    </dsp:sp>
    <dsp:sp modelId="{58BEC78A-E748-4AA5-9F8D-1E0851BBB91E}">
      <dsp:nvSpPr>
        <dsp:cNvPr id="0" name=""/>
        <dsp:cNvSpPr/>
      </dsp:nvSpPr>
      <dsp:spPr>
        <a:xfrm>
          <a:off x="4897161" y="2685"/>
          <a:ext cx="1083830" cy="1083830"/>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7000" r="-17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B6E2AEA7-9D17-4D9F-BF98-992626917D36}">
      <dsp:nvSpPr>
        <dsp:cNvPr id="0" name=""/>
        <dsp:cNvSpPr/>
      </dsp:nvSpPr>
      <dsp:spPr>
        <a:xfrm>
          <a:off x="5980992" y="2685"/>
          <a:ext cx="325263" cy="1083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0" tIns="82550" rIns="165100" bIns="82550" numCol="1" spcCol="1270" anchor="ctr" anchorCtr="0">
          <a:noAutofit/>
        </a:bodyPr>
        <a:lstStyle/>
        <a:p>
          <a:pPr lvl="0" algn="l" defTabSz="2889250">
            <a:lnSpc>
              <a:spcPct val="90000"/>
            </a:lnSpc>
            <a:spcBef>
              <a:spcPct val="0"/>
            </a:spcBef>
            <a:spcAft>
              <a:spcPct val="35000"/>
            </a:spcAft>
          </a:pPr>
          <a:endParaRPr lang="en-US" sz="6500" kern="1200" dirty="0"/>
        </a:p>
      </dsp:txBody>
      <dsp:txXfrm>
        <a:off x="5980992" y="2685"/>
        <a:ext cx="325263" cy="1083830"/>
      </dsp:txXfrm>
    </dsp:sp>
    <dsp:sp modelId="{78413FD4-08FA-4382-AA29-48CB56D11F16}">
      <dsp:nvSpPr>
        <dsp:cNvPr id="0" name=""/>
        <dsp:cNvSpPr/>
      </dsp:nvSpPr>
      <dsp:spPr>
        <a:xfrm>
          <a:off x="4897161" y="1281605"/>
          <a:ext cx="1083830" cy="1083830"/>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3000" r="-23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1E3FCE25-16C6-4707-834B-4C4AABE8EEE9}">
      <dsp:nvSpPr>
        <dsp:cNvPr id="0" name=""/>
        <dsp:cNvSpPr/>
      </dsp:nvSpPr>
      <dsp:spPr>
        <a:xfrm>
          <a:off x="5980992" y="1281605"/>
          <a:ext cx="325263" cy="1083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0" tIns="82550" rIns="165100" bIns="82550" numCol="1" spcCol="1270" anchor="ctr" anchorCtr="0">
          <a:noAutofit/>
        </a:bodyPr>
        <a:lstStyle/>
        <a:p>
          <a:pPr lvl="0" algn="l" defTabSz="2889250">
            <a:lnSpc>
              <a:spcPct val="90000"/>
            </a:lnSpc>
            <a:spcBef>
              <a:spcPct val="0"/>
            </a:spcBef>
            <a:spcAft>
              <a:spcPct val="35000"/>
            </a:spcAft>
          </a:pPr>
          <a:r>
            <a:rPr lang="en-US" sz="6500" kern="1200" dirty="0"/>
            <a:t> </a:t>
          </a:r>
        </a:p>
      </dsp:txBody>
      <dsp:txXfrm>
        <a:off x="5980992" y="1281605"/>
        <a:ext cx="325263" cy="1083830"/>
      </dsp:txXfrm>
    </dsp:sp>
    <dsp:sp modelId="{B897D277-5C1C-491D-8AD9-6079B3389156}">
      <dsp:nvSpPr>
        <dsp:cNvPr id="0" name=""/>
        <dsp:cNvSpPr/>
      </dsp:nvSpPr>
      <dsp:spPr>
        <a:xfrm>
          <a:off x="4897161" y="2560524"/>
          <a:ext cx="1083830" cy="1083830"/>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46F94229-04DE-4AAF-92AA-5BDC6BB793CA}">
      <dsp:nvSpPr>
        <dsp:cNvPr id="0" name=""/>
        <dsp:cNvSpPr/>
      </dsp:nvSpPr>
      <dsp:spPr>
        <a:xfrm>
          <a:off x="5980992" y="2560524"/>
          <a:ext cx="325263" cy="1083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0" tIns="82550" rIns="165100" bIns="82550" numCol="1" spcCol="1270" anchor="ctr" anchorCtr="0">
          <a:noAutofit/>
        </a:bodyPr>
        <a:lstStyle/>
        <a:p>
          <a:pPr lvl="0" algn="l" defTabSz="2889250">
            <a:lnSpc>
              <a:spcPct val="90000"/>
            </a:lnSpc>
            <a:spcBef>
              <a:spcPct val="0"/>
            </a:spcBef>
            <a:spcAft>
              <a:spcPct val="35000"/>
            </a:spcAft>
          </a:pPr>
          <a:r>
            <a:rPr lang="en-US" sz="6500" kern="1200" dirty="0"/>
            <a:t> </a:t>
          </a:r>
        </a:p>
      </dsp:txBody>
      <dsp:txXfrm>
        <a:off x="5980992" y="2560524"/>
        <a:ext cx="325263" cy="1083830"/>
      </dsp:txXfrm>
    </dsp:sp>
    <dsp:sp modelId="{57EC1BD6-18E4-4015-8F7A-092B0F9617C5}">
      <dsp:nvSpPr>
        <dsp:cNvPr id="0" name=""/>
        <dsp:cNvSpPr/>
      </dsp:nvSpPr>
      <dsp:spPr>
        <a:xfrm>
          <a:off x="4897161" y="3839444"/>
          <a:ext cx="1083830" cy="1083830"/>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5000" r="-25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18370E7-8634-4BC6-9249-99505A31F8E3}">
      <dsp:nvSpPr>
        <dsp:cNvPr id="0" name=""/>
        <dsp:cNvSpPr/>
      </dsp:nvSpPr>
      <dsp:spPr>
        <a:xfrm>
          <a:off x="5980992" y="3839444"/>
          <a:ext cx="325263" cy="1083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0" tIns="82550" rIns="165100" bIns="82550" numCol="1" spcCol="1270" anchor="ctr" anchorCtr="0">
          <a:noAutofit/>
        </a:bodyPr>
        <a:lstStyle/>
        <a:p>
          <a:pPr lvl="0" algn="l" defTabSz="2889250">
            <a:lnSpc>
              <a:spcPct val="90000"/>
            </a:lnSpc>
            <a:spcBef>
              <a:spcPct val="0"/>
            </a:spcBef>
            <a:spcAft>
              <a:spcPct val="35000"/>
            </a:spcAft>
          </a:pPr>
          <a:r>
            <a:rPr lang="en-US" sz="6500" kern="1200" dirty="0"/>
            <a:t> </a:t>
          </a:r>
        </a:p>
      </dsp:txBody>
      <dsp:txXfrm>
        <a:off x="5980992" y="3839444"/>
        <a:ext cx="325263" cy="108383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07B9F4-B3B5-4624-B16E-9B11C02DA15D}">
      <dsp:nvSpPr>
        <dsp:cNvPr id="0" name=""/>
        <dsp:cNvSpPr/>
      </dsp:nvSpPr>
      <dsp:spPr>
        <a:xfrm>
          <a:off x="7010" y="996188"/>
          <a:ext cx="2485986" cy="1855736"/>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72390" rIns="24130" bIns="24130" numCol="1" spcCol="1270" anchor="t" anchorCtr="0">
          <a:noAutofit/>
        </a:bodyPr>
        <a:lstStyle/>
        <a:p>
          <a:pPr marL="171450" lvl="1" indent="-171450" algn="l" defTabSz="844550">
            <a:lnSpc>
              <a:spcPct val="90000"/>
            </a:lnSpc>
            <a:spcBef>
              <a:spcPct val="0"/>
            </a:spcBef>
            <a:spcAft>
              <a:spcPct val="15000"/>
            </a:spcAft>
            <a:buChar char="••"/>
          </a:pPr>
          <a:r>
            <a:rPr lang="en-US" sz="1900" kern="1200">
              <a:latin typeface="Times New Roman" panose="02020603050405020304"/>
              <a:ea typeface="+mn-ea"/>
              <a:cs typeface="+mn-cs"/>
            </a:rPr>
            <a:t>Concern is </a:t>
          </a:r>
          <a:r>
            <a:rPr lang="en-US" sz="1900" b="1" kern="1200">
              <a:latin typeface="Times New Roman" panose="02020603050405020304"/>
              <a:ea typeface="+mn-ea"/>
              <a:cs typeface="+mn-cs"/>
            </a:rPr>
            <a:t>Social Impact</a:t>
          </a:r>
          <a:endParaRPr lang="en-US" sz="1900" kern="1200">
            <a:latin typeface="Times New Roman" panose="02020603050405020304"/>
            <a:ea typeface="+mn-ea"/>
            <a:cs typeface="+mn-cs"/>
          </a:endParaRPr>
        </a:p>
        <a:p>
          <a:pPr marL="171450" lvl="1" indent="-171450" algn="l" defTabSz="844550">
            <a:lnSpc>
              <a:spcPct val="90000"/>
            </a:lnSpc>
            <a:spcBef>
              <a:spcPct val="0"/>
            </a:spcBef>
            <a:spcAft>
              <a:spcPct val="15000"/>
            </a:spcAft>
            <a:buChar char="••"/>
          </a:pPr>
          <a:r>
            <a:rPr lang="en-US" sz="1900" kern="1200">
              <a:latin typeface="Times New Roman" panose="02020603050405020304"/>
              <a:ea typeface="+mn-ea"/>
              <a:cs typeface="+mn-cs"/>
            </a:rPr>
            <a:t>Driver is Increased functionality of the roadway network and associated assets</a:t>
          </a:r>
        </a:p>
      </dsp:txBody>
      <dsp:txXfrm>
        <a:off x="50492" y="1039670"/>
        <a:ext cx="2399022" cy="1812254"/>
      </dsp:txXfrm>
    </dsp:sp>
    <dsp:sp modelId="{BCE5A0A9-6162-4D4A-86BA-A49070CCB375}">
      <dsp:nvSpPr>
        <dsp:cNvPr id="0" name=""/>
        <dsp:cNvSpPr/>
      </dsp:nvSpPr>
      <dsp:spPr>
        <a:xfrm>
          <a:off x="7010" y="2851924"/>
          <a:ext cx="2485986" cy="797966"/>
        </a:xfrm>
        <a:prstGeom prst="rect">
          <a:avLst/>
        </a:prstGeom>
        <a:solidFill>
          <a:schemeClr val="accent2">
            <a:shade val="8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0" rIns="29210" bIns="0" numCol="1" spcCol="1270" anchor="ctr" anchorCtr="0">
          <a:noAutofit/>
        </a:bodyPr>
        <a:lstStyle/>
        <a:p>
          <a:pPr lvl="0" algn="l" defTabSz="1022350">
            <a:lnSpc>
              <a:spcPct val="90000"/>
            </a:lnSpc>
            <a:spcBef>
              <a:spcPct val="0"/>
            </a:spcBef>
            <a:spcAft>
              <a:spcPct val="35000"/>
            </a:spcAft>
          </a:pPr>
          <a:r>
            <a:rPr lang="en-US" sz="2300" kern="1200">
              <a:latin typeface="Times New Roman" panose="02020603050405020304"/>
              <a:ea typeface="+mn-ea"/>
              <a:cs typeface="+mn-cs"/>
            </a:rPr>
            <a:t>Owners</a:t>
          </a:r>
        </a:p>
      </dsp:txBody>
      <dsp:txXfrm>
        <a:off x="7010" y="2851924"/>
        <a:ext cx="1750694" cy="797966"/>
      </dsp:txXfrm>
    </dsp:sp>
    <dsp:sp modelId="{2E59DA39-F1C6-447A-A84F-EED9D7E9B39E}">
      <dsp:nvSpPr>
        <dsp:cNvPr id="0" name=""/>
        <dsp:cNvSpPr/>
      </dsp:nvSpPr>
      <dsp:spPr>
        <a:xfrm>
          <a:off x="1828029" y="2978674"/>
          <a:ext cx="870095" cy="870095"/>
        </a:xfrm>
        <a:prstGeom prst="round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000" r="-2000"/>
          </a:stretch>
        </a:blip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6A64A3-0CB3-4D68-9651-8B848A79C2F6}">
      <dsp:nvSpPr>
        <dsp:cNvPr id="0" name=""/>
        <dsp:cNvSpPr/>
      </dsp:nvSpPr>
      <dsp:spPr>
        <a:xfrm>
          <a:off x="2913685" y="996188"/>
          <a:ext cx="2485986" cy="1855736"/>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2">
              <a:shade val="80000"/>
              <a:hueOff val="137955"/>
              <a:satOff val="-1245"/>
              <a:lumOff val="965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72390" rIns="24130" bIns="24130" numCol="1" spcCol="1270" anchor="t" anchorCtr="0">
          <a:noAutofit/>
        </a:bodyPr>
        <a:lstStyle/>
        <a:p>
          <a:pPr marL="171450" lvl="1" indent="-171450" algn="l" defTabSz="844550">
            <a:lnSpc>
              <a:spcPct val="90000"/>
            </a:lnSpc>
            <a:spcBef>
              <a:spcPct val="0"/>
            </a:spcBef>
            <a:spcAft>
              <a:spcPct val="15000"/>
            </a:spcAft>
            <a:buChar char="••"/>
          </a:pPr>
          <a:r>
            <a:rPr lang="en-US" sz="1900" kern="1200">
              <a:latin typeface="Times New Roman" panose="02020603050405020304"/>
              <a:ea typeface="+mn-ea"/>
              <a:cs typeface="+mn-cs"/>
            </a:rPr>
            <a:t>Concern is </a:t>
          </a:r>
          <a:r>
            <a:rPr lang="en-US" sz="1900" b="1" kern="1200">
              <a:latin typeface="Times New Roman" panose="02020603050405020304"/>
              <a:ea typeface="+mn-ea"/>
              <a:cs typeface="+mn-cs"/>
            </a:rPr>
            <a:t>Physical Impact</a:t>
          </a:r>
          <a:endParaRPr lang="en-US" sz="1900" kern="1200">
            <a:latin typeface="Times New Roman" panose="02020603050405020304"/>
            <a:ea typeface="+mn-ea"/>
            <a:cs typeface="+mn-cs"/>
          </a:endParaRPr>
        </a:p>
        <a:p>
          <a:pPr marL="171450" lvl="1" indent="-171450" algn="l" defTabSz="844550">
            <a:lnSpc>
              <a:spcPct val="90000"/>
            </a:lnSpc>
            <a:spcBef>
              <a:spcPct val="0"/>
            </a:spcBef>
            <a:spcAft>
              <a:spcPct val="15000"/>
            </a:spcAft>
            <a:buChar char="••"/>
          </a:pPr>
          <a:r>
            <a:rPr lang="en-US" sz="1900" kern="1200">
              <a:latin typeface="Times New Roman" panose="02020603050405020304"/>
              <a:ea typeface="+mn-ea"/>
              <a:cs typeface="+mn-cs"/>
            </a:rPr>
            <a:t>Driver is Reduction in climate impact on roadway asset condition</a:t>
          </a:r>
        </a:p>
      </dsp:txBody>
      <dsp:txXfrm>
        <a:off x="2957167" y="1039670"/>
        <a:ext cx="2399022" cy="1812254"/>
      </dsp:txXfrm>
    </dsp:sp>
    <dsp:sp modelId="{2AF5DE3B-244D-405D-8DE3-9B7CDEA01F7D}">
      <dsp:nvSpPr>
        <dsp:cNvPr id="0" name=""/>
        <dsp:cNvSpPr/>
      </dsp:nvSpPr>
      <dsp:spPr>
        <a:xfrm>
          <a:off x="2913685" y="2851924"/>
          <a:ext cx="2485986" cy="797966"/>
        </a:xfrm>
        <a:prstGeom prst="rect">
          <a:avLst/>
        </a:prstGeom>
        <a:solidFill>
          <a:schemeClr val="accent2">
            <a:shade val="80000"/>
            <a:hueOff val="137955"/>
            <a:satOff val="-1245"/>
            <a:lumOff val="9656"/>
            <a:alphaOff val="0"/>
          </a:schemeClr>
        </a:solidFill>
        <a:ln w="25400" cap="flat" cmpd="sng" algn="ctr">
          <a:solidFill>
            <a:schemeClr val="accent2">
              <a:shade val="80000"/>
              <a:hueOff val="137955"/>
              <a:satOff val="-1245"/>
              <a:lumOff val="965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0" rIns="29210" bIns="0" numCol="1" spcCol="1270" anchor="ctr" anchorCtr="0">
          <a:noAutofit/>
        </a:bodyPr>
        <a:lstStyle/>
        <a:p>
          <a:pPr lvl="0" algn="l" defTabSz="1022350">
            <a:lnSpc>
              <a:spcPct val="90000"/>
            </a:lnSpc>
            <a:spcBef>
              <a:spcPct val="0"/>
            </a:spcBef>
            <a:spcAft>
              <a:spcPct val="35000"/>
            </a:spcAft>
          </a:pPr>
          <a:r>
            <a:rPr lang="en-US" sz="2300" kern="1200">
              <a:latin typeface="Times New Roman" panose="02020603050405020304"/>
              <a:ea typeface="+mn-ea"/>
              <a:cs typeface="+mn-cs"/>
            </a:rPr>
            <a:t>Contractors</a:t>
          </a:r>
        </a:p>
      </dsp:txBody>
      <dsp:txXfrm>
        <a:off x="2913685" y="2851924"/>
        <a:ext cx="1750694" cy="797966"/>
      </dsp:txXfrm>
    </dsp:sp>
    <dsp:sp modelId="{E499AE42-E36A-4B18-B9BF-01047ABC853B}">
      <dsp:nvSpPr>
        <dsp:cNvPr id="0" name=""/>
        <dsp:cNvSpPr/>
      </dsp:nvSpPr>
      <dsp:spPr>
        <a:xfrm>
          <a:off x="4734704" y="2978674"/>
          <a:ext cx="870095" cy="870095"/>
        </a:xfrm>
        <a:prstGeom prst="round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a:stretch>
        </a:blip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09BA0B6-81CB-44B9-B523-3CC5D5858D76}">
      <dsp:nvSpPr>
        <dsp:cNvPr id="0" name=""/>
        <dsp:cNvSpPr/>
      </dsp:nvSpPr>
      <dsp:spPr>
        <a:xfrm>
          <a:off x="5820359" y="996188"/>
          <a:ext cx="2485986" cy="1855736"/>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2">
              <a:shade val="80000"/>
              <a:hueOff val="275909"/>
              <a:satOff val="-2491"/>
              <a:lumOff val="1931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72390" rIns="24130" bIns="24130" numCol="1" spcCol="1270" anchor="t" anchorCtr="0">
          <a:noAutofit/>
        </a:bodyPr>
        <a:lstStyle/>
        <a:p>
          <a:pPr marL="171450" lvl="1" indent="-171450" algn="l" defTabSz="844550">
            <a:lnSpc>
              <a:spcPct val="90000"/>
            </a:lnSpc>
            <a:spcBef>
              <a:spcPct val="0"/>
            </a:spcBef>
            <a:spcAft>
              <a:spcPct val="15000"/>
            </a:spcAft>
            <a:buChar char="••"/>
          </a:pPr>
          <a:r>
            <a:rPr lang="en-US" sz="1900" kern="1200">
              <a:latin typeface="Times New Roman" panose="02020603050405020304"/>
              <a:ea typeface="+mn-ea"/>
              <a:cs typeface="+mn-cs"/>
            </a:rPr>
            <a:t>Concern is </a:t>
          </a:r>
          <a:r>
            <a:rPr lang="en-US" sz="1900" b="1" kern="1200">
              <a:latin typeface="Times New Roman" panose="02020603050405020304"/>
              <a:ea typeface="+mn-ea"/>
              <a:cs typeface="+mn-cs"/>
            </a:rPr>
            <a:t>Economic Impact</a:t>
          </a:r>
          <a:endParaRPr lang="en-US" sz="1900" kern="1200">
            <a:latin typeface="Times New Roman" panose="02020603050405020304"/>
            <a:ea typeface="+mn-ea"/>
            <a:cs typeface="+mn-cs"/>
          </a:endParaRPr>
        </a:p>
        <a:p>
          <a:pPr marL="171450" lvl="1" indent="-171450" algn="l" defTabSz="844550">
            <a:lnSpc>
              <a:spcPct val="90000"/>
            </a:lnSpc>
            <a:spcBef>
              <a:spcPct val="0"/>
            </a:spcBef>
            <a:spcAft>
              <a:spcPct val="15000"/>
            </a:spcAft>
            <a:buChar char="••"/>
          </a:pPr>
          <a:r>
            <a:rPr lang="en-US" sz="1900" kern="1200">
              <a:latin typeface="Times New Roman" panose="02020603050405020304"/>
              <a:ea typeface="+mn-ea"/>
              <a:cs typeface="+mn-cs"/>
            </a:rPr>
            <a:t>Driver is Economic benefit of roadway asset on community or region</a:t>
          </a:r>
        </a:p>
      </dsp:txBody>
      <dsp:txXfrm>
        <a:off x="5863841" y="1039670"/>
        <a:ext cx="2399022" cy="1812254"/>
      </dsp:txXfrm>
    </dsp:sp>
    <dsp:sp modelId="{B280A329-0616-460E-9D7E-7F6A1E0636E3}">
      <dsp:nvSpPr>
        <dsp:cNvPr id="0" name=""/>
        <dsp:cNvSpPr/>
      </dsp:nvSpPr>
      <dsp:spPr>
        <a:xfrm>
          <a:off x="5820359" y="2851924"/>
          <a:ext cx="2485986" cy="797966"/>
        </a:xfrm>
        <a:prstGeom prst="rect">
          <a:avLst/>
        </a:prstGeom>
        <a:solidFill>
          <a:schemeClr val="accent2">
            <a:shade val="80000"/>
            <a:hueOff val="275909"/>
            <a:satOff val="-2491"/>
            <a:lumOff val="19313"/>
            <a:alphaOff val="0"/>
          </a:schemeClr>
        </a:solidFill>
        <a:ln w="25400" cap="flat" cmpd="sng" algn="ctr">
          <a:solidFill>
            <a:schemeClr val="accent2">
              <a:shade val="80000"/>
              <a:hueOff val="275909"/>
              <a:satOff val="-2491"/>
              <a:lumOff val="1931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0" rIns="29210" bIns="0" numCol="1" spcCol="1270" anchor="ctr" anchorCtr="0">
          <a:noAutofit/>
        </a:bodyPr>
        <a:lstStyle/>
        <a:p>
          <a:pPr lvl="0" algn="l" defTabSz="1022350">
            <a:lnSpc>
              <a:spcPct val="90000"/>
            </a:lnSpc>
            <a:spcBef>
              <a:spcPct val="0"/>
            </a:spcBef>
            <a:spcAft>
              <a:spcPct val="35000"/>
            </a:spcAft>
          </a:pPr>
          <a:r>
            <a:rPr lang="en-US" sz="2300" kern="1200">
              <a:latin typeface="Times New Roman" panose="02020603050405020304"/>
              <a:ea typeface="+mn-ea"/>
              <a:cs typeface="+mn-cs"/>
            </a:rPr>
            <a:t>Development Banks</a:t>
          </a:r>
        </a:p>
      </dsp:txBody>
      <dsp:txXfrm>
        <a:off x="5820359" y="2851924"/>
        <a:ext cx="1750694" cy="797966"/>
      </dsp:txXfrm>
    </dsp:sp>
    <dsp:sp modelId="{3DDEC12E-FD68-4645-B67B-F12DC491E250}">
      <dsp:nvSpPr>
        <dsp:cNvPr id="0" name=""/>
        <dsp:cNvSpPr/>
      </dsp:nvSpPr>
      <dsp:spPr>
        <a:xfrm>
          <a:off x="7641378" y="2978674"/>
          <a:ext cx="870095" cy="870095"/>
        </a:xfrm>
        <a:prstGeom prst="round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000" r="-1000"/>
          </a:stretch>
        </a:blip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6432288-EA76-4436-B44A-99909833064D}">
      <dsp:nvSpPr>
        <dsp:cNvPr id="0" name=""/>
        <dsp:cNvSpPr/>
      </dsp:nvSpPr>
      <dsp:spPr>
        <a:xfrm>
          <a:off x="8727034" y="996188"/>
          <a:ext cx="2485986" cy="1855736"/>
        </a:xfrm>
        <a:prstGeom prst="round2SameRect">
          <a:avLst>
            <a:gd name="adj1" fmla="val 8000"/>
            <a:gd name="adj2" fmla="val 0"/>
          </a:avLst>
        </a:prstGeom>
        <a:solidFill>
          <a:schemeClr val="lt1">
            <a:alpha val="90000"/>
            <a:hueOff val="0"/>
            <a:satOff val="0"/>
            <a:lumOff val="0"/>
            <a:alphaOff val="0"/>
          </a:schemeClr>
        </a:solidFill>
        <a:ln w="25400" cap="flat" cmpd="sng" algn="ctr">
          <a:solidFill>
            <a:schemeClr val="accent2">
              <a:shade val="80000"/>
              <a:hueOff val="413864"/>
              <a:satOff val="-3736"/>
              <a:lumOff val="2896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130" tIns="72390" rIns="24130" bIns="24130" numCol="1" spcCol="1270" anchor="t" anchorCtr="0">
          <a:noAutofit/>
        </a:bodyPr>
        <a:lstStyle/>
        <a:p>
          <a:pPr marL="171450" lvl="1" indent="-171450" algn="l" defTabSz="844550">
            <a:lnSpc>
              <a:spcPct val="90000"/>
            </a:lnSpc>
            <a:spcBef>
              <a:spcPct val="0"/>
            </a:spcBef>
            <a:spcAft>
              <a:spcPct val="15000"/>
            </a:spcAft>
            <a:buChar char="••"/>
          </a:pPr>
          <a:r>
            <a:rPr lang="en-US" sz="1900" kern="1200">
              <a:latin typeface="Times New Roman" panose="02020603050405020304"/>
              <a:ea typeface="+mn-ea"/>
              <a:cs typeface="+mn-cs"/>
            </a:rPr>
            <a:t>Concern is </a:t>
          </a:r>
          <a:r>
            <a:rPr lang="en-US" sz="1900" b="1" kern="1200">
              <a:latin typeface="Times New Roman" panose="02020603050405020304"/>
              <a:ea typeface="+mn-ea"/>
              <a:cs typeface="+mn-cs"/>
            </a:rPr>
            <a:t>Financial Impact</a:t>
          </a:r>
          <a:endParaRPr lang="en-US" sz="1900" kern="1200">
            <a:latin typeface="Times New Roman" panose="02020603050405020304"/>
            <a:ea typeface="+mn-ea"/>
            <a:cs typeface="+mn-cs"/>
          </a:endParaRPr>
        </a:p>
        <a:p>
          <a:pPr marL="171450" lvl="1" indent="-171450" algn="l" defTabSz="844550">
            <a:lnSpc>
              <a:spcPct val="90000"/>
            </a:lnSpc>
            <a:spcBef>
              <a:spcPct val="0"/>
            </a:spcBef>
            <a:spcAft>
              <a:spcPct val="15000"/>
            </a:spcAft>
            <a:buChar char="••"/>
          </a:pPr>
          <a:r>
            <a:rPr lang="en-US" sz="1900" kern="1200">
              <a:latin typeface="Times New Roman" panose="02020603050405020304"/>
              <a:ea typeface="+mn-ea"/>
              <a:cs typeface="+mn-cs"/>
            </a:rPr>
            <a:t>Driver is Reduced risk exposure per dollar spent on mitigation activities</a:t>
          </a:r>
        </a:p>
      </dsp:txBody>
      <dsp:txXfrm>
        <a:off x="8770516" y="1039670"/>
        <a:ext cx="2399022" cy="1812254"/>
      </dsp:txXfrm>
    </dsp:sp>
    <dsp:sp modelId="{DE803D66-5666-451E-90A3-88BDCF394F93}">
      <dsp:nvSpPr>
        <dsp:cNvPr id="0" name=""/>
        <dsp:cNvSpPr/>
      </dsp:nvSpPr>
      <dsp:spPr>
        <a:xfrm>
          <a:off x="8727034" y="2851924"/>
          <a:ext cx="2485986" cy="797966"/>
        </a:xfrm>
        <a:prstGeom prst="rect">
          <a:avLst/>
        </a:prstGeom>
        <a:solidFill>
          <a:schemeClr val="accent2">
            <a:shade val="80000"/>
            <a:hueOff val="413864"/>
            <a:satOff val="-3736"/>
            <a:lumOff val="28969"/>
            <a:alphaOff val="0"/>
          </a:schemeClr>
        </a:solidFill>
        <a:ln w="25400" cap="flat" cmpd="sng" algn="ctr">
          <a:solidFill>
            <a:schemeClr val="accent2">
              <a:shade val="80000"/>
              <a:hueOff val="413864"/>
              <a:satOff val="-3736"/>
              <a:lumOff val="28969"/>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0" rIns="29210" bIns="0" numCol="1" spcCol="1270" anchor="ctr" anchorCtr="0">
          <a:noAutofit/>
        </a:bodyPr>
        <a:lstStyle/>
        <a:p>
          <a:pPr lvl="0" algn="l" defTabSz="1022350">
            <a:lnSpc>
              <a:spcPct val="90000"/>
            </a:lnSpc>
            <a:spcBef>
              <a:spcPct val="0"/>
            </a:spcBef>
            <a:spcAft>
              <a:spcPct val="35000"/>
            </a:spcAft>
          </a:pPr>
          <a:r>
            <a:rPr lang="en-US" sz="2300" kern="1200">
              <a:latin typeface="Times New Roman" panose="02020603050405020304"/>
              <a:ea typeface="+mn-ea"/>
              <a:cs typeface="+mn-cs"/>
            </a:rPr>
            <a:t>Insurers</a:t>
          </a:r>
        </a:p>
      </dsp:txBody>
      <dsp:txXfrm>
        <a:off x="8727034" y="2851924"/>
        <a:ext cx="1750694" cy="797966"/>
      </dsp:txXfrm>
    </dsp:sp>
    <dsp:sp modelId="{BF21A17A-0944-4DDA-A6B6-5CAD6C6C9F04}">
      <dsp:nvSpPr>
        <dsp:cNvPr id="0" name=""/>
        <dsp:cNvSpPr/>
      </dsp:nvSpPr>
      <dsp:spPr>
        <a:xfrm>
          <a:off x="10548053" y="2978674"/>
          <a:ext cx="870095" cy="870095"/>
        </a:xfrm>
        <a:prstGeom prst="roundRect">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l="-1000" r="-1000"/>
          </a:stretch>
        </a:blipFill>
        <a:ln w="25400"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929830-7796-45AF-BD9A-E4AC8ED8058C}">
      <dsp:nvSpPr>
        <dsp:cNvPr id="0" name=""/>
        <dsp:cNvSpPr/>
      </dsp:nvSpPr>
      <dsp:spPr>
        <a:xfrm>
          <a:off x="0" y="0"/>
          <a:ext cx="10740787"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C9B8DEE-2C5A-46C2-85FB-44D2F95A7C4C}">
      <dsp:nvSpPr>
        <dsp:cNvPr id="0" name=""/>
        <dsp:cNvSpPr/>
      </dsp:nvSpPr>
      <dsp:spPr>
        <a:xfrm>
          <a:off x="0" y="0"/>
          <a:ext cx="2148157" cy="880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b="1" kern="1200">
              <a:latin typeface="Times New Roman" panose="02020603050405020304"/>
              <a:ea typeface="+mn-ea"/>
              <a:cs typeface="+mn-cs"/>
            </a:rPr>
            <a:t>Social Impact</a:t>
          </a:r>
        </a:p>
      </dsp:txBody>
      <dsp:txXfrm>
        <a:off x="0" y="0"/>
        <a:ext cx="2148157" cy="880280"/>
      </dsp:txXfrm>
    </dsp:sp>
    <dsp:sp modelId="{4607E01F-6094-4EE1-BCC1-B38E5B774EC9}">
      <dsp:nvSpPr>
        <dsp:cNvPr id="0" name=""/>
        <dsp:cNvSpPr/>
      </dsp:nvSpPr>
      <dsp:spPr>
        <a:xfrm>
          <a:off x="2309269" y="39973"/>
          <a:ext cx="4135202" cy="799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lvl="0" algn="l" defTabSz="1600200">
            <a:lnSpc>
              <a:spcPct val="90000"/>
            </a:lnSpc>
            <a:spcBef>
              <a:spcPct val="0"/>
            </a:spcBef>
            <a:spcAft>
              <a:spcPct val="35000"/>
            </a:spcAft>
          </a:pPr>
          <a:r>
            <a:rPr lang="en-US" sz="3600" b="1" kern="1200">
              <a:latin typeface="Times New Roman" panose="02020603050405020304"/>
              <a:ea typeface="+mn-ea"/>
              <a:cs typeface="+mn-cs"/>
            </a:rPr>
            <a:t>Asset Functionality</a:t>
          </a:r>
          <a:r>
            <a:rPr lang="en-US" sz="3600" kern="1200">
              <a:latin typeface="Times New Roman" panose="02020603050405020304"/>
              <a:ea typeface="+mn-ea"/>
              <a:cs typeface="+mn-cs"/>
            </a:rPr>
            <a:t> </a:t>
          </a:r>
        </a:p>
      </dsp:txBody>
      <dsp:txXfrm>
        <a:off x="2309269" y="39973"/>
        <a:ext cx="4135202" cy="799473"/>
      </dsp:txXfrm>
    </dsp:sp>
    <dsp:sp modelId="{CD8A6033-3EB3-4976-9F9D-32A4B5DE1CE2}">
      <dsp:nvSpPr>
        <dsp:cNvPr id="0" name=""/>
        <dsp:cNvSpPr/>
      </dsp:nvSpPr>
      <dsp:spPr>
        <a:xfrm>
          <a:off x="6605584" y="39973"/>
          <a:ext cx="4135202" cy="399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a:t>Availability Performance </a:t>
          </a:r>
          <a:endParaRPr lang="en-US" sz="1900" kern="1200">
            <a:latin typeface="Times New Roman" panose="02020603050405020304"/>
            <a:ea typeface="+mn-ea"/>
            <a:cs typeface="+mn-cs"/>
          </a:endParaRPr>
        </a:p>
      </dsp:txBody>
      <dsp:txXfrm>
        <a:off x="6605584" y="39973"/>
        <a:ext cx="4135202" cy="399736"/>
      </dsp:txXfrm>
    </dsp:sp>
    <dsp:sp modelId="{5D7BA1D3-6107-48D2-8845-AD190C8E97D4}">
      <dsp:nvSpPr>
        <dsp:cNvPr id="0" name=""/>
        <dsp:cNvSpPr/>
      </dsp:nvSpPr>
      <dsp:spPr>
        <a:xfrm>
          <a:off x="6444472" y="439710"/>
          <a:ext cx="4135202"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0124839-B2D8-4289-8628-AAD501E6C644}">
      <dsp:nvSpPr>
        <dsp:cNvPr id="0" name=""/>
        <dsp:cNvSpPr/>
      </dsp:nvSpPr>
      <dsp:spPr>
        <a:xfrm>
          <a:off x="6605584" y="439710"/>
          <a:ext cx="4135202" cy="399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a:t>Service Performance</a:t>
          </a:r>
          <a:endParaRPr lang="en-US" sz="1900" kern="1200">
            <a:latin typeface="Times New Roman" panose="02020603050405020304"/>
            <a:ea typeface="+mn-ea"/>
            <a:cs typeface="+mn-cs"/>
          </a:endParaRPr>
        </a:p>
      </dsp:txBody>
      <dsp:txXfrm>
        <a:off x="6605584" y="439710"/>
        <a:ext cx="4135202" cy="399736"/>
      </dsp:txXfrm>
    </dsp:sp>
    <dsp:sp modelId="{A85E47CD-B328-4A6E-A770-8FDB53BE5609}">
      <dsp:nvSpPr>
        <dsp:cNvPr id="0" name=""/>
        <dsp:cNvSpPr/>
      </dsp:nvSpPr>
      <dsp:spPr>
        <a:xfrm>
          <a:off x="2148157" y="839446"/>
          <a:ext cx="8592629"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1E171A8-51F8-48D1-9F86-FEDD4CF7E937}">
      <dsp:nvSpPr>
        <dsp:cNvPr id="0" name=""/>
        <dsp:cNvSpPr/>
      </dsp:nvSpPr>
      <dsp:spPr>
        <a:xfrm>
          <a:off x="0" y="880280"/>
          <a:ext cx="10740787"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0D4D60-CBA1-4E04-9038-18D50BF4A8FD}">
      <dsp:nvSpPr>
        <dsp:cNvPr id="0" name=""/>
        <dsp:cNvSpPr/>
      </dsp:nvSpPr>
      <dsp:spPr>
        <a:xfrm>
          <a:off x="0" y="880280"/>
          <a:ext cx="2148157" cy="880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b="1" kern="1200">
              <a:latin typeface="Times New Roman" panose="02020603050405020304"/>
              <a:ea typeface="+mn-ea"/>
              <a:cs typeface="+mn-cs"/>
            </a:rPr>
            <a:t>Physical Impact</a:t>
          </a:r>
          <a:endParaRPr lang="en-US" sz="2500" kern="1200">
            <a:latin typeface="Times New Roman" panose="02020603050405020304"/>
            <a:ea typeface="+mn-ea"/>
            <a:cs typeface="+mn-cs"/>
          </a:endParaRPr>
        </a:p>
      </dsp:txBody>
      <dsp:txXfrm>
        <a:off x="0" y="880280"/>
        <a:ext cx="2148157" cy="880280"/>
      </dsp:txXfrm>
    </dsp:sp>
    <dsp:sp modelId="{C757C173-C31F-4A03-9FB3-0468C009410C}">
      <dsp:nvSpPr>
        <dsp:cNvPr id="0" name=""/>
        <dsp:cNvSpPr/>
      </dsp:nvSpPr>
      <dsp:spPr>
        <a:xfrm>
          <a:off x="2309269" y="920253"/>
          <a:ext cx="4135202" cy="799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lvl="0" algn="l" defTabSz="1600200">
            <a:lnSpc>
              <a:spcPct val="90000"/>
            </a:lnSpc>
            <a:spcBef>
              <a:spcPct val="0"/>
            </a:spcBef>
            <a:spcAft>
              <a:spcPct val="35000"/>
            </a:spcAft>
          </a:pPr>
          <a:r>
            <a:rPr lang="en-US" sz="3600" b="1" kern="1200">
              <a:latin typeface="Times New Roman" panose="02020603050405020304"/>
              <a:ea typeface="+mn-ea"/>
              <a:cs typeface="+mn-cs"/>
            </a:rPr>
            <a:t>Damage Reduction</a:t>
          </a:r>
          <a:endParaRPr lang="en-US" sz="3600" kern="1200">
            <a:latin typeface="Times New Roman" panose="02020603050405020304"/>
            <a:ea typeface="+mn-ea"/>
            <a:cs typeface="+mn-cs"/>
          </a:endParaRPr>
        </a:p>
      </dsp:txBody>
      <dsp:txXfrm>
        <a:off x="2309269" y="920253"/>
        <a:ext cx="4135202" cy="799473"/>
      </dsp:txXfrm>
    </dsp:sp>
    <dsp:sp modelId="{A25B8A3E-8B1B-48C9-8B9F-0547FA1D3A5D}">
      <dsp:nvSpPr>
        <dsp:cNvPr id="0" name=""/>
        <dsp:cNvSpPr/>
      </dsp:nvSpPr>
      <dsp:spPr>
        <a:xfrm>
          <a:off x="6605584" y="920253"/>
          <a:ext cx="4135202" cy="399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a:t>Physical Damage</a:t>
          </a:r>
          <a:endParaRPr lang="en-US" sz="1900" kern="1200">
            <a:latin typeface="Times New Roman" panose="02020603050405020304"/>
            <a:ea typeface="+mn-ea"/>
            <a:cs typeface="+mn-cs"/>
          </a:endParaRPr>
        </a:p>
      </dsp:txBody>
      <dsp:txXfrm>
        <a:off x="6605584" y="920253"/>
        <a:ext cx="4135202" cy="399736"/>
      </dsp:txXfrm>
    </dsp:sp>
    <dsp:sp modelId="{D079576A-57B0-4D65-B000-828E65D047EB}">
      <dsp:nvSpPr>
        <dsp:cNvPr id="0" name=""/>
        <dsp:cNvSpPr/>
      </dsp:nvSpPr>
      <dsp:spPr>
        <a:xfrm>
          <a:off x="6444472" y="1319990"/>
          <a:ext cx="4135202"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DA880C3-41F2-456B-AFC0-2E46343DFB00}">
      <dsp:nvSpPr>
        <dsp:cNvPr id="0" name=""/>
        <dsp:cNvSpPr/>
      </dsp:nvSpPr>
      <dsp:spPr>
        <a:xfrm>
          <a:off x="6605584" y="1319990"/>
          <a:ext cx="4135202" cy="399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a:t>Environmental Damage</a:t>
          </a:r>
          <a:endParaRPr lang="en-US" sz="1900" kern="1200">
            <a:latin typeface="Times New Roman" panose="02020603050405020304"/>
            <a:ea typeface="+mn-ea"/>
            <a:cs typeface="+mn-cs"/>
          </a:endParaRPr>
        </a:p>
      </dsp:txBody>
      <dsp:txXfrm>
        <a:off x="6605584" y="1319990"/>
        <a:ext cx="4135202" cy="399736"/>
      </dsp:txXfrm>
    </dsp:sp>
    <dsp:sp modelId="{77424F1E-82F3-4DD9-97E3-2D1AE04387E3}">
      <dsp:nvSpPr>
        <dsp:cNvPr id="0" name=""/>
        <dsp:cNvSpPr/>
      </dsp:nvSpPr>
      <dsp:spPr>
        <a:xfrm>
          <a:off x="2148157" y="1719727"/>
          <a:ext cx="8592629"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F61A8C-59BF-4195-B3DB-BBA32FA1EF82}">
      <dsp:nvSpPr>
        <dsp:cNvPr id="0" name=""/>
        <dsp:cNvSpPr/>
      </dsp:nvSpPr>
      <dsp:spPr>
        <a:xfrm>
          <a:off x="0" y="1760560"/>
          <a:ext cx="10740787"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101C8C-42A0-4AA5-9AE7-0DB881CD9B95}">
      <dsp:nvSpPr>
        <dsp:cNvPr id="0" name=""/>
        <dsp:cNvSpPr/>
      </dsp:nvSpPr>
      <dsp:spPr>
        <a:xfrm>
          <a:off x="0" y="1760560"/>
          <a:ext cx="2148157" cy="880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b="1" kern="1200">
              <a:latin typeface="Times New Roman" panose="02020603050405020304"/>
              <a:ea typeface="+mn-ea"/>
              <a:cs typeface="+mn-cs"/>
            </a:rPr>
            <a:t>Economic Impact</a:t>
          </a:r>
          <a:endParaRPr lang="en-US" sz="2500" kern="1200">
            <a:latin typeface="Times New Roman" panose="02020603050405020304"/>
            <a:ea typeface="+mn-ea"/>
            <a:cs typeface="+mn-cs"/>
          </a:endParaRPr>
        </a:p>
      </dsp:txBody>
      <dsp:txXfrm>
        <a:off x="0" y="1760560"/>
        <a:ext cx="2148157" cy="880280"/>
      </dsp:txXfrm>
    </dsp:sp>
    <dsp:sp modelId="{82B130B9-9903-40E5-8982-6BEDA8E3D860}">
      <dsp:nvSpPr>
        <dsp:cNvPr id="0" name=""/>
        <dsp:cNvSpPr/>
      </dsp:nvSpPr>
      <dsp:spPr>
        <a:xfrm>
          <a:off x="2309269" y="1800534"/>
          <a:ext cx="4135202" cy="799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lvl="0" algn="l" defTabSz="1600200">
            <a:lnSpc>
              <a:spcPct val="90000"/>
            </a:lnSpc>
            <a:spcBef>
              <a:spcPct val="0"/>
            </a:spcBef>
            <a:spcAft>
              <a:spcPct val="35000"/>
            </a:spcAft>
          </a:pPr>
          <a:r>
            <a:rPr lang="en-US" sz="3600" b="1" kern="1200">
              <a:latin typeface="Times New Roman" panose="02020603050405020304"/>
              <a:ea typeface="+mn-ea"/>
              <a:cs typeface="+mn-cs"/>
            </a:rPr>
            <a:t>Value for Money</a:t>
          </a:r>
          <a:endParaRPr lang="en-US" sz="3600" kern="1200">
            <a:latin typeface="Times New Roman" panose="02020603050405020304"/>
            <a:ea typeface="+mn-ea"/>
            <a:cs typeface="+mn-cs"/>
          </a:endParaRPr>
        </a:p>
      </dsp:txBody>
      <dsp:txXfrm>
        <a:off x="2309269" y="1800534"/>
        <a:ext cx="4135202" cy="799473"/>
      </dsp:txXfrm>
    </dsp:sp>
    <dsp:sp modelId="{F0529B71-262A-455C-8776-AD71FBF7299C}">
      <dsp:nvSpPr>
        <dsp:cNvPr id="0" name=""/>
        <dsp:cNvSpPr/>
      </dsp:nvSpPr>
      <dsp:spPr>
        <a:xfrm>
          <a:off x="6605584" y="1800534"/>
          <a:ext cx="4135202" cy="399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a:t>Business Generation</a:t>
          </a:r>
          <a:endParaRPr lang="en-US" sz="1900" kern="1200">
            <a:latin typeface="Times New Roman" panose="02020603050405020304"/>
            <a:ea typeface="+mn-ea"/>
            <a:cs typeface="+mn-cs"/>
          </a:endParaRPr>
        </a:p>
      </dsp:txBody>
      <dsp:txXfrm>
        <a:off x="6605584" y="1800534"/>
        <a:ext cx="4135202" cy="399736"/>
      </dsp:txXfrm>
    </dsp:sp>
    <dsp:sp modelId="{36C71BDC-F699-4E82-A23C-0291E481E551}">
      <dsp:nvSpPr>
        <dsp:cNvPr id="0" name=""/>
        <dsp:cNvSpPr/>
      </dsp:nvSpPr>
      <dsp:spPr>
        <a:xfrm>
          <a:off x="6444472" y="2200270"/>
          <a:ext cx="4135202"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0898062-A466-4050-8018-161CC7124EB6}">
      <dsp:nvSpPr>
        <dsp:cNvPr id="0" name=""/>
        <dsp:cNvSpPr/>
      </dsp:nvSpPr>
      <dsp:spPr>
        <a:xfrm>
          <a:off x="6605584" y="2200270"/>
          <a:ext cx="4135202" cy="399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a:t>Business Downtime</a:t>
          </a:r>
          <a:endParaRPr lang="en-US" sz="1900" kern="1200">
            <a:latin typeface="Times New Roman" panose="02020603050405020304"/>
            <a:ea typeface="+mn-ea"/>
            <a:cs typeface="+mn-cs"/>
          </a:endParaRPr>
        </a:p>
      </dsp:txBody>
      <dsp:txXfrm>
        <a:off x="6605584" y="2200270"/>
        <a:ext cx="4135202" cy="399736"/>
      </dsp:txXfrm>
    </dsp:sp>
    <dsp:sp modelId="{B57D9132-7470-4CF5-98C5-4FBFF8B616A0}">
      <dsp:nvSpPr>
        <dsp:cNvPr id="0" name=""/>
        <dsp:cNvSpPr/>
      </dsp:nvSpPr>
      <dsp:spPr>
        <a:xfrm>
          <a:off x="2148157" y="2600007"/>
          <a:ext cx="8592629"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690367F-D236-4EC8-8918-330548FE59A6}">
      <dsp:nvSpPr>
        <dsp:cNvPr id="0" name=""/>
        <dsp:cNvSpPr/>
      </dsp:nvSpPr>
      <dsp:spPr>
        <a:xfrm>
          <a:off x="0" y="2640840"/>
          <a:ext cx="10740787"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732ECF0-9675-4741-9AAD-E0F4D1468007}">
      <dsp:nvSpPr>
        <dsp:cNvPr id="0" name=""/>
        <dsp:cNvSpPr/>
      </dsp:nvSpPr>
      <dsp:spPr>
        <a:xfrm>
          <a:off x="0" y="2640840"/>
          <a:ext cx="2148157" cy="8802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b="1" kern="1200">
              <a:latin typeface="Times New Roman" panose="02020603050405020304"/>
              <a:ea typeface="+mn-ea"/>
              <a:cs typeface="+mn-cs"/>
            </a:rPr>
            <a:t>Financial Impact</a:t>
          </a:r>
          <a:endParaRPr lang="en-US" sz="2500" kern="1200">
            <a:latin typeface="Times New Roman" panose="02020603050405020304"/>
            <a:ea typeface="+mn-ea"/>
            <a:cs typeface="+mn-cs"/>
          </a:endParaRPr>
        </a:p>
      </dsp:txBody>
      <dsp:txXfrm>
        <a:off x="0" y="2640840"/>
        <a:ext cx="2148157" cy="880280"/>
      </dsp:txXfrm>
    </dsp:sp>
    <dsp:sp modelId="{D0479403-F0C6-4B51-BD04-EC8D728E64D3}">
      <dsp:nvSpPr>
        <dsp:cNvPr id="0" name=""/>
        <dsp:cNvSpPr/>
      </dsp:nvSpPr>
      <dsp:spPr>
        <a:xfrm>
          <a:off x="2309269" y="2680814"/>
          <a:ext cx="4135202" cy="799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lvl="0" algn="l" defTabSz="1600200">
            <a:lnSpc>
              <a:spcPct val="90000"/>
            </a:lnSpc>
            <a:spcBef>
              <a:spcPct val="0"/>
            </a:spcBef>
            <a:spcAft>
              <a:spcPct val="35000"/>
            </a:spcAft>
          </a:pPr>
          <a:r>
            <a:rPr lang="en-US" sz="3600" b="1" kern="1200"/>
            <a:t>Loss</a:t>
          </a:r>
          <a:r>
            <a:rPr lang="en-US" sz="3600" kern="1200"/>
            <a:t> </a:t>
          </a:r>
          <a:r>
            <a:rPr lang="en-US" sz="3600" b="1" kern="1200"/>
            <a:t>Reduction</a:t>
          </a:r>
          <a:endParaRPr lang="en-US" sz="3600" b="1" kern="1200">
            <a:latin typeface="Times New Roman" panose="02020603050405020304"/>
            <a:ea typeface="+mn-ea"/>
            <a:cs typeface="+mn-cs"/>
          </a:endParaRPr>
        </a:p>
      </dsp:txBody>
      <dsp:txXfrm>
        <a:off x="2309269" y="2680814"/>
        <a:ext cx="4135202" cy="799473"/>
      </dsp:txXfrm>
    </dsp:sp>
    <dsp:sp modelId="{FF5DF8DB-820B-4503-BCD4-11181A4F8836}">
      <dsp:nvSpPr>
        <dsp:cNvPr id="0" name=""/>
        <dsp:cNvSpPr/>
      </dsp:nvSpPr>
      <dsp:spPr>
        <a:xfrm>
          <a:off x="6605584" y="2680814"/>
          <a:ext cx="4135202" cy="399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a:t>Asset Values</a:t>
          </a:r>
          <a:endParaRPr lang="en-US" sz="1900" kern="1200">
            <a:latin typeface="Times New Roman" panose="02020603050405020304"/>
            <a:ea typeface="+mn-ea"/>
            <a:cs typeface="+mn-cs"/>
          </a:endParaRPr>
        </a:p>
      </dsp:txBody>
      <dsp:txXfrm>
        <a:off x="6605584" y="2680814"/>
        <a:ext cx="4135202" cy="399736"/>
      </dsp:txXfrm>
    </dsp:sp>
    <dsp:sp modelId="{885A0C83-0ED8-48D9-A7A6-A2FDB34862F5}">
      <dsp:nvSpPr>
        <dsp:cNvPr id="0" name=""/>
        <dsp:cNvSpPr/>
      </dsp:nvSpPr>
      <dsp:spPr>
        <a:xfrm>
          <a:off x="6444472" y="3080551"/>
          <a:ext cx="4135202"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8782396-9434-47EE-B3EC-EBB96FA779B5}">
      <dsp:nvSpPr>
        <dsp:cNvPr id="0" name=""/>
        <dsp:cNvSpPr/>
      </dsp:nvSpPr>
      <dsp:spPr>
        <a:xfrm>
          <a:off x="6605584" y="3080551"/>
          <a:ext cx="4135202" cy="39973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2390" tIns="72390" rIns="72390" bIns="72390" numCol="1" spcCol="1270" anchor="t" anchorCtr="0">
          <a:noAutofit/>
        </a:bodyPr>
        <a:lstStyle/>
        <a:p>
          <a:pPr lvl="0" algn="l" defTabSz="844550">
            <a:lnSpc>
              <a:spcPct val="90000"/>
            </a:lnSpc>
            <a:spcBef>
              <a:spcPct val="0"/>
            </a:spcBef>
            <a:spcAft>
              <a:spcPct val="35000"/>
            </a:spcAft>
          </a:pPr>
          <a:r>
            <a:rPr lang="en-US" sz="1900" kern="1200" dirty="0"/>
            <a:t>Repair Cost Estimates</a:t>
          </a:r>
          <a:endParaRPr lang="en-US" sz="1900" kern="1200" dirty="0">
            <a:latin typeface="Times New Roman" panose="02020603050405020304"/>
            <a:ea typeface="+mn-ea"/>
            <a:cs typeface="+mn-cs"/>
          </a:endParaRPr>
        </a:p>
      </dsp:txBody>
      <dsp:txXfrm>
        <a:off x="6605584" y="3080551"/>
        <a:ext cx="4135202" cy="399736"/>
      </dsp:txXfrm>
    </dsp:sp>
    <dsp:sp modelId="{0F321460-A0CA-4D8A-B8BD-04A6E91DDCFB}">
      <dsp:nvSpPr>
        <dsp:cNvPr id="0" name=""/>
        <dsp:cNvSpPr/>
      </dsp:nvSpPr>
      <dsp:spPr>
        <a:xfrm>
          <a:off x="2148157" y="3480287"/>
          <a:ext cx="8592629" cy="0"/>
        </a:xfrm>
        <a:prstGeom prst="line">
          <a:avLst/>
        </a:prstGeom>
        <a:solidFill>
          <a:schemeClr val="accent2">
            <a:hueOff val="0"/>
            <a:satOff val="0"/>
            <a:lumOff val="0"/>
            <a:alphaOff val="0"/>
          </a:schemeClr>
        </a:solidFill>
        <a:ln w="25400" cap="flat" cmpd="sng" algn="ctr">
          <a:solidFill>
            <a:schemeClr val="accent2">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125431-6238-4FCE-AEBA-CD584719F6C9}">
      <dsp:nvSpPr>
        <dsp:cNvPr id="0" name=""/>
        <dsp:cNvSpPr/>
      </dsp:nvSpPr>
      <dsp:spPr>
        <a:xfrm>
          <a:off x="1856586" y="397045"/>
          <a:ext cx="1863032" cy="1768013"/>
        </a:xfrm>
        <a:prstGeom prst="ellipse">
          <a:avLst/>
        </a:prstGeom>
        <a:blipFill>
          <a:blip xmlns:r="http://schemas.openxmlformats.org/officeDocument/2006/relationships" r:embed="rId1">
            <a:duotone>
              <a:schemeClr val="accent6">
                <a:shade val="45000"/>
                <a:satMod val="135000"/>
              </a:schemeClr>
              <a:prstClr val="white"/>
            </a:duotone>
            <a:extLst>
              <a:ext uri="{28A0092B-C50C-407E-A947-70E740481C1C}">
                <a14:useLocalDpi xmlns:a14="http://schemas.microsoft.com/office/drawing/2010/main" val="0"/>
              </a:ext>
            </a:extLst>
          </a:blip>
          <a:srcRect/>
          <a:stretch>
            <a:fillRect t="-3000" b="-3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D0E88EA-4B09-422A-8FB1-A477460CE6A2}">
      <dsp:nvSpPr>
        <dsp:cNvPr id="0" name=""/>
        <dsp:cNvSpPr/>
      </dsp:nvSpPr>
      <dsp:spPr>
        <a:xfrm>
          <a:off x="366858" y="256301"/>
          <a:ext cx="1867344" cy="4914529"/>
        </a:xfrm>
        <a:prstGeom prst="rect">
          <a:avLst/>
        </a:prstGeom>
        <a:solidFill>
          <a:schemeClr val="accent6">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1" kern="1200" dirty="0" smtClean="0"/>
            <a:t>1 – Risk Ownership</a:t>
          </a:r>
        </a:p>
        <a:p>
          <a:pPr lvl="0" algn="l" defTabSz="711200">
            <a:lnSpc>
              <a:spcPct val="90000"/>
            </a:lnSpc>
            <a:spcBef>
              <a:spcPct val="0"/>
            </a:spcBef>
            <a:spcAft>
              <a:spcPct val="35000"/>
            </a:spcAft>
          </a:pPr>
          <a:r>
            <a:rPr lang="en-US" sz="1600" b="1" kern="1200" dirty="0" smtClean="0"/>
            <a:t>2 – Thresholds</a:t>
          </a:r>
        </a:p>
        <a:p>
          <a:pPr lvl="0" algn="l" defTabSz="711200">
            <a:lnSpc>
              <a:spcPct val="90000"/>
            </a:lnSpc>
            <a:spcBef>
              <a:spcPct val="0"/>
            </a:spcBef>
            <a:spcAft>
              <a:spcPct val="35000"/>
            </a:spcAft>
          </a:pPr>
          <a:r>
            <a:rPr lang="en-US" sz="1600" b="1" kern="1200" dirty="0" smtClean="0"/>
            <a:t>3 – Project Phasing</a:t>
          </a:r>
        </a:p>
        <a:p>
          <a:pPr lvl="0" algn="l" defTabSz="711200">
            <a:lnSpc>
              <a:spcPct val="90000"/>
            </a:lnSpc>
            <a:spcBef>
              <a:spcPct val="0"/>
            </a:spcBef>
            <a:spcAft>
              <a:spcPct val="35000"/>
            </a:spcAft>
          </a:pPr>
          <a:endParaRPr lang="en-US" sz="1400" b="1" kern="1200" dirty="0" smtClean="0"/>
        </a:p>
        <a:p>
          <a:pPr lvl="0" algn="l" defTabSz="711200">
            <a:lnSpc>
              <a:spcPct val="150000"/>
            </a:lnSpc>
            <a:spcBef>
              <a:spcPct val="0"/>
            </a:spcBef>
            <a:spcAft>
              <a:spcPct val="35000"/>
            </a:spcAft>
          </a:pPr>
          <a:r>
            <a:rPr lang="en-US" sz="1400" b="1" kern="1200" dirty="0" smtClean="0"/>
            <a:t>Example:</a:t>
          </a:r>
          <a:r>
            <a:rPr lang="en-US" sz="1400" kern="1200" dirty="0" smtClean="0"/>
            <a:t> </a:t>
          </a:r>
        </a:p>
        <a:p>
          <a:pPr lvl="0" algn="l" defTabSz="711200">
            <a:lnSpc>
              <a:spcPct val="150000"/>
            </a:lnSpc>
            <a:spcBef>
              <a:spcPct val="0"/>
            </a:spcBef>
            <a:spcAft>
              <a:spcPct val="35000"/>
            </a:spcAft>
          </a:pPr>
          <a:r>
            <a:rPr lang="en-US" sz="1400" i="0" kern="1200" dirty="0" smtClean="0"/>
            <a:t>To reduce O&amp;M cost overruns the contract should include language around Stress Event and Shock event </a:t>
          </a:r>
          <a:r>
            <a:rPr lang="en-US" sz="1400" b="1" i="0" kern="1200" dirty="0" smtClean="0">
              <a:solidFill>
                <a:schemeClr val="tx1"/>
              </a:solidFill>
            </a:rPr>
            <a:t>thresholds</a:t>
          </a:r>
          <a:r>
            <a:rPr lang="en-US" sz="1400" i="0" kern="1200" dirty="0" smtClean="0"/>
            <a:t> as well as </a:t>
          </a:r>
          <a:r>
            <a:rPr lang="en-US" sz="1400" b="1" i="0" kern="1200" dirty="0" smtClean="0">
              <a:solidFill>
                <a:schemeClr val="tx1"/>
              </a:solidFill>
            </a:rPr>
            <a:t>transfer of design risk </a:t>
          </a:r>
          <a:r>
            <a:rPr lang="en-US" sz="1400" i="0" kern="1200" dirty="0" smtClean="0"/>
            <a:t>to the Contractor.</a:t>
          </a:r>
          <a:endParaRPr lang="en-US" sz="1400" i="0" kern="1200" dirty="0">
            <a:latin typeface="+mn-lt"/>
            <a:cs typeface="Arial" panose="020B0604020202020204" pitchFamily="34" charset="0"/>
          </a:endParaRPr>
        </a:p>
      </dsp:txBody>
      <dsp:txXfrm>
        <a:off x="366858" y="256301"/>
        <a:ext cx="1867344" cy="49145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DADEC8-6723-41B1-B1F1-3D41AFE28E85}">
      <dsp:nvSpPr>
        <dsp:cNvPr id="0" name=""/>
        <dsp:cNvSpPr/>
      </dsp:nvSpPr>
      <dsp:spPr>
        <a:xfrm>
          <a:off x="3171" y="0"/>
          <a:ext cx="1253144" cy="4935536"/>
        </a:xfrm>
        <a:prstGeom prst="roundRect">
          <a:avLst>
            <a:gd name="adj" fmla="val 10000"/>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a:latin typeface="Times New Roman" panose="02020603050405020304"/>
              <a:ea typeface="+mn-ea"/>
              <a:cs typeface="+mn-cs"/>
            </a:rPr>
            <a:t>Ownership</a:t>
          </a:r>
        </a:p>
      </dsp:txBody>
      <dsp:txXfrm>
        <a:off x="3171" y="0"/>
        <a:ext cx="1253144" cy="1480660"/>
      </dsp:txXfrm>
    </dsp:sp>
    <dsp:sp modelId="{E268CE7F-2504-4E26-9E98-E5358FB218AC}">
      <dsp:nvSpPr>
        <dsp:cNvPr id="0" name=""/>
        <dsp:cNvSpPr/>
      </dsp:nvSpPr>
      <dsp:spPr>
        <a:xfrm>
          <a:off x="128486" y="1480781"/>
          <a:ext cx="1002515" cy="71900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1" kern="1200">
              <a:latin typeface="Times New Roman" panose="02020603050405020304"/>
              <a:ea typeface="+mn-ea"/>
              <a:cs typeface="+mn-cs"/>
            </a:rPr>
            <a:t>Client Country</a:t>
          </a:r>
        </a:p>
      </dsp:txBody>
      <dsp:txXfrm>
        <a:off x="149545" y="1501840"/>
        <a:ext cx="960397" cy="676884"/>
      </dsp:txXfrm>
    </dsp:sp>
    <dsp:sp modelId="{63EA0D94-9097-4EDE-892C-36FC13F94BEB}">
      <dsp:nvSpPr>
        <dsp:cNvPr id="0" name=""/>
        <dsp:cNvSpPr/>
      </dsp:nvSpPr>
      <dsp:spPr>
        <a:xfrm>
          <a:off x="128486" y="2310399"/>
          <a:ext cx="1002515" cy="71900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1" kern="1200">
              <a:latin typeface="Times New Roman" panose="02020603050405020304"/>
              <a:ea typeface="+mn-ea"/>
              <a:cs typeface="+mn-cs"/>
            </a:rPr>
            <a:t>Contractor</a:t>
          </a:r>
        </a:p>
      </dsp:txBody>
      <dsp:txXfrm>
        <a:off x="149545" y="2331458"/>
        <a:ext cx="960397" cy="676884"/>
      </dsp:txXfrm>
    </dsp:sp>
    <dsp:sp modelId="{A94A2A2B-788A-4A51-9C49-E2DE929B5E0C}">
      <dsp:nvSpPr>
        <dsp:cNvPr id="0" name=""/>
        <dsp:cNvSpPr/>
      </dsp:nvSpPr>
      <dsp:spPr>
        <a:xfrm>
          <a:off x="128486" y="3140017"/>
          <a:ext cx="1002515" cy="71900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1" kern="1200">
              <a:latin typeface="Times New Roman" panose="02020603050405020304"/>
              <a:ea typeface="+mn-ea"/>
              <a:cs typeface="+mn-cs"/>
            </a:rPr>
            <a:t>Local Community</a:t>
          </a:r>
        </a:p>
      </dsp:txBody>
      <dsp:txXfrm>
        <a:off x="149545" y="3161076"/>
        <a:ext cx="960397" cy="676884"/>
      </dsp:txXfrm>
    </dsp:sp>
    <dsp:sp modelId="{5990C75D-FDDE-40FA-893F-E1342296A7DA}">
      <dsp:nvSpPr>
        <dsp:cNvPr id="0" name=""/>
        <dsp:cNvSpPr/>
      </dsp:nvSpPr>
      <dsp:spPr>
        <a:xfrm>
          <a:off x="128486" y="3969636"/>
          <a:ext cx="1002515" cy="71900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1" kern="1200">
              <a:latin typeface="Times New Roman" panose="02020603050405020304"/>
              <a:ea typeface="+mn-ea"/>
              <a:cs typeface="+mn-cs"/>
            </a:rPr>
            <a:t>Insurance</a:t>
          </a:r>
        </a:p>
      </dsp:txBody>
      <dsp:txXfrm>
        <a:off x="149545" y="3990695"/>
        <a:ext cx="960397" cy="676884"/>
      </dsp:txXfrm>
    </dsp:sp>
    <dsp:sp modelId="{7A13265C-0B22-4B9D-8A8E-379A78F94C6F}">
      <dsp:nvSpPr>
        <dsp:cNvPr id="0" name=""/>
        <dsp:cNvSpPr/>
      </dsp:nvSpPr>
      <dsp:spPr>
        <a:xfrm>
          <a:off x="1350301" y="0"/>
          <a:ext cx="1253144" cy="4935536"/>
        </a:xfrm>
        <a:prstGeom prst="roundRect">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a:latin typeface="Times New Roman" panose="02020603050405020304"/>
              <a:ea typeface="+mn-ea"/>
              <a:cs typeface="+mn-cs"/>
            </a:rPr>
            <a:t>Standards</a:t>
          </a:r>
        </a:p>
      </dsp:txBody>
      <dsp:txXfrm>
        <a:off x="1350301" y="0"/>
        <a:ext cx="1253144" cy="1480660"/>
      </dsp:txXfrm>
    </dsp:sp>
    <dsp:sp modelId="{A9213B6B-AFD0-418A-845A-56A54BF2F623}">
      <dsp:nvSpPr>
        <dsp:cNvPr id="0" name=""/>
        <dsp:cNvSpPr/>
      </dsp:nvSpPr>
      <dsp:spPr>
        <a:xfrm>
          <a:off x="1475616" y="1480781"/>
          <a:ext cx="1002515" cy="719002"/>
        </a:xfrm>
        <a:prstGeom prst="round2SameRect">
          <a:avLst>
            <a:gd name="adj1" fmla="val 8000"/>
            <a:gd name="adj2" fmla="val 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Scale</a:t>
          </a:r>
        </a:p>
      </dsp:txBody>
      <dsp:txXfrm>
        <a:off x="1492463" y="1497628"/>
        <a:ext cx="968821" cy="702155"/>
      </dsp:txXfrm>
    </dsp:sp>
    <dsp:sp modelId="{3F143128-A1C8-4880-8B3D-F45090C60A13}">
      <dsp:nvSpPr>
        <dsp:cNvPr id="0" name=""/>
        <dsp:cNvSpPr/>
      </dsp:nvSpPr>
      <dsp:spPr>
        <a:xfrm>
          <a:off x="1475616" y="2310399"/>
          <a:ext cx="1002515" cy="71900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Quality</a:t>
          </a:r>
        </a:p>
      </dsp:txBody>
      <dsp:txXfrm>
        <a:off x="1496675" y="2331458"/>
        <a:ext cx="960397" cy="676884"/>
      </dsp:txXfrm>
    </dsp:sp>
    <dsp:sp modelId="{881451FF-C1D5-4857-A043-742F95A09659}">
      <dsp:nvSpPr>
        <dsp:cNvPr id="0" name=""/>
        <dsp:cNvSpPr/>
      </dsp:nvSpPr>
      <dsp:spPr>
        <a:xfrm>
          <a:off x="1475616" y="3140017"/>
          <a:ext cx="1002515" cy="71900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Effort</a:t>
          </a:r>
        </a:p>
      </dsp:txBody>
      <dsp:txXfrm>
        <a:off x="1496675" y="3161076"/>
        <a:ext cx="960397" cy="676884"/>
      </dsp:txXfrm>
    </dsp:sp>
    <dsp:sp modelId="{6E291A2E-B053-4CEE-B63E-9438110E9374}">
      <dsp:nvSpPr>
        <dsp:cNvPr id="0" name=""/>
        <dsp:cNvSpPr/>
      </dsp:nvSpPr>
      <dsp:spPr>
        <a:xfrm>
          <a:off x="1475616" y="3969636"/>
          <a:ext cx="1002515" cy="71900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Reviewed</a:t>
          </a:r>
        </a:p>
      </dsp:txBody>
      <dsp:txXfrm>
        <a:off x="1496675" y="3990695"/>
        <a:ext cx="960397" cy="676884"/>
      </dsp:txXfrm>
    </dsp:sp>
    <dsp:sp modelId="{4FD24DDE-7D70-45F0-9ADA-1E12A591D2DA}">
      <dsp:nvSpPr>
        <dsp:cNvPr id="0" name=""/>
        <dsp:cNvSpPr/>
      </dsp:nvSpPr>
      <dsp:spPr>
        <a:xfrm>
          <a:off x="2697431" y="0"/>
          <a:ext cx="1253144" cy="4935536"/>
        </a:xfrm>
        <a:prstGeom prst="roundRect">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a:solidFill>
                <a:sysClr val="windowText" lastClr="000000"/>
              </a:solidFill>
              <a:latin typeface="Times New Roman" panose="02020603050405020304"/>
              <a:ea typeface="+mn-ea"/>
              <a:cs typeface="+mn-cs"/>
            </a:rPr>
            <a:t>Affected Parties </a:t>
          </a:r>
        </a:p>
      </dsp:txBody>
      <dsp:txXfrm>
        <a:off x="2697431" y="0"/>
        <a:ext cx="1253144" cy="1480660"/>
      </dsp:txXfrm>
    </dsp:sp>
    <dsp:sp modelId="{0B493253-197A-401D-A3EC-9EE6D5B1C472}">
      <dsp:nvSpPr>
        <dsp:cNvPr id="0" name=""/>
        <dsp:cNvSpPr/>
      </dsp:nvSpPr>
      <dsp:spPr>
        <a:xfrm>
          <a:off x="2822746" y="1481082"/>
          <a:ext cx="1002515" cy="96963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Other communities</a:t>
          </a:r>
        </a:p>
      </dsp:txBody>
      <dsp:txXfrm>
        <a:off x="2851146" y="1509482"/>
        <a:ext cx="945715" cy="912835"/>
      </dsp:txXfrm>
    </dsp:sp>
    <dsp:sp modelId="{75AD852E-355B-420A-B55E-2883E49B2B09}">
      <dsp:nvSpPr>
        <dsp:cNvPr id="0" name=""/>
        <dsp:cNvSpPr/>
      </dsp:nvSpPr>
      <dsp:spPr>
        <a:xfrm>
          <a:off x="2822746" y="2599892"/>
          <a:ext cx="1002515" cy="96963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Business</a:t>
          </a:r>
        </a:p>
      </dsp:txBody>
      <dsp:txXfrm>
        <a:off x="2851146" y="2628292"/>
        <a:ext cx="945715" cy="912835"/>
      </dsp:txXfrm>
    </dsp:sp>
    <dsp:sp modelId="{5417DB4D-C77E-4A93-AF87-AD2C0DE9C8E9}">
      <dsp:nvSpPr>
        <dsp:cNvPr id="0" name=""/>
        <dsp:cNvSpPr/>
      </dsp:nvSpPr>
      <dsp:spPr>
        <a:xfrm>
          <a:off x="2822746" y="3718702"/>
          <a:ext cx="1002515" cy="96963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Investors</a:t>
          </a:r>
        </a:p>
      </dsp:txBody>
      <dsp:txXfrm>
        <a:off x="2851146" y="3747102"/>
        <a:ext cx="945715" cy="912835"/>
      </dsp:txXfrm>
    </dsp:sp>
    <dsp:sp modelId="{427054C7-1136-44E4-866C-A10DB3570D9F}">
      <dsp:nvSpPr>
        <dsp:cNvPr id="0" name=""/>
        <dsp:cNvSpPr/>
      </dsp:nvSpPr>
      <dsp:spPr>
        <a:xfrm>
          <a:off x="4044561" y="0"/>
          <a:ext cx="1253144" cy="4935536"/>
        </a:xfrm>
        <a:prstGeom prst="roundRect">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a:latin typeface="Times New Roman" panose="02020603050405020304"/>
              <a:ea typeface="+mn-ea"/>
              <a:cs typeface="+mn-cs"/>
            </a:rPr>
            <a:t>Events</a:t>
          </a:r>
        </a:p>
      </dsp:txBody>
      <dsp:txXfrm>
        <a:off x="4044561" y="0"/>
        <a:ext cx="1253144" cy="1480660"/>
      </dsp:txXfrm>
    </dsp:sp>
    <dsp:sp modelId="{8237130C-CFC1-458B-B4C8-4DBAF4D22636}">
      <dsp:nvSpPr>
        <dsp:cNvPr id="0" name=""/>
        <dsp:cNvSpPr/>
      </dsp:nvSpPr>
      <dsp:spPr>
        <a:xfrm>
          <a:off x="4169876" y="1481082"/>
          <a:ext cx="1002515" cy="96963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solidFill>
                <a:schemeClr val="bg1"/>
              </a:solidFill>
              <a:latin typeface="Times New Roman" panose="02020603050405020304"/>
              <a:ea typeface="+mn-ea"/>
              <a:cs typeface="+mn-cs"/>
            </a:rPr>
            <a:t>Shock Event</a:t>
          </a:r>
        </a:p>
      </dsp:txBody>
      <dsp:txXfrm>
        <a:off x="4217210" y="1528416"/>
        <a:ext cx="907847" cy="874967"/>
      </dsp:txXfrm>
    </dsp:sp>
    <dsp:sp modelId="{25770E3C-D575-434C-9FA3-9B4B4E5F51D3}">
      <dsp:nvSpPr>
        <dsp:cNvPr id="0" name=""/>
        <dsp:cNvSpPr/>
      </dsp:nvSpPr>
      <dsp:spPr>
        <a:xfrm>
          <a:off x="4169876" y="2599892"/>
          <a:ext cx="1002515" cy="96963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Stress Events</a:t>
          </a:r>
        </a:p>
      </dsp:txBody>
      <dsp:txXfrm>
        <a:off x="4198276" y="2628292"/>
        <a:ext cx="945715" cy="912835"/>
      </dsp:txXfrm>
    </dsp:sp>
    <dsp:sp modelId="{FEBDB620-9732-485A-BF23-75777F50BF53}">
      <dsp:nvSpPr>
        <dsp:cNvPr id="0" name=""/>
        <dsp:cNvSpPr/>
      </dsp:nvSpPr>
      <dsp:spPr>
        <a:xfrm>
          <a:off x="4169876" y="3718702"/>
          <a:ext cx="1002515" cy="96963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Compounding Events</a:t>
          </a:r>
        </a:p>
      </dsp:txBody>
      <dsp:txXfrm>
        <a:off x="4198276" y="3747102"/>
        <a:ext cx="945715" cy="912835"/>
      </dsp:txXfrm>
    </dsp:sp>
    <dsp:sp modelId="{13CA8D46-D4CC-4ADF-A576-ED1A5A75012F}">
      <dsp:nvSpPr>
        <dsp:cNvPr id="0" name=""/>
        <dsp:cNvSpPr/>
      </dsp:nvSpPr>
      <dsp:spPr>
        <a:xfrm>
          <a:off x="5391691" y="0"/>
          <a:ext cx="1253144" cy="4935536"/>
        </a:xfrm>
        <a:prstGeom prst="roundRect">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a:latin typeface="Times New Roman" panose="02020603050405020304"/>
              <a:ea typeface="+mn-ea"/>
              <a:cs typeface="+mn-cs"/>
            </a:rPr>
            <a:t>Terms</a:t>
          </a:r>
        </a:p>
      </dsp:txBody>
      <dsp:txXfrm>
        <a:off x="5391691" y="0"/>
        <a:ext cx="1253144" cy="1480660"/>
      </dsp:txXfrm>
    </dsp:sp>
    <dsp:sp modelId="{2D9E9755-6C19-4D9F-8697-2A78908BB979}">
      <dsp:nvSpPr>
        <dsp:cNvPr id="0" name=""/>
        <dsp:cNvSpPr/>
      </dsp:nvSpPr>
      <dsp:spPr>
        <a:xfrm>
          <a:off x="5517006" y="1481082"/>
          <a:ext cx="1002515" cy="969635"/>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latin typeface="Times New Roman" panose="02020603050405020304"/>
              <a:ea typeface="+mn-ea"/>
              <a:cs typeface="+mn-cs"/>
            </a:rPr>
            <a:t>Force Majeaure</a:t>
          </a:r>
        </a:p>
      </dsp:txBody>
      <dsp:txXfrm>
        <a:off x="5564340" y="1528416"/>
        <a:ext cx="907847" cy="874967"/>
      </dsp:txXfrm>
    </dsp:sp>
    <dsp:sp modelId="{4AE5FFDD-1BF1-4B95-82F9-DE99E74A98AF}">
      <dsp:nvSpPr>
        <dsp:cNvPr id="0" name=""/>
        <dsp:cNvSpPr/>
      </dsp:nvSpPr>
      <dsp:spPr>
        <a:xfrm>
          <a:off x="5517006" y="2599892"/>
          <a:ext cx="1002515" cy="96963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latin typeface="Times New Roman" panose="02020603050405020304"/>
              <a:ea typeface="+mn-ea"/>
              <a:cs typeface="+mn-cs"/>
            </a:rPr>
            <a:t>Unforseen Conditions</a:t>
          </a:r>
        </a:p>
      </dsp:txBody>
      <dsp:txXfrm>
        <a:off x="5545406" y="2628292"/>
        <a:ext cx="945715" cy="912835"/>
      </dsp:txXfrm>
    </dsp:sp>
    <dsp:sp modelId="{0E8CD5D9-1964-4D84-84BA-638805FD3C5D}">
      <dsp:nvSpPr>
        <dsp:cNvPr id="0" name=""/>
        <dsp:cNvSpPr/>
      </dsp:nvSpPr>
      <dsp:spPr>
        <a:xfrm>
          <a:off x="5517006" y="3718702"/>
          <a:ext cx="1002515" cy="969635"/>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latin typeface="Times New Roman" panose="02020603050405020304"/>
              <a:ea typeface="+mn-ea"/>
              <a:cs typeface="+mn-cs"/>
            </a:rPr>
            <a:t>Reasonable</a:t>
          </a:r>
        </a:p>
      </dsp:txBody>
      <dsp:txXfrm>
        <a:off x="5545406" y="3747102"/>
        <a:ext cx="945715" cy="912835"/>
      </dsp:txXfrm>
    </dsp:sp>
    <dsp:sp modelId="{F815CDEA-0AA5-43C5-A026-EF6AF9E53E6A}">
      <dsp:nvSpPr>
        <dsp:cNvPr id="0" name=""/>
        <dsp:cNvSpPr/>
      </dsp:nvSpPr>
      <dsp:spPr>
        <a:xfrm>
          <a:off x="6738821" y="0"/>
          <a:ext cx="1253144" cy="4935536"/>
        </a:xfrm>
        <a:prstGeom prst="roundRect">
          <a:avLst/>
        </a:prstGeom>
        <a:solidFill>
          <a:schemeClr val="accent6">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a:solidFill>
                <a:sysClr val="windowText" lastClr="000000"/>
              </a:solidFill>
              <a:latin typeface="Times New Roman" panose="02020603050405020304"/>
              <a:ea typeface="+mn-ea"/>
              <a:cs typeface="+mn-cs"/>
            </a:rPr>
            <a:t>Phase</a:t>
          </a:r>
        </a:p>
      </dsp:txBody>
      <dsp:txXfrm>
        <a:off x="6738821" y="0"/>
        <a:ext cx="1253144" cy="1480660"/>
      </dsp:txXfrm>
    </dsp:sp>
    <dsp:sp modelId="{9EE523E2-FD30-4CA9-A6CF-8D8AD8DAA6FD}">
      <dsp:nvSpPr>
        <dsp:cNvPr id="0" name=""/>
        <dsp:cNvSpPr/>
      </dsp:nvSpPr>
      <dsp:spPr>
        <a:xfrm>
          <a:off x="6864136" y="1481594"/>
          <a:ext cx="1002515" cy="570972"/>
        </a:xfrm>
        <a:prstGeom prst="round2SameRect">
          <a:avLst>
            <a:gd name="adj1" fmla="val 8000"/>
            <a:gd name="adj2" fmla="val 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Planning</a:t>
          </a:r>
        </a:p>
      </dsp:txBody>
      <dsp:txXfrm>
        <a:off x="6877515" y="1494973"/>
        <a:ext cx="975757" cy="557593"/>
      </dsp:txXfrm>
    </dsp:sp>
    <dsp:sp modelId="{B959EA7D-9F0B-4E45-9F93-18B7D37621CE}">
      <dsp:nvSpPr>
        <dsp:cNvPr id="0" name=""/>
        <dsp:cNvSpPr/>
      </dsp:nvSpPr>
      <dsp:spPr>
        <a:xfrm>
          <a:off x="6864136" y="2140409"/>
          <a:ext cx="1002515" cy="57097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Tender</a:t>
          </a:r>
        </a:p>
      </dsp:txBody>
      <dsp:txXfrm>
        <a:off x="6880859" y="2157132"/>
        <a:ext cx="969069" cy="537526"/>
      </dsp:txXfrm>
    </dsp:sp>
    <dsp:sp modelId="{2055B05D-2F2A-46C0-B0BC-321668FD386E}">
      <dsp:nvSpPr>
        <dsp:cNvPr id="0" name=""/>
        <dsp:cNvSpPr/>
      </dsp:nvSpPr>
      <dsp:spPr>
        <a:xfrm>
          <a:off x="6864136" y="2799223"/>
          <a:ext cx="1002515" cy="57097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Design</a:t>
          </a:r>
        </a:p>
      </dsp:txBody>
      <dsp:txXfrm>
        <a:off x="6880859" y="2815946"/>
        <a:ext cx="969069" cy="537526"/>
      </dsp:txXfrm>
    </dsp:sp>
    <dsp:sp modelId="{B700054F-913E-424C-92AD-20B85A57C3B1}">
      <dsp:nvSpPr>
        <dsp:cNvPr id="0" name=""/>
        <dsp:cNvSpPr/>
      </dsp:nvSpPr>
      <dsp:spPr>
        <a:xfrm>
          <a:off x="6864136" y="3458038"/>
          <a:ext cx="1002515" cy="57097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Construction</a:t>
          </a:r>
        </a:p>
      </dsp:txBody>
      <dsp:txXfrm>
        <a:off x="6880859" y="3474761"/>
        <a:ext cx="969069" cy="537526"/>
      </dsp:txXfrm>
    </dsp:sp>
    <dsp:sp modelId="{308D8A1A-57F1-4FA9-9AD2-61C8BF38D849}">
      <dsp:nvSpPr>
        <dsp:cNvPr id="0" name=""/>
        <dsp:cNvSpPr/>
      </dsp:nvSpPr>
      <dsp:spPr>
        <a:xfrm>
          <a:off x="6864136" y="4116852"/>
          <a:ext cx="1002515" cy="570972"/>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latin typeface="Times New Roman" panose="02020603050405020304"/>
              <a:ea typeface="+mn-ea"/>
              <a:cs typeface="+mn-cs"/>
            </a:rPr>
            <a:t>Operation</a:t>
          </a:r>
        </a:p>
      </dsp:txBody>
      <dsp:txXfrm>
        <a:off x="6880859" y="4133575"/>
        <a:ext cx="969069" cy="537526"/>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1F5AC-3E12-418F-8988-A09569167387}">
      <dsp:nvSpPr>
        <dsp:cNvPr id="0" name=""/>
        <dsp:cNvSpPr/>
      </dsp:nvSpPr>
      <dsp:spPr>
        <a:xfrm>
          <a:off x="4004" y="0"/>
          <a:ext cx="534112" cy="534112"/>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2B2499-4082-411B-9BF5-6F706A08122F}">
      <dsp:nvSpPr>
        <dsp:cNvPr id="0" name=""/>
        <dsp:cNvSpPr/>
      </dsp:nvSpPr>
      <dsp:spPr>
        <a:xfrm>
          <a:off x="57415" y="53411"/>
          <a:ext cx="427289" cy="427289"/>
        </a:xfrm>
        <a:prstGeom prst="chord">
          <a:avLst>
            <a:gd name="adj1" fmla="val 2332194"/>
            <a:gd name="adj2" fmla="val 8587806"/>
          </a:avLst>
        </a:prstGeom>
        <a:solidFill>
          <a:schemeClr val="accent2">
            <a:shade val="80000"/>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DD1CF2-4A42-420E-A6A3-26F1FAF7A2A2}">
      <dsp:nvSpPr>
        <dsp:cNvPr id="0" name=""/>
        <dsp:cNvSpPr/>
      </dsp:nvSpPr>
      <dsp:spPr>
        <a:xfrm>
          <a:off x="649390" y="534112"/>
          <a:ext cx="1580082" cy="22477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800100">
            <a:lnSpc>
              <a:spcPct val="90000"/>
            </a:lnSpc>
            <a:spcBef>
              <a:spcPct val="0"/>
            </a:spcBef>
            <a:spcAft>
              <a:spcPct val="35000"/>
            </a:spcAft>
          </a:pPr>
          <a:r>
            <a:rPr lang="en-US" sz="1800" b="1" kern="1200" dirty="0"/>
            <a:t>Educate Governments and Asset Owners</a:t>
          </a:r>
          <a:r>
            <a:rPr lang="en-US" sz="1800" kern="1200" dirty="0"/>
            <a:t> </a:t>
          </a:r>
        </a:p>
        <a:p>
          <a:pPr lvl="0" algn="l" defTabSz="800100">
            <a:lnSpc>
              <a:spcPct val="90000"/>
            </a:lnSpc>
            <a:spcBef>
              <a:spcPct val="0"/>
            </a:spcBef>
            <a:spcAft>
              <a:spcPct val="35000"/>
            </a:spcAft>
          </a:pPr>
          <a:r>
            <a:rPr lang="en-US" sz="1800" kern="1200" dirty="0"/>
            <a:t>Lack of awareness or understanding of how risk exposure threatens investments leads to a de-prioritization of risk mitigation.</a:t>
          </a:r>
        </a:p>
      </dsp:txBody>
      <dsp:txXfrm>
        <a:off x="649390" y="534112"/>
        <a:ext cx="1580082" cy="2247723"/>
      </dsp:txXfrm>
    </dsp:sp>
    <dsp:sp modelId="{B2A60077-08D6-45C2-942A-2B47A9735A94}">
      <dsp:nvSpPr>
        <dsp:cNvPr id="0" name=""/>
        <dsp:cNvSpPr/>
      </dsp:nvSpPr>
      <dsp:spPr>
        <a:xfrm>
          <a:off x="649390" y="0"/>
          <a:ext cx="1580082" cy="5341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60" tIns="73660" rIns="73660" bIns="73660" numCol="1" spcCol="1270" anchor="b" anchorCtr="0">
          <a:noAutofit/>
        </a:bodyPr>
        <a:lstStyle/>
        <a:p>
          <a:pPr lvl="0" algn="l" defTabSz="1289050">
            <a:lnSpc>
              <a:spcPct val="90000"/>
            </a:lnSpc>
            <a:spcBef>
              <a:spcPct val="0"/>
            </a:spcBef>
            <a:spcAft>
              <a:spcPct val="35000"/>
            </a:spcAft>
          </a:pPr>
          <a:r>
            <a:rPr lang="en-US" sz="2900" kern="1200"/>
            <a:t>1</a:t>
          </a:r>
        </a:p>
      </dsp:txBody>
      <dsp:txXfrm>
        <a:off x="649390" y="0"/>
        <a:ext cx="1580082" cy="534112"/>
      </dsp:txXfrm>
    </dsp:sp>
    <dsp:sp modelId="{3AD62DFB-2850-4D76-83BA-35B40CBFB525}">
      <dsp:nvSpPr>
        <dsp:cNvPr id="0" name=""/>
        <dsp:cNvSpPr/>
      </dsp:nvSpPr>
      <dsp:spPr>
        <a:xfrm>
          <a:off x="2340746" y="0"/>
          <a:ext cx="534112" cy="534112"/>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D3425A-8451-4F96-BB81-5469908CC236}">
      <dsp:nvSpPr>
        <dsp:cNvPr id="0" name=""/>
        <dsp:cNvSpPr/>
      </dsp:nvSpPr>
      <dsp:spPr>
        <a:xfrm>
          <a:off x="2394157" y="53411"/>
          <a:ext cx="427289" cy="427289"/>
        </a:xfrm>
        <a:prstGeom prst="chord">
          <a:avLst>
            <a:gd name="adj1" fmla="val 692220"/>
            <a:gd name="adj2" fmla="val 10107780"/>
          </a:avLst>
        </a:prstGeom>
        <a:solidFill>
          <a:schemeClr val="accent2">
            <a:shade val="80000"/>
            <a:hueOff val="103466"/>
            <a:satOff val="-934"/>
            <a:lumOff val="7242"/>
            <a:alphaOff val="0"/>
          </a:schemeClr>
        </a:solidFill>
        <a:ln w="25400" cap="flat" cmpd="sng" algn="ctr">
          <a:solidFill>
            <a:schemeClr val="accent2">
              <a:shade val="80000"/>
              <a:hueOff val="103466"/>
              <a:satOff val="-934"/>
              <a:lumOff val="724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477FEE-FF57-4E08-B916-DE49BA7C8BA5}">
      <dsp:nvSpPr>
        <dsp:cNvPr id="0" name=""/>
        <dsp:cNvSpPr/>
      </dsp:nvSpPr>
      <dsp:spPr>
        <a:xfrm>
          <a:off x="2986132" y="534112"/>
          <a:ext cx="1580082" cy="22477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800100">
            <a:lnSpc>
              <a:spcPct val="90000"/>
            </a:lnSpc>
            <a:spcBef>
              <a:spcPct val="0"/>
            </a:spcBef>
            <a:spcAft>
              <a:spcPct val="35000"/>
            </a:spcAft>
          </a:pPr>
          <a:r>
            <a:rPr lang="en-US" sz="1800" b="1" kern="1200" dirty="0"/>
            <a:t>Consider Return on Resilience Investment </a:t>
          </a:r>
          <a:endParaRPr lang="en-US" sz="1800" kern="1200" dirty="0"/>
        </a:p>
        <a:p>
          <a:pPr lvl="0" algn="l" defTabSz="800100">
            <a:lnSpc>
              <a:spcPct val="90000"/>
            </a:lnSpc>
            <a:spcBef>
              <a:spcPct val="0"/>
            </a:spcBef>
            <a:spcAft>
              <a:spcPct val="35000"/>
            </a:spcAft>
          </a:pPr>
          <a:r>
            <a:rPr lang="en-US" sz="1800" kern="1200" dirty="0"/>
            <a:t>Conservative global climate models with long range time horizons result in cost prohibitive design and construction estimates for risk adaptation measures.</a:t>
          </a:r>
        </a:p>
      </dsp:txBody>
      <dsp:txXfrm>
        <a:off x="2986132" y="534112"/>
        <a:ext cx="1580082" cy="2247723"/>
      </dsp:txXfrm>
    </dsp:sp>
    <dsp:sp modelId="{9250FD63-3E1B-41CF-93F6-55A37B61D2F0}">
      <dsp:nvSpPr>
        <dsp:cNvPr id="0" name=""/>
        <dsp:cNvSpPr/>
      </dsp:nvSpPr>
      <dsp:spPr>
        <a:xfrm>
          <a:off x="2986132" y="0"/>
          <a:ext cx="1580082" cy="5341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60" tIns="73660" rIns="73660" bIns="73660" numCol="1" spcCol="1270" anchor="b" anchorCtr="0">
          <a:noAutofit/>
        </a:bodyPr>
        <a:lstStyle/>
        <a:p>
          <a:pPr lvl="0" algn="l" defTabSz="1289050">
            <a:lnSpc>
              <a:spcPct val="90000"/>
            </a:lnSpc>
            <a:spcBef>
              <a:spcPct val="0"/>
            </a:spcBef>
            <a:spcAft>
              <a:spcPct val="35000"/>
            </a:spcAft>
          </a:pPr>
          <a:r>
            <a:rPr lang="en-US" sz="2900" kern="1200"/>
            <a:t>2</a:t>
          </a:r>
        </a:p>
      </dsp:txBody>
      <dsp:txXfrm>
        <a:off x="2986132" y="0"/>
        <a:ext cx="1580082" cy="534112"/>
      </dsp:txXfrm>
    </dsp:sp>
    <dsp:sp modelId="{7D34B5EE-E259-418F-8A95-56E716B11DCA}">
      <dsp:nvSpPr>
        <dsp:cNvPr id="0" name=""/>
        <dsp:cNvSpPr/>
      </dsp:nvSpPr>
      <dsp:spPr>
        <a:xfrm>
          <a:off x="4677488" y="0"/>
          <a:ext cx="534112" cy="534112"/>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EA3F87-E1A6-408C-A501-325AEA4600D1}">
      <dsp:nvSpPr>
        <dsp:cNvPr id="0" name=""/>
        <dsp:cNvSpPr/>
      </dsp:nvSpPr>
      <dsp:spPr>
        <a:xfrm>
          <a:off x="4730899" y="53411"/>
          <a:ext cx="427289" cy="427289"/>
        </a:xfrm>
        <a:prstGeom prst="chord">
          <a:avLst>
            <a:gd name="adj1" fmla="val 20907780"/>
            <a:gd name="adj2" fmla="val 11492220"/>
          </a:avLst>
        </a:prstGeom>
        <a:solidFill>
          <a:schemeClr val="accent2">
            <a:shade val="80000"/>
            <a:hueOff val="206932"/>
            <a:satOff val="-1868"/>
            <a:lumOff val="14484"/>
            <a:alphaOff val="0"/>
          </a:schemeClr>
        </a:solidFill>
        <a:ln w="25400" cap="flat" cmpd="sng" algn="ctr">
          <a:solidFill>
            <a:schemeClr val="accent2">
              <a:shade val="80000"/>
              <a:hueOff val="206932"/>
              <a:satOff val="-1868"/>
              <a:lumOff val="1448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78754B1-AA39-457F-8530-447F0655DAC3}">
      <dsp:nvSpPr>
        <dsp:cNvPr id="0" name=""/>
        <dsp:cNvSpPr/>
      </dsp:nvSpPr>
      <dsp:spPr>
        <a:xfrm>
          <a:off x="5322874" y="534112"/>
          <a:ext cx="1580082" cy="22477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800100">
            <a:lnSpc>
              <a:spcPct val="90000"/>
            </a:lnSpc>
            <a:spcBef>
              <a:spcPct val="0"/>
            </a:spcBef>
            <a:spcAft>
              <a:spcPct val="35000"/>
            </a:spcAft>
          </a:pPr>
          <a:r>
            <a:rPr lang="en-US" sz="1800" b="1" kern="1200" dirty="0"/>
            <a:t>Include Climate Risk in Credit Rating </a:t>
          </a:r>
          <a:endParaRPr lang="en-US" sz="1800" kern="1200" dirty="0"/>
        </a:p>
        <a:p>
          <a:pPr lvl="0" algn="l" defTabSz="800100">
            <a:lnSpc>
              <a:spcPct val="90000"/>
            </a:lnSpc>
            <a:spcBef>
              <a:spcPct val="0"/>
            </a:spcBef>
            <a:spcAft>
              <a:spcPct val="35000"/>
            </a:spcAft>
          </a:pPr>
          <a:r>
            <a:rPr lang="en-US" sz="1800" kern="1200" dirty="0"/>
            <a:t>Credit and insurance ratings undervalue climate risk exposure and consequently give little consideration to the effectiveness of adaptation efforts.</a:t>
          </a:r>
        </a:p>
      </dsp:txBody>
      <dsp:txXfrm>
        <a:off x="5322874" y="534112"/>
        <a:ext cx="1580082" cy="2247723"/>
      </dsp:txXfrm>
    </dsp:sp>
    <dsp:sp modelId="{B2896591-2BF9-456A-8C7D-24DA96C43457}">
      <dsp:nvSpPr>
        <dsp:cNvPr id="0" name=""/>
        <dsp:cNvSpPr/>
      </dsp:nvSpPr>
      <dsp:spPr>
        <a:xfrm>
          <a:off x="5322874" y="0"/>
          <a:ext cx="1580082" cy="5341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60" tIns="73660" rIns="73660" bIns="73660" numCol="1" spcCol="1270" anchor="b" anchorCtr="0">
          <a:noAutofit/>
        </a:bodyPr>
        <a:lstStyle/>
        <a:p>
          <a:pPr lvl="0" algn="l" defTabSz="1289050">
            <a:lnSpc>
              <a:spcPct val="90000"/>
            </a:lnSpc>
            <a:spcBef>
              <a:spcPct val="0"/>
            </a:spcBef>
            <a:spcAft>
              <a:spcPct val="35000"/>
            </a:spcAft>
          </a:pPr>
          <a:r>
            <a:rPr lang="en-US" sz="2900" kern="1200"/>
            <a:t>3</a:t>
          </a:r>
        </a:p>
      </dsp:txBody>
      <dsp:txXfrm>
        <a:off x="5322874" y="0"/>
        <a:ext cx="1580082" cy="534112"/>
      </dsp:txXfrm>
    </dsp:sp>
    <dsp:sp modelId="{967D002A-C5CD-4B80-9FF8-4BA211CD2EA1}">
      <dsp:nvSpPr>
        <dsp:cNvPr id="0" name=""/>
        <dsp:cNvSpPr/>
      </dsp:nvSpPr>
      <dsp:spPr>
        <a:xfrm>
          <a:off x="7014230" y="0"/>
          <a:ext cx="534112" cy="534112"/>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9F17BE6-BAC1-4AF6-83D2-DAC61FBDDA60}">
      <dsp:nvSpPr>
        <dsp:cNvPr id="0" name=""/>
        <dsp:cNvSpPr/>
      </dsp:nvSpPr>
      <dsp:spPr>
        <a:xfrm>
          <a:off x="7067642" y="53411"/>
          <a:ext cx="427289" cy="427289"/>
        </a:xfrm>
        <a:prstGeom prst="chord">
          <a:avLst>
            <a:gd name="adj1" fmla="val 19267806"/>
            <a:gd name="adj2" fmla="val 13012194"/>
          </a:avLst>
        </a:prstGeom>
        <a:solidFill>
          <a:schemeClr val="accent2">
            <a:shade val="80000"/>
            <a:hueOff val="310398"/>
            <a:satOff val="-2802"/>
            <a:lumOff val="21727"/>
            <a:alphaOff val="0"/>
          </a:schemeClr>
        </a:solidFill>
        <a:ln w="25400" cap="flat" cmpd="sng" algn="ctr">
          <a:solidFill>
            <a:schemeClr val="accent2">
              <a:shade val="80000"/>
              <a:hueOff val="310398"/>
              <a:satOff val="-2802"/>
              <a:lumOff val="2172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DE95A57-8188-483F-9936-0E0A8AC59D8D}">
      <dsp:nvSpPr>
        <dsp:cNvPr id="0" name=""/>
        <dsp:cNvSpPr/>
      </dsp:nvSpPr>
      <dsp:spPr>
        <a:xfrm>
          <a:off x="7659616" y="534112"/>
          <a:ext cx="1580082" cy="22477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800100">
            <a:lnSpc>
              <a:spcPct val="90000"/>
            </a:lnSpc>
            <a:spcBef>
              <a:spcPct val="0"/>
            </a:spcBef>
            <a:spcAft>
              <a:spcPct val="35000"/>
            </a:spcAft>
          </a:pPr>
          <a:r>
            <a:rPr lang="en-US" sz="1800" b="1" kern="1200" dirty="0"/>
            <a:t>Prioritize High Risk Assets </a:t>
          </a:r>
          <a:endParaRPr lang="en-US" sz="1800" kern="1200" dirty="0"/>
        </a:p>
        <a:p>
          <a:pPr lvl="0" algn="l" defTabSz="800100">
            <a:lnSpc>
              <a:spcPct val="90000"/>
            </a:lnSpc>
            <a:spcBef>
              <a:spcPct val="0"/>
            </a:spcBef>
            <a:spcAft>
              <a:spcPct val="35000"/>
            </a:spcAft>
          </a:pPr>
          <a:r>
            <a:rPr lang="en-US" sz="1800" kern="1200" dirty="0"/>
            <a:t>Urgent concerns, such as immediate threats to investments from 5-year flooding, will continue to outweigh adaptation efforts to mitigate risks that are 30 years in the future.</a:t>
          </a:r>
        </a:p>
      </dsp:txBody>
      <dsp:txXfrm>
        <a:off x="7659616" y="534112"/>
        <a:ext cx="1580082" cy="2247723"/>
      </dsp:txXfrm>
    </dsp:sp>
    <dsp:sp modelId="{44A0EEF6-97EA-4A44-B651-08937ABEC62E}">
      <dsp:nvSpPr>
        <dsp:cNvPr id="0" name=""/>
        <dsp:cNvSpPr/>
      </dsp:nvSpPr>
      <dsp:spPr>
        <a:xfrm>
          <a:off x="7659616" y="0"/>
          <a:ext cx="1580082" cy="5341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60" tIns="73660" rIns="73660" bIns="73660" numCol="1" spcCol="1270" anchor="b" anchorCtr="0">
          <a:noAutofit/>
        </a:bodyPr>
        <a:lstStyle/>
        <a:p>
          <a:pPr lvl="0" algn="l" defTabSz="1289050">
            <a:lnSpc>
              <a:spcPct val="90000"/>
            </a:lnSpc>
            <a:spcBef>
              <a:spcPct val="0"/>
            </a:spcBef>
            <a:spcAft>
              <a:spcPct val="35000"/>
            </a:spcAft>
          </a:pPr>
          <a:r>
            <a:rPr lang="en-US" sz="2900" kern="1200"/>
            <a:t>4</a:t>
          </a:r>
        </a:p>
      </dsp:txBody>
      <dsp:txXfrm>
        <a:off x="7659616" y="0"/>
        <a:ext cx="1580082" cy="534112"/>
      </dsp:txXfrm>
    </dsp:sp>
    <dsp:sp modelId="{20EA1CAC-F7C6-4F0B-ACCF-25774449891D}">
      <dsp:nvSpPr>
        <dsp:cNvPr id="0" name=""/>
        <dsp:cNvSpPr/>
      </dsp:nvSpPr>
      <dsp:spPr>
        <a:xfrm>
          <a:off x="9350972" y="0"/>
          <a:ext cx="534112" cy="534112"/>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D30BD3C-56A4-430A-8D5A-523139A9FDA2}">
      <dsp:nvSpPr>
        <dsp:cNvPr id="0" name=""/>
        <dsp:cNvSpPr/>
      </dsp:nvSpPr>
      <dsp:spPr>
        <a:xfrm>
          <a:off x="9404384" y="53411"/>
          <a:ext cx="427289" cy="427289"/>
        </a:xfrm>
        <a:prstGeom prst="chord">
          <a:avLst>
            <a:gd name="adj1" fmla="val 16200000"/>
            <a:gd name="adj2" fmla="val 16200000"/>
          </a:avLst>
        </a:prstGeom>
        <a:solidFill>
          <a:schemeClr val="accent2">
            <a:shade val="80000"/>
            <a:hueOff val="413864"/>
            <a:satOff val="-3736"/>
            <a:lumOff val="28969"/>
            <a:alphaOff val="0"/>
          </a:schemeClr>
        </a:solidFill>
        <a:ln w="25400" cap="flat" cmpd="sng" algn="ctr">
          <a:solidFill>
            <a:schemeClr val="accent2">
              <a:shade val="80000"/>
              <a:hueOff val="413864"/>
              <a:satOff val="-3736"/>
              <a:lumOff val="2896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A9948FA-6810-4A44-A982-618A78EE63C8}">
      <dsp:nvSpPr>
        <dsp:cNvPr id="0" name=""/>
        <dsp:cNvSpPr/>
      </dsp:nvSpPr>
      <dsp:spPr>
        <a:xfrm>
          <a:off x="9996358" y="534112"/>
          <a:ext cx="1580082" cy="22477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t" anchorCtr="0">
          <a:noAutofit/>
        </a:bodyPr>
        <a:lstStyle/>
        <a:p>
          <a:pPr lvl="0" algn="l" defTabSz="800100">
            <a:lnSpc>
              <a:spcPct val="90000"/>
            </a:lnSpc>
            <a:spcBef>
              <a:spcPct val="0"/>
            </a:spcBef>
            <a:spcAft>
              <a:spcPct val="35000"/>
            </a:spcAft>
          </a:pPr>
          <a:r>
            <a:rPr lang="en-US" sz="1800" b="1" kern="1200" dirty="0"/>
            <a:t>Extend Investment Periods</a:t>
          </a:r>
          <a:r>
            <a:rPr lang="en-US" sz="1800" kern="1200" dirty="0"/>
            <a:t> </a:t>
          </a:r>
        </a:p>
        <a:p>
          <a:pPr lvl="0" algn="l" defTabSz="800100">
            <a:lnSpc>
              <a:spcPct val="90000"/>
            </a:lnSpc>
            <a:spcBef>
              <a:spcPct val="0"/>
            </a:spcBef>
            <a:spcAft>
              <a:spcPct val="35000"/>
            </a:spcAft>
          </a:pPr>
          <a:r>
            <a:rPr lang="en-US" sz="1800" kern="1200" dirty="0"/>
            <a:t>Contracts with shorter terms of 7 years or less do not incentivize long term risk mitigation and adaptation.</a:t>
          </a:r>
        </a:p>
      </dsp:txBody>
      <dsp:txXfrm>
        <a:off x="9996358" y="534112"/>
        <a:ext cx="1580082" cy="2247723"/>
      </dsp:txXfrm>
    </dsp:sp>
    <dsp:sp modelId="{EECE094F-02D6-40EB-92DB-EABA03C1763C}">
      <dsp:nvSpPr>
        <dsp:cNvPr id="0" name=""/>
        <dsp:cNvSpPr/>
      </dsp:nvSpPr>
      <dsp:spPr>
        <a:xfrm>
          <a:off x="9996358" y="0"/>
          <a:ext cx="1580082" cy="5341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60" tIns="73660" rIns="73660" bIns="73660" numCol="1" spcCol="1270" anchor="b" anchorCtr="0">
          <a:noAutofit/>
        </a:bodyPr>
        <a:lstStyle/>
        <a:p>
          <a:pPr lvl="0" algn="l" defTabSz="1289050">
            <a:lnSpc>
              <a:spcPct val="90000"/>
            </a:lnSpc>
            <a:spcBef>
              <a:spcPct val="0"/>
            </a:spcBef>
            <a:spcAft>
              <a:spcPct val="35000"/>
            </a:spcAft>
          </a:pPr>
          <a:r>
            <a:rPr lang="en-US" sz="2900" kern="1200"/>
            <a:t>5</a:t>
          </a:r>
        </a:p>
      </dsp:txBody>
      <dsp:txXfrm>
        <a:off x="9996358" y="0"/>
        <a:ext cx="1580082" cy="53411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CD674B-59C4-45CB-A869-13F804A21B37}">
      <dsp:nvSpPr>
        <dsp:cNvPr id="0" name=""/>
        <dsp:cNvSpPr/>
      </dsp:nvSpPr>
      <dsp:spPr>
        <a:xfrm>
          <a:off x="3089" y="0"/>
          <a:ext cx="1220784" cy="497786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a:t>Location</a:t>
          </a:r>
        </a:p>
      </dsp:txBody>
      <dsp:txXfrm>
        <a:off x="3089" y="0"/>
        <a:ext cx="1220784" cy="1493360"/>
      </dsp:txXfrm>
    </dsp:sp>
    <dsp:sp modelId="{0DAADCD3-46E8-4D71-B2CF-616F7C463787}">
      <dsp:nvSpPr>
        <dsp:cNvPr id="0" name=""/>
        <dsp:cNvSpPr/>
      </dsp:nvSpPr>
      <dsp:spPr>
        <a:xfrm>
          <a:off x="125168" y="1493482"/>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dirty="0"/>
            <a:t>Country</a:t>
          </a:r>
        </a:p>
      </dsp:txBody>
      <dsp:txXfrm>
        <a:off x="146407" y="1514721"/>
        <a:ext cx="934149" cy="682691"/>
      </dsp:txXfrm>
    </dsp:sp>
    <dsp:sp modelId="{A3D2565D-A076-48E1-B4C5-EBDF8B1EE5C9}">
      <dsp:nvSpPr>
        <dsp:cNvPr id="0" name=""/>
        <dsp:cNvSpPr/>
      </dsp:nvSpPr>
      <dsp:spPr>
        <a:xfrm>
          <a:off x="125168" y="2330216"/>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dirty="0"/>
            <a:t>Length</a:t>
          </a:r>
        </a:p>
      </dsp:txBody>
      <dsp:txXfrm>
        <a:off x="146407" y="2351455"/>
        <a:ext cx="934149" cy="682691"/>
      </dsp:txXfrm>
    </dsp:sp>
    <dsp:sp modelId="{B599A424-6063-405F-88C5-F9624EC4E017}">
      <dsp:nvSpPr>
        <dsp:cNvPr id="0" name=""/>
        <dsp:cNvSpPr/>
      </dsp:nvSpPr>
      <dsp:spPr>
        <a:xfrm>
          <a:off x="125168" y="3166950"/>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Travel Time</a:t>
          </a:r>
        </a:p>
      </dsp:txBody>
      <dsp:txXfrm>
        <a:off x="146407" y="3188189"/>
        <a:ext cx="934149" cy="682691"/>
      </dsp:txXfrm>
    </dsp:sp>
    <dsp:sp modelId="{E31F4750-298D-44EE-A0C1-88D6D2606F0C}">
      <dsp:nvSpPr>
        <dsp:cNvPr id="0" name=""/>
        <dsp:cNvSpPr/>
      </dsp:nvSpPr>
      <dsp:spPr>
        <a:xfrm>
          <a:off x="125168" y="4003684"/>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Average Daily Trips</a:t>
          </a:r>
        </a:p>
      </dsp:txBody>
      <dsp:txXfrm>
        <a:off x="146407" y="4024923"/>
        <a:ext cx="934149" cy="682691"/>
      </dsp:txXfrm>
    </dsp:sp>
    <dsp:sp modelId="{21A6F2A2-5376-4D1F-B24F-EB5400E3E862}">
      <dsp:nvSpPr>
        <dsp:cNvPr id="0" name=""/>
        <dsp:cNvSpPr/>
      </dsp:nvSpPr>
      <dsp:spPr>
        <a:xfrm>
          <a:off x="1315433" y="0"/>
          <a:ext cx="1220784" cy="4977869"/>
        </a:xfrm>
        <a:prstGeom prst="roundRect">
          <a:avLst>
            <a:gd name="adj" fmla="val 10000"/>
          </a:avLst>
        </a:prstGeom>
        <a:solidFill>
          <a:schemeClr val="accent3">
            <a:lumMod val="40000"/>
            <a:lumOff val="60000"/>
          </a:schemeClr>
        </a:solidFill>
        <a:ln>
          <a:solidFill>
            <a:schemeClr val="accent3">
              <a:lumMod val="60000"/>
              <a:lumOff val="40000"/>
            </a:schemeClr>
          </a:solid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a:t>Classification</a:t>
          </a:r>
        </a:p>
      </dsp:txBody>
      <dsp:txXfrm>
        <a:off x="1315433" y="0"/>
        <a:ext cx="1220784" cy="1493360"/>
      </dsp:txXfrm>
    </dsp:sp>
    <dsp:sp modelId="{483E9045-FAD8-4F7C-AE29-6A565E57561F}">
      <dsp:nvSpPr>
        <dsp:cNvPr id="0" name=""/>
        <dsp:cNvSpPr/>
      </dsp:nvSpPr>
      <dsp:spPr>
        <a:xfrm>
          <a:off x="1437511" y="1493482"/>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National</a:t>
          </a:r>
        </a:p>
      </dsp:txBody>
      <dsp:txXfrm>
        <a:off x="1458750" y="1514721"/>
        <a:ext cx="934149" cy="682691"/>
      </dsp:txXfrm>
    </dsp:sp>
    <dsp:sp modelId="{4CBD04D5-DEDE-4B88-AD5D-6DE78A9C7143}">
      <dsp:nvSpPr>
        <dsp:cNvPr id="0" name=""/>
        <dsp:cNvSpPr/>
      </dsp:nvSpPr>
      <dsp:spPr>
        <a:xfrm>
          <a:off x="1437511" y="2330216"/>
          <a:ext cx="976627" cy="725169"/>
        </a:xfrm>
        <a:prstGeom prst="roundRect">
          <a:avLst>
            <a:gd name="adj" fmla="val 10000"/>
          </a:avLst>
        </a:prstGeom>
        <a:solidFill>
          <a:schemeClr val="accent3">
            <a:hueOff val="0"/>
            <a:satOff val="0"/>
            <a:lumOff val="0"/>
            <a:alphaOff val="0"/>
          </a:schemeClr>
        </a:solidFill>
        <a:ln w="38100" cap="flat" cmpd="sng"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Regional</a:t>
          </a:r>
        </a:p>
      </dsp:txBody>
      <dsp:txXfrm>
        <a:off x="1458750" y="2351455"/>
        <a:ext cx="934149" cy="682691"/>
      </dsp:txXfrm>
    </dsp:sp>
    <dsp:sp modelId="{2C6F7EC7-DC5D-4653-93D0-F292253BD3E5}">
      <dsp:nvSpPr>
        <dsp:cNvPr id="0" name=""/>
        <dsp:cNvSpPr/>
      </dsp:nvSpPr>
      <dsp:spPr>
        <a:xfrm>
          <a:off x="1437511" y="3166950"/>
          <a:ext cx="976627" cy="725169"/>
        </a:xfrm>
        <a:prstGeom prst="roundRect">
          <a:avLst>
            <a:gd name="adj" fmla="val 10000"/>
          </a:avLst>
        </a:prstGeom>
        <a:solidFill>
          <a:schemeClr val="accent3">
            <a:hueOff val="0"/>
            <a:satOff val="0"/>
            <a:lumOff val="0"/>
            <a:alphaOff val="0"/>
          </a:schemeClr>
        </a:solidFill>
        <a:ln w="38100" cap="flat" cmpd="sng" algn="ctr">
          <a:solidFill>
            <a:schemeClr val="tx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Collector</a:t>
          </a:r>
        </a:p>
      </dsp:txBody>
      <dsp:txXfrm>
        <a:off x="1458750" y="3188189"/>
        <a:ext cx="934149" cy="682691"/>
      </dsp:txXfrm>
    </dsp:sp>
    <dsp:sp modelId="{F126ACFF-2585-4EF5-83C0-3B985B165C4C}">
      <dsp:nvSpPr>
        <dsp:cNvPr id="0" name=""/>
        <dsp:cNvSpPr/>
      </dsp:nvSpPr>
      <dsp:spPr>
        <a:xfrm>
          <a:off x="1437511" y="4003684"/>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Rural</a:t>
          </a:r>
        </a:p>
      </dsp:txBody>
      <dsp:txXfrm>
        <a:off x="1458750" y="4024923"/>
        <a:ext cx="934149" cy="682691"/>
      </dsp:txXfrm>
    </dsp:sp>
    <dsp:sp modelId="{98DD106A-59B2-4572-9D61-614D03E045B4}">
      <dsp:nvSpPr>
        <dsp:cNvPr id="0" name=""/>
        <dsp:cNvSpPr/>
      </dsp:nvSpPr>
      <dsp:spPr>
        <a:xfrm>
          <a:off x="2627776" y="0"/>
          <a:ext cx="1220784" cy="497786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a:t>Redundancy</a:t>
          </a:r>
        </a:p>
      </dsp:txBody>
      <dsp:txXfrm>
        <a:off x="2627776" y="0"/>
        <a:ext cx="1220784" cy="1493360"/>
      </dsp:txXfrm>
    </dsp:sp>
    <dsp:sp modelId="{F61F9A3D-6916-46A4-A15D-37BE6DFD7F76}">
      <dsp:nvSpPr>
        <dsp:cNvPr id="0" name=""/>
        <dsp:cNvSpPr/>
      </dsp:nvSpPr>
      <dsp:spPr>
        <a:xfrm>
          <a:off x="2749855" y="1493786"/>
          <a:ext cx="976627" cy="977951"/>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Isolation</a:t>
          </a:r>
        </a:p>
      </dsp:txBody>
      <dsp:txXfrm>
        <a:off x="2778459" y="1522390"/>
        <a:ext cx="919419" cy="920743"/>
      </dsp:txXfrm>
    </dsp:sp>
    <dsp:sp modelId="{89C69EBD-7A55-4C95-A525-039956FA3315}">
      <dsp:nvSpPr>
        <dsp:cNvPr id="0" name=""/>
        <dsp:cNvSpPr/>
      </dsp:nvSpPr>
      <dsp:spPr>
        <a:xfrm>
          <a:off x="2749855" y="2622192"/>
          <a:ext cx="976627" cy="977951"/>
        </a:xfrm>
        <a:prstGeom prst="roundRect">
          <a:avLst>
            <a:gd name="adj" fmla="val 10000"/>
          </a:avLst>
        </a:prstGeom>
        <a:solidFill>
          <a:schemeClr val="accent3">
            <a:hueOff val="0"/>
            <a:satOff val="0"/>
            <a:lumOff val="0"/>
            <a:alphaOff val="0"/>
          </a:schemeClr>
        </a:solidFill>
        <a:ln w="38100" cap="flat" cmpd="sng" algn="ctr">
          <a:solidFill>
            <a:schemeClr val="tx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Alternative Route</a:t>
          </a:r>
        </a:p>
      </dsp:txBody>
      <dsp:txXfrm>
        <a:off x="2778459" y="2650796"/>
        <a:ext cx="919419" cy="920743"/>
      </dsp:txXfrm>
    </dsp:sp>
    <dsp:sp modelId="{D7E02EC7-F310-4701-A969-58E6FAB8C53F}">
      <dsp:nvSpPr>
        <dsp:cNvPr id="0" name=""/>
        <dsp:cNvSpPr/>
      </dsp:nvSpPr>
      <dsp:spPr>
        <a:xfrm>
          <a:off x="2749855" y="3750598"/>
          <a:ext cx="976627" cy="977951"/>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Time Loss</a:t>
          </a:r>
        </a:p>
      </dsp:txBody>
      <dsp:txXfrm>
        <a:off x="2778459" y="3779202"/>
        <a:ext cx="919419" cy="920743"/>
      </dsp:txXfrm>
    </dsp:sp>
    <dsp:sp modelId="{EA5119AC-0DFF-4DF1-9DFF-D5F6F9E6951F}">
      <dsp:nvSpPr>
        <dsp:cNvPr id="0" name=""/>
        <dsp:cNvSpPr/>
      </dsp:nvSpPr>
      <dsp:spPr>
        <a:xfrm>
          <a:off x="3940120" y="0"/>
          <a:ext cx="1220784" cy="497786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a:t>Economic</a:t>
          </a:r>
        </a:p>
      </dsp:txBody>
      <dsp:txXfrm>
        <a:off x="3940120" y="0"/>
        <a:ext cx="1220784" cy="1493360"/>
      </dsp:txXfrm>
    </dsp:sp>
    <dsp:sp modelId="{1F3A6A14-B138-4D41-B755-0ADF3F482105}">
      <dsp:nvSpPr>
        <dsp:cNvPr id="0" name=""/>
        <dsp:cNvSpPr/>
      </dsp:nvSpPr>
      <dsp:spPr>
        <a:xfrm>
          <a:off x="4062198" y="1493482"/>
          <a:ext cx="976627" cy="725169"/>
        </a:xfrm>
        <a:prstGeom prst="roundRect">
          <a:avLst>
            <a:gd name="adj" fmla="val 10000"/>
          </a:avLst>
        </a:prstGeom>
        <a:solidFill>
          <a:schemeClr val="accent3">
            <a:hueOff val="0"/>
            <a:satOff val="0"/>
            <a:lumOff val="0"/>
            <a:alphaOff val="0"/>
          </a:schemeClr>
        </a:solidFill>
        <a:ln w="38100" cap="flat" cmpd="sng"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t>Commercial Hubs</a:t>
          </a:r>
        </a:p>
      </dsp:txBody>
      <dsp:txXfrm>
        <a:off x="4083437" y="1514721"/>
        <a:ext cx="934149" cy="682691"/>
      </dsp:txXfrm>
    </dsp:sp>
    <dsp:sp modelId="{E7102856-075E-452D-9A78-A54B17BECAA4}">
      <dsp:nvSpPr>
        <dsp:cNvPr id="0" name=""/>
        <dsp:cNvSpPr/>
      </dsp:nvSpPr>
      <dsp:spPr>
        <a:xfrm>
          <a:off x="4062198" y="2330216"/>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t>Imports</a:t>
          </a:r>
        </a:p>
      </dsp:txBody>
      <dsp:txXfrm>
        <a:off x="4083437" y="2351455"/>
        <a:ext cx="934149" cy="682691"/>
      </dsp:txXfrm>
    </dsp:sp>
    <dsp:sp modelId="{7ED403E9-FC5D-4E42-A3FF-44C25CAD64A4}">
      <dsp:nvSpPr>
        <dsp:cNvPr id="0" name=""/>
        <dsp:cNvSpPr/>
      </dsp:nvSpPr>
      <dsp:spPr>
        <a:xfrm>
          <a:off x="4062198" y="3166950"/>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t>Exports</a:t>
          </a:r>
        </a:p>
      </dsp:txBody>
      <dsp:txXfrm>
        <a:off x="4083437" y="3188189"/>
        <a:ext cx="934149" cy="682691"/>
      </dsp:txXfrm>
    </dsp:sp>
    <dsp:sp modelId="{12997896-C385-4B6C-B708-861E404B3B49}">
      <dsp:nvSpPr>
        <dsp:cNvPr id="0" name=""/>
        <dsp:cNvSpPr/>
      </dsp:nvSpPr>
      <dsp:spPr>
        <a:xfrm>
          <a:off x="4062198" y="4003684"/>
          <a:ext cx="976627" cy="725169"/>
        </a:xfrm>
        <a:prstGeom prst="roundRect">
          <a:avLst>
            <a:gd name="adj" fmla="val 10000"/>
          </a:avLst>
        </a:prstGeom>
        <a:solidFill>
          <a:schemeClr val="accent3">
            <a:hueOff val="0"/>
            <a:satOff val="0"/>
            <a:lumOff val="0"/>
            <a:alphaOff val="0"/>
          </a:schemeClr>
        </a:solidFill>
        <a:ln w="38100" cap="flat" cmpd="sng" algn="ctr">
          <a:solidFill>
            <a:schemeClr val="tx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t>Employment</a:t>
          </a:r>
        </a:p>
      </dsp:txBody>
      <dsp:txXfrm>
        <a:off x="4083437" y="4024923"/>
        <a:ext cx="934149" cy="682691"/>
      </dsp:txXfrm>
    </dsp:sp>
    <dsp:sp modelId="{AC8EE415-48C6-40E9-A797-18B494D9E5A2}">
      <dsp:nvSpPr>
        <dsp:cNvPr id="0" name=""/>
        <dsp:cNvSpPr/>
      </dsp:nvSpPr>
      <dsp:spPr>
        <a:xfrm>
          <a:off x="5252463" y="0"/>
          <a:ext cx="1220784" cy="497786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a:t>Social</a:t>
          </a:r>
        </a:p>
      </dsp:txBody>
      <dsp:txXfrm>
        <a:off x="5252463" y="0"/>
        <a:ext cx="1220784" cy="1493360"/>
      </dsp:txXfrm>
    </dsp:sp>
    <dsp:sp modelId="{D9377AF8-0BB2-4D71-BEF6-4B79B671AADC}">
      <dsp:nvSpPr>
        <dsp:cNvPr id="0" name=""/>
        <dsp:cNvSpPr/>
      </dsp:nvSpPr>
      <dsp:spPr>
        <a:xfrm>
          <a:off x="5374542" y="1494302"/>
          <a:ext cx="976627" cy="5758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Evacuation</a:t>
          </a:r>
        </a:p>
      </dsp:txBody>
      <dsp:txXfrm>
        <a:off x="5391409" y="1511169"/>
        <a:ext cx="942893" cy="542135"/>
      </dsp:txXfrm>
    </dsp:sp>
    <dsp:sp modelId="{BC218DAB-7E9A-4E96-AC56-04932B877AD7}">
      <dsp:nvSpPr>
        <dsp:cNvPr id="0" name=""/>
        <dsp:cNvSpPr/>
      </dsp:nvSpPr>
      <dsp:spPr>
        <a:xfrm>
          <a:off x="5374542" y="2158767"/>
          <a:ext cx="976627" cy="5758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Ports</a:t>
          </a:r>
        </a:p>
      </dsp:txBody>
      <dsp:txXfrm>
        <a:off x="5391409" y="2175634"/>
        <a:ext cx="942893" cy="542135"/>
      </dsp:txXfrm>
    </dsp:sp>
    <dsp:sp modelId="{6E3B7CAC-6717-40FD-8B6E-919D33890FB7}">
      <dsp:nvSpPr>
        <dsp:cNvPr id="0" name=""/>
        <dsp:cNvSpPr/>
      </dsp:nvSpPr>
      <dsp:spPr>
        <a:xfrm>
          <a:off x="5374542" y="2823233"/>
          <a:ext cx="976627" cy="5758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Hospitals</a:t>
          </a:r>
        </a:p>
      </dsp:txBody>
      <dsp:txXfrm>
        <a:off x="5391409" y="2840100"/>
        <a:ext cx="942893" cy="542135"/>
      </dsp:txXfrm>
    </dsp:sp>
    <dsp:sp modelId="{9ADBEE71-CA25-4554-8DA9-7B13D1B5FF33}">
      <dsp:nvSpPr>
        <dsp:cNvPr id="0" name=""/>
        <dsp:cNvSpPr/>
      </dsp:nvSpPr>
      <dsp:spPr>
        <a:xfrm>
          <a:off x="5374542" y="3487698"/>
          <a:ext cx="976627" cy="575869"/>
        </a:xfrm>
        <a:prstGeom prst="roundRect">
          <a:avLst>
            <a:gd name="adj" fmla="val 10000"/>
          </a:avLst>
        </a:prstGeom>
        <a:solidFill>
          <a:schemeClr val="accent3">
            <a:hueOff val="0"/>
            <a:satOff val="0"/>
            <a:lumOff val="0"/>
            <a:alphaOff val="0"/>
          </a:schemeClr>
        </a:solidFill>
        <a:ln w="38100" cap="flat" cmpd="sng" algn="ctr">
          <a:solidFill>
            <a:schemeClr val="tx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Schools</a:t>
          </a:r>
        </a:p>
      </dsp:txBody>
      <dsp:txXfrm>
        <a:off x="5391409" y="3504565"/>
        <a:ext cx="942893" cy="542135"/>
      </dsp:txXfrm>
    </dsp:sp>
    <dsp:sp modelId="{A78046F0-7C00-4917-A470-67F6408B7482}">
      <dsp:nvSpPr>
        <dsp:cNvPr id="0" name=""/>
        <dsp:cNvSpPr/>
      </dsp:nvSpPr>
      <dsp:spPr>
        <a:xfrm>
          <a:off x="5374542" y="4152163"/>
          <a:ext cx="976627" cy="5758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Emergency Services</a:t>
          </a:r>
        </a:p>
      </dsp:txBody>
      <dsp:txXfrm>
        <a:off x="5391409" y="4169030"/>
        <a:ext cx="942893" cy="542135"/>
      </dsp:txXfrm>
    </dsp:sp>
    <dsp:sp modelId="{60DF1A03-ABD8-4C3E-913A-2AC806A142BF}">
      <dsp:nvSpPr>
        <dsp:cNvPr id="0" name=""/>
        <dsp:cNvSpPr/>
      </dsp:nvSpPr>
      <dsp:spPr>
        <a:xfrm>
          <a:off x="6564807" y="0"/>
          <a:ext cx="1220784" cy="497786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a:t>Infrastructure</a:t>
          </a:r>
        </a:p>
      </dsp:txBody>
      <dsp:txXfrm>
        <a:off x="6564807" y="0"/>
        <a:ext cx="1220784" cy="1493360"/>
      </dsp:txXfrm>
    </dsp:sp>
    <dsp:sp modelId="{EBA25876-2890-4546-B356-7BEA1FC32FEE}">
      <dsp:nvSpPr>
        <dsp:cNvPr id="0" name=""/>
        <dsp:cNvSpPr/>
      </dsp:nvSpPr>
      <dsp:spPr>
        <a:xfrm>
          <a:off x="6686885" y="1493482"/>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Electrical</a:t>
          </a:r>
        </a:p>
      </dsp:txBody>
      <dsp:txXfrm>
        <a:off x="6708124" y="1514721"/>
        <a:ext cx="934149" cy="682691"/>
      </dsp:txXfrm>
    </dsp:sp>
    <dsp:sp modelId="{74161212-CC75-48DA-AD00-325C2FFCD413}">
      <dsp:nvSpPr>
        <dsp:cNvPr id="0" name=""/>
        <dsp:cNvSpPr/>
      </dsp:nvSpPr>
      <dsp:spPr>
        <a:xfrm>
          <a:off x="6686885" y="2330216"/>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dirty="0" smtClean="0"/>
            <a:t>Tech</a:t>
          </a:r>
          <a:endParaRPr lang="en-US" sz="1200" kern="1200" dirty="0"/>
        </a:p>
      </dsp:txBody>
      <dsp:txXfrm>
        <a:off x="6708124" y="2351455"/>
        <a:ext cx="934149" cy="682691"/>
      </dsp:txXfrm>
    </dsp:sp>
    <dsp:sp modelId="{DB1E00A3-CA7B-4102-B428-4D662636C78D}">
      <dsp:nvSpPr>
        <dsp:cNvPr id="0" name=""/>
        <dsp:cNvSpPr/>
      </dsp:nvSpPr>
      <dsp:spPr>
        <a:xfrm>
          <a:off x="6686885" y="3166950"/>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Water</a:t>
          </a:r>
        </a:p>
      </dsp:txBody>
      <dsp:txXfrm>
        <a:off x="6708124" y="3188189"/>
        <a:ext cx="934149" cy="682691"/>
      </dsp:txXfrm>
    </dsp:sp>
    <dsp:sp modelId="{911FEAD5-D223-42D2-BC12-F4AFA45A177C}">
      <dsp:nvSpPr>
        <dsp:cNvPr id="0" name=""/>
        <dsp:cNvSpPr/>
      </dsp:nvSpPr>
      <dsp:spPr>
        <a:xfrm>
          <a:off x="6686885" y="4003684"/>
          <a:ext cx="976627" cy="725169"/>
        </a:xfrm>
        <a:prstGeom prst="roundRect">
          <a:avLst>
            <a:gd name="adj" fmla="val 10000"/>
          </a:avLst>
        </a:prstGeom>
        <a:solidFill>
          <a:schemeClr val="accent3">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Wastewater</a:t>
          </a:r>
        </a:p>
      </dsp:txBody>
      <dsp:txXfrm>
        <a:off x="6708124" y="4024923"/>
        <a:ext cx="934149" cy="6826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125431-6238-4FCE-AEBA-CD584719F6C9}">
      <dsp:nvSpPr>
        <dsp:cNvPr id="0" name=""/>
        <dsp:cNvSpPr/>
      </dsp:nvSpPr>
      <dsp:spPr>
        <a:xfrm>
          <a:off x="1885650" y="390850"/>
          <a:ext cx="1833968" cy="1740431"/>
        </a:xfrm>
        <a:prstGeom prst="ellipse">
          <a:avLst/>
        </a:prstGeom>
        <a:blipFill dpi="0" rotWithShape="1">
          <a:blip xmlns:r="http://schemas.openxmlformats.org/officeDocument/2006/relationships" r:embed="rId1">
            <a:duotone>
              <a:schemeClr val="accent3">
                <a:shade val="45000"/>
                <a:satMod val="135000"/>
              </a:schemeClr>
              <a:prstClr val="white"/>
            </a:duotone>
            <a:extLst>
              <a:ext uri="{28A0092B-C50C-407E-A947-70E740481C1C}">
                <a14:useLocalDpi xmlns:a14="http://schemas.microsoft.com/office/drawing/2010/main" val="0"/>
              </a:ext>
            </a:extLst>
          </a:blip>
          <a:srcRect/>
          <a:stretch>
            <a:fillRect l="7947" r="7947"/>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D0E88EA-4B09-422A-8FB1-A477460CE6A2}">
      <dsp:nvSpPr>
        <dsp:cNvPr id="0" name=""/>
        <dsp:cNvSpPr/>
      </dsp:nvSpPr>
      <dsp:spPr>
        <a:xfrm>
          <a:off x="332570" y="252302"/>
          <a:ext cx="2068529" cy="4837859"/>
        </a:xfrm>
        <a:prstGeom prst="rect">
          <a:avLst/>
        </a:prstGeom>
        <a:solidFill>
          <a:schemeClr val="accent3">
            <a:lumMod val="75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1" kern="1200" dirty="0" smtClean="0"/>
            <a:t>1 - Vital</a:t>
          </a:r>
        </a:p>
        <a:p>
          <a:pPr lvl="0" algn="l" defTabSz="711200">
            <a:lnSpc>
              <a:spcPct val="90000"/>
            </a:lnSpc>
            <a:spcBef>
              <a:spcPct val="0"/>
            </a:spcBef>
            <a:spcAft>
              <a:spcPct val="35000"/>
            </a:spcAft>
          </a:pPr>
          <a:r>
            <a:rPr lang="en-US" sz="1600" b="1" kern="1200" dirty="0" smtClean="0"/>
            <a:t>2 - Major</a:t>
          </a:r>
        </a:p>
        <a:p>
          <a:pPr lvl="0" algn="l" defTabSz="711200">
            <a:lnSpc>
              <a:spcPct val="90000"/>
            </a:lnSpc>
            <a:spcBef>
              <a:spcPct val="0"/>
            </a:spcBef>
            <a:spcAft>
              <a:spcPct val="35000"/>
            </a:spcAft>
          </a:pPr>
          <a:r>
            <a:rPr lang="en-US" sz="1600" b="1" kern="1200" dirty="0" smtClean="0"/>
            <a:t>3 - Important</a:t>
          </a:r>
        </a:p>
        <a:p>
          <a:pPr lvl="0" algn="l" defTabSz="711200">
            <a:lnSpc>
              <a:spcPct val="90000"/>
            </a:lnSpc>
            <a:spcBef>
              <a:spcPct val="0"/>
            </a:spcBef>
            <a:spcAft>
              <a:spcPct val="35000"/>
            </a:spcAft>
          </a:pPr>
          <a:r>
            <a:rPr lang="en-US" sz="1600" b="1" kern="1200" dirty="0" smtClean="0"/>
            <a:t>4 - Minor</a:t>
          </a:r>
        </a:p>
        <a:p>
          <a:pPr lvl="0" algn="l" defTabSz="711200">
            <a:lnSpc>
              <a:spcPct val="90000"/>
            </a:lnSpc>
            <a:spcBef>
              <a:spcPct val="0"/>
            </a:spcBef>
            <a:spcAft>
              <a:spcPct val="35000"/>
            </a:spcAft>
          </a:pPr>
          <a:r>
            <a:rPr lang="en-US" sz="1200" b="1" kern="1200" dirty="0" smtClean="0"/>
            <a:t>Example:</a:t>
          </a:r>
          <a:r>
            <a:rPr lang="en-US" sz="1200" kern="1200" dirty="0" smtClean="0"/>
            <a:t> </a:t>
          </a:r>
        </a:p>
        <a:p>
          <a:pPr lvl="0" algn="l" defTabSz="711200">
            <a:lnSpc>
              <a:spcPct val="150000"/>
            </a:lnSpc>
            <a:spcBef>
              <a:spcPct val="0"/>
            </a:spcBef>
            <a:spcAft>
              <a:spcPct val="35000"/>
            </a:spcAft>
          </a:pPr>
          <a:r>
            <a:rPr lang="en-US" sz="1200" i="0" kern="1200" dirty="0" smtClean="0">
              <a:latin typeface="+mn-lt"/>
              <a:cs typeface="Arial" panose="020B0604020202020204" pitchFamily="34" charset="0"/>
            </a:rPr>
            <a:t>A 60km collector roadway in Tonga provides access to employment and local schools. There is another 80km alternative route that takes 30 minutes longer, but all of the water and communication lines that supply the community are in route A.</a:t>
          </a:r>
        </a:p>
        <a:p>
          <a:pPr lvl="0" algn="l" defTabSz="711200">
            <a:lnSpc>
              <a:spcPct val="150000"/>
            </a:lnSpc>
            <a:spcBef>
              <a:spcPct val="0"/>
            </a:spcBef>
            <a:spcAft>
              <a:spcPct val="35000"/>
            </a:spcAft>
          </a:pPr>
          <a:r>
            <a:rPr lang="en-US" sz="1200" i="0" kern="1200" dirty="0" smtClean="0">
              <a:latin typeface="+mn-lt"/>
              <a:cs typeface="Arial" panose="020B0604020202020204" pitchFamily="34" charset="0"/>
            </a:rPr>
            <a:t>Route should be upgraded from important (collector routes) to </a:t>
          </a:r>
          <a:r>
            <a:rPr lang="en-US" sz="1200" b="1" i="0" kern="1200" dirty="0" smtClean="0">
              <a:solidFill>
                <a:schemeClr val="tx1"/>
              </a:solidFill>
              <a:latin typeface="+mn-lt"/>
              <a:cs typeface="Arial" panose="020B0604020202020204" pitchFamily="34" charset="0"/>
            </a:rPr>
            <a:t>Major</a:t>
          </a:r>
          <a:r>
            <a:rPr lang="en-US" sz="1200" i="0" kern="1200" dirty="0" smtClean="0">
              <a:latin typeface="+mn-lt"/>
              <a:cs typeface="Arial" panose="020B0604020202020204" pitchFamily="34" charset="0"/>
            </a:rPr>
            <a:t> based on utilities</a:t>
          </a:r>
          <a:endParaRPr lang="en-US" sz="1200" i="0" kern="1200" dirty="0">
            <a:latin typeface="+mn-lt"/>
            <a:cs typeface="Arial" panose="020B0604020202020204" pitchFamily="34" charset="0"/>
          </a:endParaRPr>
        </a:p>
      </dsp:txBody>
      <dsp:txXfrm>
        <a:off x="332570" y="252302"/>
        <a:ext cx="2068529" cy="483785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1927D5-F02B-4844-9621-B0478F4BCF2C}">
      <dsp:nvSpPr>
        <dsp:cNvPr id="0" name=""/>
        <dsp:cNvSpPr/>
      </dsp:nvSpPr>
      <dsp:spPr>
        <a:xfrm>
          <a:off x="3066" y="0"/>
          <a:ext cx="1211495" cy="499480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t>Geometry</a:t>
          </a:r>
        </a:p>
      </dsp:txBody>
      <dsp:txXfrm>
        <a:off x="3066" y="0"/>
        <a:ext cx="1211495" cy="1498440"/>
      </dsp:txXfrm>
    </dsp:sp>
    <dsp:sp modelId="{A070C372-D71C-4118-8D32-13162195B101}">
      <dsp:nvSpPr>
        <dsp:cNvPr id="0" name=""/>
        <dsp:cNvSpPr/>
      </dsp:nvSpPr>
      <dsp:spPr>
        <a:xfrm>
          <a:off x="124216" y="1498562"/>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ROW width</a:t>
          </a:r>
        </a:p>
      </dsp:txBody>
      <dsp:txXfrm>
        <a:off x="145528" y="1519874"/>
        <a:ext cx="926572" cy="685012"/>
      </dsp:txXfrm>
    </dsp:sp>
    <dsp:sp modelId="{AC9B6F4F-3EC9-4F4E-82A4-0329E1F5E70D}">
      <dsp:nvSpPr>
        <dsp:cNvPr id="0" name=""/>
        <dsp:cNvSpPr/>
      </dsp:nvSpPr>
      <dsp:spPr>
        <a:xfrm>
          <a:off x="124216" y="2338143"/>
          <a:ext cx="969196" cy="727636"/>
        </a:xfrm>
        <a:prstGeom prst="roundRect">
          <a:avLst>
            <a:gd name="adj" fmla="val 10000"/>
          </a:avLst>
        </a:prstGeom>
        <a:solidFill>
          <a:schemeClr val="accen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2 Lanes, no shoulders</a:t>
          </a:r>
        </a:p>
      </dsp:txBody>
      <dsp:txXfrm>
        <a:off x="145528" y="2359455"/>
        <a:ext cx="926572" cy="685012"/>
      </dsp:txXfrm>
    </dsp:sp>
    <dsp:sp modelId="{5FD6DD67-E24F-4457-B49E-347826010128}">
      <dsp:nvSpPr>
        <dsp:cNvPr id="0" name=""/>
        <dsp:cNvSpPr/>
      </dsp:nvSpPr>
      <dsp:spPr>
        <a:xfrm>
          <a:off x="124216" y="3177723"/>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2 Lanes, dirt shoulders</a:t>
          </a:r>
        </a:p>
      </dsp:txBody>
      <dsp:txXfrm>
        <a:off x="145528" y="3199035"/>
        <a:ext cx="926572" cy="685012"/>
      </dsp:txXfrm>
    </dsp:sp>
    <dsp:sp modelId="{85C2EDD8-0680-444F-8C4B-5EB0800B58D0}">
      <dsp:nvSpPr>
        <dsp:cNvPr id="0" name=""/>
        <dsp:cNvSpPr/>
      </dsp:nvSpPr>
      <dsp:spPr>
        <a:xfrm>
          <a:off x="124216" y="4017304"/>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2 lanes paved shoulders</a:t>
          </a:r>
        </a:p>
      </dsp:txBody>
      <dsp:txXfrm>
        <a:off x="145528" y="4038616"/>
        <a:ext cx="926572" cy="685012"/>
      </dsp:txXfrm>
    </dsp:sp>
    <dsp:sp modelId="{97297838-C0CA-485A-B6CF-1FF34FB7A7DE}">
      <dsp:nvSpPr>
        <dsp:cNvPr id="0" name=""/>
        <dsp:cNvSpPr/>
      </dsp:nvSpPr>
      <dsp:spPr>
        <a:xfrm>
          <a:off x="1305423" y="0"/>
          <a:ext cx="1211495" cy="499480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t>Terrain</a:t>
          </a:r>
        </a:p>
      </dsp:txBody>
      <dsp:txXfrm>
        <a:off x="1305423" y="0"/>
        <a:ext cx="1211495" cy="1498440"/>
      </dsp:txXfrm>
    </dsp:sp>
    <dsp:sp modelId="{8E3CB9C1-7234-44BF-85E3-0C7186BC5303}">
      <dsp:nvSpPr>
        <dsp:cNvPr id="0" name=""/>
        <dsp:cNvSpPr/>
      </dsp:nvSpPr>
      <dsp:spPr>
        <a:xfrm>
          <a:off x="1426573" y="1498867"/>
          <a:ext cx="969196" cy="98127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Flat</a:t>
          </a:r>
        </a:p>
      </dsp:txBody>
      <dsp:txXfrm>
        <a:off x="1454960" y="1527254"/>
        <a:ext cx="912422" cy="924504"/>
      </dsp:txXfrm>
    </dsp:sp>
    <dsp:sp modelId="{AEFF2EB4-1716-4172-98E4-A8FF49650DE4}">
      <dsp:nvSpPr>
        <dsp:cNvPr id="0" name=""/>
        <dsp:cNvSpPr/>
      </dsp:nvSpPr>
      <dsp:spPr>
        <a:xfrm>
          <a:off x="1426573" y="2631112"/>
          <a:ext cx="969196" cy="981278"/>
        </a:xfrm>
        <a:prstGeom prst="roundRect">
          <a:avLst>
            <a:gd name="adj" fmla="val 10000"/>
          </a:avLst>
        </a:prstGeom>
        <a:solidFill>
          <a:schemeClr val="accen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Rolling </a:t>
          </a:r>
        </a:p>
      </dsp:txBody>
      <dsp:txXfrm>
        <a:off x="1454960" y="2659499"/>
        <a:ext cx="912422" cy="924504"/>
      </dsp:txXfrm>
    </dsp:sp>
    <dsp:sp modelId="{D0B2A5DD-568C-447C-AA05-0E291FF18176}">
      <dsp:nvSpPr>
        <dsp:cNvPr id="0" name=""/>
        <dsp:cNvSpPr/>
      </dsp:nvSpPr>
      <dsp:spPr>
        <a:xfrm>
          <a:off x="1426573" y="3763357"/>
          <a:ext cx="969196" cy="98127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Mountainous</a:t>
          </a:r>
        </a:p>
      </dsp:txBody>
      <dsp:txXfrm>
        <a:off x="1454960" y="3791744"/>
        <a:ext cx="912422" cy="924504"/>
      </dsp:txXfrm>
    </dsp:sp>
    <dsp:sp modelId="{15AB03EB-E778-43A0-A882-B8831A458131}">
      <dsp:nvSpPr>
        <dsp:cNvPr id="0" name=""/>
        <dsp:cNvSpPr/>
      </dsp:nvSpPr>
      <dsp:spPr>
        <a:xfrm>
          <a:off x="2607781" y="0"/>
          <a:ext cx="1211495" cy="499480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t>Components</a:t>
          </a:r>
        </a:p>
      </dsp:txBody>
      <dsp:txXfrm>
        <a:off x="2607781" y="0"/>
        <a:ext cx="1211495" cy="1498440"/>
      </dsp:txXfrm>
    </dsp:sp>
    <dsp:sp modelId="{2FAAA25B-0D93-4A52-8FC9-ACFA10D5CFCB}">
      <dsp:nvSpPr>
        <dsp:cNvPr id="0" name=""/>
        <dsp:cNvSpPr/>
      </dsp:nvSpPr>
      <dsp:spPr>
        <a:xfrm>
          <a:off x="2728930" y="1499385"/>
          <a:ext cx="969196" cy="5778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At Grade</a:t>
          </a:r>
        </a:p>
      </dsp:txBody>
      <dsp:txXfrm>
        <a:off x="2745854" y="1516309"/>
        <a:ext cx="935348" cy="543980"/>
      </dsp:txXfrm>
    </dsp:sp>
    <dsp:sp modelId="{8308B8A2-360B-42B4-980D-1F12D35A1757}">
      <dsp:nvSpPr>
        <dsp:cNvPr id="0" name=""/>
        <dsp:cNvSpPr/>
      </dsp:nvSpPr>
      <dsp:spPr>
        <a:xfrm>
          <a:off x="2728930" y="2166111"/>
          <a:ext cx="969196" cy="5778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Bridges</a:t>
          </a:r>
        </a:p>
      </dsp:txBody>
      <dsp:txXfrm>
        <a:off x="2745854" y="2183035"/>
        <a:ext cx="935348" cy="543980"/>
      </dsp:txXfrm>
    </dsp:sp>
    <dsp:sp modelId="{D4262ECD-870B-4038-98C0-16CFE984456E}">
      <dsp:nvSpPr>
        <dsp:cNvPr id="0" name=""/>
        <dsp:cNvSpPr/>
      </dsp:nvSpPr>
      <dsp:spPr>
        <a:xfrm>
          <a:off x="2728930" y="2832837"/>
          <a:ext cx="969196" cy="577828"/>
        </a:xfrm>
        <a:prstGeom prst="roundRect">
          <a:avLst>
            <a:gd name="adj" fmla="val 10000"/>
          </a:avLst>
        </a:prstGeom>
        <a:solidFill>
          <a:schemeClr val="accen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Cut/Fill</a:t>
          </a:r>
        </a:p>
      </dsp:txBody>
      <dsp:txXfrm>
        <a:off x="2745854" y="2849761"/>
        <a:ext cx="935348" cy="543980"/>
      </dsp:txXfrm>
    </dsp:sp>
    <dsp:sp modelId="{9690F679-C2FD-4E11-8217-E1A2F5C04381}">
      <dsp:nvSpPr>
        <dsp:cNvPr id="0" name=""/>
        <dsp:cNvSpPr/>
      </dsp:nvSpPr>
      <dsp:spPr>
        <a:xfrm>
          <a:off x="2728930" y="3499563"/>
          <a:ext cx="969196" cy="5778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Tunnel</a:t>
          </a:r>
        </a:p>
      </dsp:txBody>
      <dsp:txXfrm>
        <a:off x="2745854" y="3516487"/>
        <a:ext cx="935348" cy="543980"/>
      </dsp:txXfrm>
    </dsp:sp>
    <dsp:sp modelId="{A99BF21F-0B27-4105-8602-501654B7681A}">
      <dsp:nvSpPr>
        <dsp:cNvPr id="0" name=""/>
        <dsp:cNvSpPr/>
      </dsp:nvSpPr>
      <dsp:spPr>
        <a:xfrm>
          <a:off x="2728930" y="4166288"/>
          <a:ext cx="969196" cy="5778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Viaduct</a:t>
          </a:r>
        </a:p>
      </dsp:txBody>
      <dsp:txXfrm>
        <a:off x="2745854" y="4183212"/>
        <a:ext cx="935348" cy="543980"/>
      </dsp:txXfrm>
    </dsp:sp>
    <dsp:sp modelId="{60B8E20F-7344-4AF2-B1D6-59544D77A8DE}">
      <dsp:nvSpPr>
        <dsp:cNvPr id="0" name=""/>
        <dsp:cNvSpPr/>
      </dsp:nvSpPr>
      <dsp:spPr>
        <a:xfrm>
          <a:off x="3910138" y="0"/>
          <a:ext cx="1211495" cy="4994803"/>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t>Geology</a:t>
          </a:r>
        </a:p>
      </dsp:txBody>
      <dsp:txXfrm>
        <a:off x="3910138" y="0"/>
        <a:ext cx="1211495" cy="1498440"/>
      </dsp:txXfrm>
    </dsp:sp>
    <dsp:sp modelId="{3AC91C35-1B87-4934-9721-F54CACF8ADBE}">
      <dsp:nvSpPr>
        <dsp:cNvPr id="0" name=""/>
        <dsp:cNvSpPr/>
      </dsp:nvSpPr>
      <dsp:spPr>
        <a:xfrm>
          <a:off x="4031288" y="1498562"/>
          <a:ext cx="969196" cy="727636"/>
        </a:xfrm>
        <a:prstGeom prst="roundRect">
          <a:avLst>
            <a:gd name="adj" fmla="val 10000"/>
          </a:avLst>
        </a:prstGeom>
        <a:solidFill>
          <a:schemeClr val="accen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t>Rock</a:t>
          </a:r>
        </a:p>
      </dsp:txBody>
      <dsp:txXfrm>
        <a:off x="4052600" y="1519874"/>
        <a:ext cx="926572" cy="685012"/>
      </dsp:txXfrm>
    </dsp:sp>
    <dsp:sp modelId="{9D0C2DAB-87CD-4F88-A730-CF2C2EBD252A}">
      <dsp:nvSpPr>
        <dsp:cNvPr id="0" name=""/>
        <dsp:cNvSpPr/>
      </dsp:nvSpPr>
      <dsp:spPr>
        <a:xfrm>
          <a:off x="4031288" y="2338143"/>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t>Silt</a:t>
          </a:r>
        </a:p>
      </dsp:txBody>
      <dsp:txXfrm>
        <a:off x="4052600" y="2359455"/>
        <a:ext cx="926572" cy="685012"/>
      </dsp:txXfrm>
    </dsp:sp>
    <dsp:sp modelId="{2AB1C415-7653-4B28-85A6-23A68AA47EC8}">
      <dsp:nvSpPr>
        <dsp:cNvPr id="0" name=""/>
        <dsp:cNvSpPr/>
      </dsp:nvSpPr>
      <dsp:spPr>
        <a:xfrm>
          <a:off x="4031288" y="3177723"/>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t>Sand</a:t>
          </a:r>
        </a:p>
      </dsp:txBody>
      <dsp:txXfrm>
        <a:off x="4052600" y="3199035"/>
        <a:ext cx="926572" cy="685012"/>
      </dsp:txXfrm>
    </dsp:sp>
    <dsp:sp modelId="{9BDE6CFF-BCED-47A0-8FD2-C47D1676E63D}">
      <dsp:nvSpPr>
        <dsp:cNvPr id="0" name=""/>
        <dsp:cNvSpPr/>
      </dsp:nvSpPr>
      <dsp:spPr>
        <a:xfrm>
          <a:off x="4031288" y="4017304"/>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b="0" kern="1200"/>
            <a:t>Clay</a:t>
          </a:r>
        </a:p>
      </dsp:txBody>
      <dsp:txXfrm>
        <a:off x="4052600" y="4038616"/>
        <a:ext cx="926572" cy="685012"/>
      </dsp:txXfrm>
    </dsp:sp>
    <dsp:sp modelId="{6853EE3C-D3E3-48F5-B6B3-093C2112F3B1}">
      <dsp:nvSpPr>
        <dsp:cNvPr id="0" name=""/>
        <dsp:cNvSpPr/>
      </dsp:nvSpPr>
      <dsp:spPr>
        <a:xfrm>
          <a:off x="5212495" y="0"/>
          <a:ext cx="1211495" cy="4994803"/>
        </a:xfrm>
        <a:prstGeom prst="roundRect">
          <a:avLst>
            <a:gd name="adj" fmla="val 10000"/>
          </a:avLst>
        </a:prstGeom>
        <a:solidFill>
          <a:schemeClr val="accent1">
            <a:lumMod val="40000"/>
            <a:lumOff val="60000"/>
          </a:schemeClr>
        </a:solidFill>
        <a:ln>
          <a:solidFill>
            <a:schemeClr val="accent1">
              <a:lumMod val="60000"/>
              <a:lumOff val="40000"/>
            </a:schemeClr>
          </a:solid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t>Surface</a:t>
          </a:r>
        </a:p>
      </dsp:txBody>
      <dsp:txXfrm>
        <a:off x="5212495" y="0"/>
        <a:ext cx="1211495" cy="1498440"/>
      </dsp:txXfrm>
    </dsp:sp>
    <dsp:sp modelId="{738794CB-3722-44FB-B7A6-E9945696A702}">
      <dsp:nvSpPr>
        <dsp:cNvPr id="0" name=""/>
        <dsp:cNvSpPr/>
      </dsp:nvSpPr>
      <dsp:spPr>
        <a:xfrm>
          <a:off x="5333645" y="1498562"/>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Asphalt</a:t>
          </a:r>
        </a:p>
      </dsp:txBody>
      <dsp:txXfrm>
        <a:off x="5354957" y="1519874"/>
        <a:ext cx="926572" cy="685012"/>
      </dsp:txXfrm>
    </dsp:sp>
    <dsp:sp modelId="{3D039FBC-4EC4-4A0E-A82D-107839E4285E}">
      <dsp:nvSpPr>
        <dsp:cNvPr id="0" name=""/>
        <dsp:cNvSpPr/>
      </dsp:nvSpPr>
      <dsp:spPr>
        <a:xfrm>
          <a:off x="5333645" y="2338143"/>
          <a:ext cx="969196" cy="727636"/>
        </a:xfrm>
        <a:prstGeom prst="roundRect">
          <a:avLst>
            <a:gd name="adj" fmla="val 10000"/>
          </a:avLst>
        </a:prstGeom>
        <a:solidFill>
          <a:schemeClr val="accen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Concrete</a:t>
          </a:r>
        </a:p>
      </dsp:txBody>
      <dsp:txXfrm>
        <a:off x="5354957" y="2359455"/>
        <a:ext cx="926572" cy="685012"/>
      </dsp:txXfrm>
    </dsp:sp>
    <dsp:sp modelId="{25669231-D05C-4991-8EE8-D9FCDFD7C4C8}">
      <dsp:nvSpPr>
        <dsp:cNvPr id="0" name=""/>
        <dsp:cNvSpPr/>
      </dsp:nvSpPr>
      <dsp:spPr>
        <a:xfrm>
          <a:off x="5333645" y="3177723"/>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Sealed</a:t>
          </a:r>
        </a:p>
      </dsp:txBody>
      <dsp:txXfrm>
        <a:off x="5354957" y="3199035"/>
        <a:ext cx="926572" cy="685012"/>
      </dsp:txXfrm>
    </dsp:sp>
    <dsp:sp modelId="{029E1653-CEBE-4E96-BA6A-0E860EE1350D}">
      <dsp:nvSpPr>
        <dsp:cNvPr id="0" name=""/>
        <dsp:cNvSpPr/>
      </dsp:nvSpPr>
      <dsp:spPr>
        <a:xfrm>
          <a:off x="5333645" y="4017304"/>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Gravel/Dirt</a:t>
          </a:r>
        </a:p>
      </dsp:txBody>
      <dsp:txXfrm>
        <a:off x="5354957" y="4038616"/>
        <a:ext cx="926572" cy="685012"/>
      </dsp:txXfrm>
    </dsp:sp>
    <dsp:sp modelId="{CBB87E65-F061-4707-912A-72F61957FD4A}">
      <dsp:nvSpPr>
        <dsp:cNvPr id="0" name=""/>
        <dsp:cNvSpPr/>
      </dsp:nvSpPr>
      <dsp:spPr>
        <a:xfrm>
          <a:off x="6514853" y="0"/>
          <a:ext cx="1211495" cy="4994803"/>
        </a:xfrm>
        <a:prstGeom prst="roundRect">
          <a:avLst>
            <a:gd name="adj" fmla="val 10000"/>
          </a:avLst>
        </a:prstGeom>
        <a:solidFill>
          <a:schemeClr val="accent1">
            <a:lumMod val="40000"/>
            <a:lumOff val="60000"/>
          </a:schemeClr>
        </a:solidFill>
        <a:ln>
          <a:solidFill>
            <a:schemeClr val="accent1">
              <a:lumMod val="60000"/>
              <a:lumOff val="40000"/>
            </a:schemeClr>
          </a:solidFill>
        </a:ln>
        <a:effectLst/>
      </dsp:spPr>
      <dsp:style>
        <a:lnRef idx="0">
          <a:scrgbClr r="0" g="0" b="0"/>
        </a:lnRef>
        <a:fillRef idx="1">
          <a:scrgbClr r="0" g="0" b="0"/>
        </a:fillRef>
        <a:effectRef idx="0">
          <a:scrgbClr r="0" g="0" b="0"/>
        </a:effectRef>
        <a:fontRef idx="minor"/>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b="1" kern="1200"/>
            <a:t>Drainage</a:t>
          </a:r>
        </a:p>
      </dsp:txBody>
      <dsp:txXfrm>
        <a:off x="6514853" y="0"/>
        <a:ext cx="1211495" cy="1498440"/>
      </dsp:txXfrm>
    </dsp:sp>
    <dsp:sp modelId="{D8ED6FB3-0123-4966-8309-EFC9A2436FC0}">
      <dsp:nvSpPr>
        <dsp:cNvPr id="0" name=""/>
        <dsp:cNvSpPr/>
      </dsp:nvSpPr>
      <dsp:spPr>
        <a:xfrm>
          <a:off x="6636002" y="1498562"/>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Culverts</a:t>
          </a:r>
        </a:p>
      </dsp:txBody>
      <dsp:txXfrm>
        <a:off x="6657314" y="1519874"/>
        <a:ext cx="926572" cy="685012"/>
      </dsp:txXfrm>
    </dsp:sp>
    <dsp:sp modelId="{CDFAFB64-7D40-408D-9CC8-69585DD9A80F}">
      <dsp:nvSpPr>
        <dsp:cNvPr id="0" name=""/>
        <dsp:cNvSpPr/>
      </dsp:nvSpPr>
      <dsp:spPr>
        <a:xfrm>
          <a:off x="6636002" y="2338143"/>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Treated Ditches</a:t>
          </a:r>
        </a:p>
      </dsp:txBody>
      <dsp:txXfrm>
        <a:off x="6657314" y="2359455"/>
        <a:ext cx="926572" cy="685012"/>
      </dsp:txXfrm>
    </dsp:sp>
    <dsp:sp modelId="{FE893478-46A1-4231-B4A5-708A83815B59}">
      <dsp:nvSpPr>
        <dsp:cNvPr id="0" name=""/>
        <dsp:cNvSpPr/>
      </dsp:nvSpPr>
      <dsp:spPr>
        <a:xfrm>
          <a:off x="6636002" y="3177723"/>
          <a:ext cx="969196" cy="727636"/>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Dirt Ditches</a:t>
          </a:r>
        </a:p>
      </dsp:txBody>
      <dsp:txXfrm>
        <a:off x="6657314" y="3199035"/>
        <a:ext cx="926572" cy="685012"/>
      </dsp:txXfrm>
    </dsp:sp>
    <dsp:sp modelId="{0F350BF3-0FEE-4898-BF66-B591B2AF765C}">
      <dsp:nvSpPr>
        <dsp:cNvPr id="0" name=""/>
        <dsp:cNvSpPr/>
      </dsp:nvSpPr>
      <dsp:spPr>
        <a:xfrm>
          <a:off x="6636002" y="4017304"/>
          <a:ext cx="969196" cy="727636"/>
        </a:xfrm>
        <a:prstGeom prst="roundRect">
          <a:avLst>
            <a:gd name="adj" fmla="val 10000"/>
          </a:avLst>
        </a:prstGeom>
        <a:solidFill>
          <a:schemeClr val="accen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2860" rIns="30480" bIns="22860" numCol="1" spcCol="1270" anchor="ctr" anchorCtr="0">
          <a:noAutofit/>
        </a:bodyPr>
        <a:lstStyle/>
        <a:p>
          <a:pPr lvl="0" algn="ctr" defTabSz="533400">
            <a:lnSpc>
              <a:spcPct val="90000"/>
            </a:lnSpc>
            <a:spcBef>
              <a:spcPct val="0"/>
            </a:spcBef>
            <a:spcAft>
              <a:spcPct val="35000"/>
            </a:spcAft>
          </a:pPr>
          <a:r>
            <a:rPr lang="en-US" sz="1200" kern="1200"/>
            <a:t>No Ditches</a:t>
          </a:r>
        </a:p>
      </dsp:txBody>
      <dsp:txXfrm>
        <a:off x="6657314" y="4038616"/>
        <a:ext cx="926572" cy="68501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125431-6238-4FCE-AEBA-CD584719F6C9}">
      <dsp:nvSpPr>
        <dsp:cNvPr id="0" name=""/>
        <dsp:cNvSpPr/>
      </dsp:nvSpPr>
      <dsp:spPr>
        <a:xfrm>
          <a:off x="1856586" y="397045"/>
          <a:ext cx="1863032" cy="1768013"/>
        </a:xfrm>
        <a:prstGeom prst="ellipse">
          <a:avLst/>
        </a:prstGeom>
        <a:blipFill>
          <a:blip xmlns:r="http://schemas.openxmlformats.org/officeDocument/2006/relationships" r:embed="rId1">
            <a:duotone>
              <a:schemeClr val="accent1">
                <a:shade val="45000"/>
                <a:satMod val="135000"/>
              </a:schemeClr>
              <a:prstClr val="white"/>
            </a:duotone>
            <a:extLst>
              <a:ext uri="{28A0092B-C50C-407E-A947-70E740481C1C}">
                <a14:useLocalDpi xmlns:a14="http://schemas.microsoft.com/office/drawing/2010/main" val="0"/>
              </a:ext>
            </a:extLst>
          </a:blip>
          <a:srcRect/>
          <a:stretch>
            <a:fillRect t="-3000" b="-3000"/>
          </a:stretch>
        </a:blip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dsp:style>
    </dsp:sp>
    <dsp:sp modelId="{0D0E88EA-4B09-422A-8FB1-A477460CE6A2}">
      <dsp:nvSpPr>
        <dsp:cNvPr id="0" name=""/>
        <dsp:cNvSpPr/>
      </dsp:nvSpPr>
      <dsp:spPr>
        <a:xfrm>
          <a:off x="366858" y="256301"/>
          <a:ext cx="1867344" cy="4914529"/>
        </a:xfrm>
        <a:prstGeom prst="rect">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1" kern="1200" dirty="0" smtClean="0"/>
            <a:t>1 - Sensitive</a:t>
          </a:r>
        </a:p>
        <a:p>
          <a:pPr lvl="0" algn="l" defTabSz="711200">
            <a:lnSpc>
              <a:spcPct val="90000"/>
            </a:lnSpc>
            <a:spcBef>
              <a:spcPct val="0"/>
            </a:spcBef>
            <a:spcAft>
              <a:spcPct val="35000"/>
            </a:spcAft>
          </a:pPr>
          <a:r>
            <a:rPr lang="en-US" sz="1600" b="1" kern="1200" dirty="0" smtClean="0"/>
            <a:t>2 - Exposed</a:t>
          </a:r>
        </a:p>
        <a:p>
          <a:pPr lvl="0" algn="l" defTabSz="711200">
            <a:lnSpc>
              <a:spcPct val="90000"/>
            </a:lnSpc>
            <a:spcBef>
              <a:spcPct val="0"/>
            </a:spcBef>
            <a:spcAft>
              <a:spcPct val="35000"/>
            </a:spcAft>
          </a:pPr>
          <a:r>
            <a:rPr lang="en-US" sz="1600" b="1" kern="1200" dirty="0" smtClean="0"/>
            <a:t>3 - Robust</a:t>
          </a:r>
        </a:p>
        <a:p>
          <a:pPr lvl="0" algn="l" defTabSz="711200">
            <a:lnSpc>
              <a:spcPct val="90000"/>
            </a:lnSpc>
            <a:spcBef>
              <a:spcPct val="0"/>
            </a:spcBef>
            <a:spcAft>
              <a:spcPct val="35000"/>
            </a:spcAft>
          </a:pPr>
          <a:endParaRPr lang="en-US" sz="1200" b="1" kern="1200" dirty="0" smtClean="0"/>
        </a:p>
        <a:p>
          <a:pPr lvl="0" algn="l" defTabSz="711200">
            <a:lnSpc>
              <a:spcPct val="90000"/>
            </a:lnSpc>
            <a:spcBef>
              <a:spcPct val="0"/>
            </a:spcBef>
            <a:spcAft>
              <a:spcPct val="35000"/>
            </a:spcAft>
          </a:pPr>
          <a:r>
            <a:rPr lang="en-US" sz="1200" b="1" kern="1200" dirty="0" smtClean="0"/>
            <a:t>Example:</a:t>
          </a:r>
          <a:r>
            <a:rPr lang="en-US" sz="1200" kern="1200" dirty="0" smtClean="0"/>
            <a:t> </a:t>
          </a:r>
        </a:p>
        <a:p>
          <a:pPr lvl="0" algn="l" defTabSz="711200">
            <a:lnSpc>
              <a:spcPct val="150000"/>
            </a:lnSpc>
            <a:spcBef>
              <a:spcPct val="0"/>
            </a:spcBef>
            <a:spcAft>
              <a:spcPct val="35000"/>
            </a:spcAft>
          </a:pPr>
          <a:r>
            <a:rPr lang="en-US" sz="1200" i="0" kern="1200" dirty="0" smtClean="0">
              <a:latin typeface="+mn-lt"/>
              <a:cs typeface="Arial" panose="020B0604020202020204" pitchFamily="34" charset="0"/>
            </a:rPr>
            <a:t>The 2 lane roadway is paved with concrete and set in a rocky, rolling terrain. The design combines at grade and cut and fill sections with very few dirt ditches. </a:t>
          </a:r>
        </a:p>
        <a:p>
          <a:pPr lvl="0" algn="l" defTabSz="711200">
            <a:lnSpc>
              <a:spcPct val="150000"/>
            </a:lnSpc>
            <a:spcBef>
              <a:spcPct val="0"/>
            </a:spcBef>
            <a:spcAft>
              <a:spcPct val="35000"/>
            </a:spcAft>
          </a:pPr>
          <a:r>
            <a:rPr lang="en-US" sz="1200" i="0" kern="1200" dirty="0" smtClean="0">
              <a:latin typeface="+mn-lt"/>
              <a:cs typeface="Arial" panose="020B0604020202020204" pitchFamily="34" charset="0"/>
            </a:rPr>
            <a:t>The roadway should be downgraded from robust (concrete), to </a:t>
          </a:r>
          <a:r>
            <a:rPr lang="en-US" sz="1200" b="1" i="0" kern="1200" dirty="0" smtClean="0">
              <a:solidFill>
                <a:schemeClr val="tx1"/>
              </a:solidFill>
              <a:latin typeface="+mn-lt"/>
              <a:cs typeface="Arial" panose="020B0604020202020204" pitchFamily="34" charset="0"/>
            </a:rPr>
            <a:t>Exposed</a:t>
          </a:r>
          <a:r>
            <a:rPr lang="en-US" sz="1200" i="0" kern="1200" dirty="0" smtClean="0">
              <a:latin typeface="+mn-lt"/>
              <a:cs typeface="Arial" panose="020B0604020202020204" pitchFamily="34" charset="0"/>
            </a:rPr>
            <a:t> based on poor drainage conditions</a:t>
          </a:r>
          <a:r>
            <a:rPr lang="en-US" sz="1200" i="1" kern="1200" dirty="0" smtClean="0">
              <a:latin typeface="+mn-lt"/>
            </a:rPr>
            <a:t>.</a:t>
          </a:r>
          <a:endParaRPr lang="en-US" sz="1200" i="0" kern="1200" dirty="0">
            <a:latin typeface="+mn-lt"/>
            <a:cs typeface="Arial" panose="020B0604020202020204" pitchFamily="34" charset="0"/>
          </a:endParaRPr>
        </a:p>
      </dsp:txBody>
      <dsp:txXfrm>
        <a:off x="366858" y="256301"/>
        <a:ext cx="1867344" cy="491452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289BB6E-D21C-4A9E-9B30-912769CCDDD5}">
      <dsp:nvSpPr>
        <dsp:cNvPr id="0" name=""/>
        <dsp:cNvSpPr/>
      </dsp:nvSpPr>
      <dsp:spPr>
        <a:xfrm rot="10800000">
          <a:off x="0" y="0"/>
          <a:ext cx="3294912" cy="883060"/>
        </a:xfrm>
        <a:prstGeom prst="trapezoid">
          <a:avLst>
            <a:gd name="adj" fmla="val 31094"/>
          </a:avLst>
        </a:prstGeom>
        <a:solidFill>
          <a:schemeClr val="accent2">
            <a:shade val="50000"/>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2489200">
            <a:lnSpc>
              <a:spcPct val="90000"/>
            </a:lnSpc>
            <a:spcBef>
              <a:spcPct val="0"/>
            </a:spcBef>
            <a:spcAft>
              <a:spcPct val="35000"/>
            </a:spcAft>
          </a:pPr>
          <a:r>
            <a:rPr lang="en-US" sz="5600" kern="1200" dirty="0"/>
            <a:t> </a:t>
          </a:r>
        </a:p>
      </dsp:txBody>
      <dsp:txXfrm rot="-10800000">
        <a:off x="576609" y="0"/>
        <a:ext cx="2141692" cy="883060"/>
      </dsp:txXfrm>
    </dsp:sp>
    <dsp:sp modelId="{8D875A23-BB55-49D0-ADF3-26871AD735B7}">
      <dsp:nvSpPr>
        <dsp:cNvPr id="0" name=""/>
        <dsp:cNvSpPr/>
      </dsp:nvSpPr>
      <dsp:spPr>
        <a:xfrm rot="10800000">
          <a:off x="274575" y="883060"/>
          <a:ext cx="2745760" cy="883060"/>
        </a:xfrm>
        <a:prstGeom prst="trapezoid">
          <a:avLst>
            <a:gd name="adj" fmla="val 31094"/>
          </a:avLst>
        </a:prstGeom>
        <a:solidFill>
          <a:schemeClr val="accent2">
            <a:shade val="50000"/>
            <a:hueOff val="178894"/>
            <a:satOff val="-2948"/>
            <a:lumOff val="16197"/>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2489200">
            <a:lnSpc>
              <a:spcPct val="90000"/>
            </a:lnSpc>
            <a:spcBef>
              <a:spcPct val="0"/>
            </a:spcBef>
            <a:spcAft>
              <a:spcPct val="35000"/>
            </a:spcAft>
          </a:pPr>
          <a:r>
            <a:rPr lang="en-US" sz="5600" kern="1200" dirty="0"/>
            <a:t> </a:t>
          </a:r>
        </a:p>
      </dsp:txBody>
      <dsp:txXfrm rot="-10800000">
        <a:off x="755083" y="883060"/>
        <a:ext cx="1784744" cy="883060"/>
      </dsp:txXfrm>
    </dsp:sp>
    <dsp:sp modelId="{248FB3EC-7406-4B0C-93E1-523CA1618B6B}">
      <dsp:nvSpPr>
        <dsp:cNvPr id="0" name=""/>
        <dsp:cNvSpPr/>
      </dsp:nvSpPr>
      <dsp:spPr>
        <a:xfrm rot="10800000">
          <a:off x="549151" y="1766120"/>
          <a:ext cx="2196608" cy="883060"/>
        </a:xfrm>
        <a:prstGeom prst="trapezoid">
          <a:avLst>
            <a:gd name="adj" fmla="val 31094"/>
          </a:avLst>
        </a:prstGeom>
        <a:solidFill>
          <a:schemeClr val="accent2">
            <a:shade val="50000"/>
            <a:hueOff val="357789"/>
            <a:satOff val="-5897"/>
            <a:lumOff val="32393"/>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2489200">
            <a:lnSpc>
              <a:spcPct val="90000"/>
            </a:lnSpc>
            <a:spcBef>
              <a:spcPct val="0"/>
            </a:spcBef>
            <a:spcAft>
              <a:spcPct val="35000"/>
            </a:spcAft>
          </a:pPr>
          <a:r>
            <a:rPr lang="en-US" sz="5600" kern="1200" dirty="0"/>
            <a:t> </a:t>
          </a:r>
        </a:p>
      </dsp:txBody>
      <dsp:txXfrm rot="-10800000">
        <a:off x="933558" y="1766120"/>
        <a:ext cx="1427795" cy="883060"/>
      </dsp:txXfrm>
    </dsp:sp>
    <dsp:sp modelId="{D7776C25-D081-4065-A58C-0CDBB53CE2A4}">
      <dsp:nvSpPr>
        <dsp:cNvPr id="0" name=""/>
        <dsp:cNvSpPr/>
      </dsp:nvSpPr>
      <dsp:spPr>
        <a:xfrm rot="10800000">
          <a:off x="823728" y="2649180"/>
          <a:ext cx="1647456" cy="883060"/>
        </a:xfrm>
        <a:prstGeom prst="trapezoid">
          <a:avLst>
            <a:gd name="adj" fmla="val 31094"/>
          </a:avLst>
        </a:prstGeom>
        <a:solidFill>
          <a:schemeClr val="accent2">
            <a:shade val="50000"/>
            <a:hueOff val="536683"/>
            <a:satOff val="-8845"/>
            <a:lumOff val="4859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2489200">
            <a:lnSpc>
              <a:spcPct val="90000"/>
            </a:lnSpc>
            <a:spcBef>
              <a:spcPct val="0"/>
            </a:spcBef>
            <a:spcAft>
              <a:spcPct val="35000"/>
            </a:spcAft>
          </a:pPr>
          <a:endParaRPr lang="en-US" sz="5600" kern="1200"/>
        </a:p>
      </dsp:txBody>
      <dsp:txXfrm rot="-10800000">
        <a:off x="1112032" y="2649180"/>
        <a:ext cx="1070846" cy="883060"/>
      </dsp:txXfrm>
    </dsp:sp>
    <dsp:sp modelId="{BA12E191-508D-479F-A6EA-E05C60F445F4}">
      <dsp:nvSpPr>
        <dsp:cNvPr id="0" name=""/>
        <dsp:cNvSpPr/>
      </dsp:nvSpPr>
      <dsp:spPr>
        <a:xfrm rot="10800000">
          <a:off x="1098304" y="3532240"/>
          <a:ext cx="1098304" cy="883060"/>
        </a:xfrm>
        <a:prstGeom prst="trapezoid">
          <a:avLst>
            <a:gd name="adj" fmla="val 31094"/>
          </a:avLst>
        </a:prstGeom>
        <a:solidFill>
          <a:schemeClr val="accent2">
            <a:shade val="50000"/>
            <a:hueOff val="357789"/>
            <a:satOff val="-5897"/>
            <a:lumOff val="32393"/>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2489200">
            <a:lnSpc>
              <a:spcPct val="90000"/>
            </a:lnSpc>
            <a:spcBef>
              <a:spcPct val="0"/>
            </a:spcBef>
            <a:spcAft>
              <a:spcPct val="35000"/>
            </a:spcAft>
          </a:pPr>
          <a:endParaRPr lang="en-US" sz="5600" kern="1200"/>
        </a:p>
      </dsp:txBody>
      <dsp:txXfrm rot="-10800000">
        <a:off x="1290507" y="3532240"/>
        <a:ext cx="713897" cy="883060"/>
      </dsp:txXfrm>
    </dsp:sp>
    <dsp:sp modelId="{770262D9-CD1F-4B77-A7BA-4242781C26C3}">
      <dsp:nvSpPr>
        <dsp:cNvPr id="0" name=""/>
        <dsp:cNvSpPr/>
      </dsp:nvSpPr>
      <dsp:spPr>
        <a:xfrm rot="10800000">
          <a:off x="1372880" y="4415300"/>
          <a:ext cx="549152" cy="883060"/>
        </a:xfrm>
        <a:prstGeom prst="trapezoid">
          <a:avLst>
            <a:gd name="adj" fmla="val 50000"/>
          </a:avLst>
        </a:prstGeom>
        <a:solidFill>
          <a:schemeClr val="accent2">
            <a:shade val="50000"/>
            <a:hueOff val="178894"/>
            <a:satOff val="-2948"/>
            <a:lumOff val="16197"/>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lvl="0" algn="ctr" defTabSz="2489200">
            <a:lnSpc>
              <a:spcPct val="90000"/>
            </a:lnSpc>
            <a:spcBef>
              <a:spcPct val="0"/>
            </a:spcBef>
            <a:spcAft>
              <a:spcPct val="35000"/>
            </a:spcAft>
          </a:pPr>
          <a:endParaRPr lang="en-US" sz="5600" kern="1200"/>
        </a:p>
      </dsp:txBody>
      <dsp:txXfrm rot="-10800000">
        <a:off x="1372880" y="4415300"/>
        <a:ext cx="549152" cy="883060"/>
      </dsp:txXfrm>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8/layout/BendingPictureBlocks">
  <dgm:title val=""/>
  <dgm:desc val=""/>
  <dgm:catLst>
    <dgm:cat type="picture" pri="8000"/>
    <dgm:cat type="pictureconvert" pri="8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61"/>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908"/>
        </dgm:alg>
        <dgm:shape xmlns:r="http://schemas.openxmlformats.org/officeDocument/2006/relationships" r:blip="">
          <dgm:adjLst/>
        </dgm:shape>
        <dgm:choose name="Name4">
          <dgm:if name="Name5" func="var" arg="dir" op="equ" val="norm">
            <dgm:constrLst>
              <dgm:constr type="l" for="ch" forName="rect1" refType="w" fact="0.3"/>
              <dgm:constr type="t" for="ch" forName="rect1" refType="h" fact="0"/>
              <dgm:constr type="w" for="ch" forName="rect1" refType="h" fact="1.12"/>
              <dgm:constr type="h" for="ch" forName="rect1" refType="h" fact="0.942"/>
              <dgm:constr type="l" for="ch" forName="rect2" refType="w" fact="0"/>
              <dgm:constr type="t" for="ch" forName="rect2" refType="h" fact="0.396"/>
              <dgm:constr type="w" for="ch" forName="rect2" refType="h" fact="0.607"/>
              <dgm:constr type="h" for="ch" forName="rect2" refType="h" fact="0.607"/>
            </dgm:constrLst>
          </dgm:if>
          <dgm:else name="Name6">
            <dgm:constrLst>
              <dgm:constr type="l" for="ch" forName="rect1" refType="w" fact="0"/>
              <dgm:constr type="t" for="ch" forName="rect1" refType="h" fact="0"/>
              <dgm:constr type="w" for="ch" forName="rect1" refType="h" fact="1.12"/>
              <dgm:constr type="h" for="ch" forName="rect1" refType="h" fact="0.942"/>
              <dgm:constr type="l" for="ch" forName="rect2" refType="w" fact="0.63"/>
              <dgm:constr type="t" for="ch" forName="rect2" refType="h" fact="0.396"/>
              <dgm:constr type="w" for="ch" forName="rect2" refType="h" fact="0.607"/>
              <dgm:constr type="h" for="ch" forName="rect2" refType="h" fact="0.607"/>
            </dgm:constrLst>
          </dgm:else>
        </dgm:choose>
        <dgm:layoutNode name="rect1" styleLbl="bgImgPlace1">
          <dgm:alg type="sp"/>
          <dgm:shape xmlns:r="http://schemas.openxmlformats.org/officeDocument/2006/relationships" type="rect" r:blip="" blipPhldr="1">
            <dgm:adjLst/>
          </dgm:shape>
          <dgm:presOf/>
        </dgm:layoutNode>
        <dgm:layoutNode name="rect2" styleLbl="node1">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13.xml><?xml version="1.0" encoding="utf-8"?>
<dgm:layoutDef xmlns:dgm="http://schemas.openxmlformats.org/drawingml/2006/diagram" xmlns:a="http://schemas.openxmlformats.org/drawingml/2006/main" uniqueId="urn:microsoft.com/office/officeart/2008/layout/BendingPictureBlocks">
  <dgm:title val=""/>
  <dgm:desc val=""/>
  <dgm:catLst>
    <dgm:cat type="picture" pri="8000"/>
    <dgm:cat type="pictureconvert" pri="8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61"/>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908"/>
        </dgm:alg>
        <dgm:shape xmlns:r="http://schemas.openxmlformats.org/officeDocument/2006/relationships" r:blip="">
          <dgm:adjLst/>
        </dgm:shape>
        <dgm:choose name="Name4">
          <dgm:if name="Name5" func="var" arg="dir" op="equ" val="norm">
            <dgm:constrLst>
              <dgm:constr type="l" for="ch" forName="rect1" refType="w" fact="0.3"/>
              <dgm:constr type="t" for="ch" forName="rect1" refType="h" fact="0"/>
              <dgm:constr type="w" for="ch" forName="rect1" refType="h" fact="1.12"/>
              <dgm:constr type="h" for="ch" forName="rect1" refType="h" fact="0.942"/>
              <dgm:constr type="l" for="ch" forName="rect2" refType="w" fact="0"/>
              <dgm:constr type="t" for="ch" forName="rect2" refType="h" fact="0.396"/>
              <dgm:constr type="w" for="ch" forName="rect2" refType="h" fact="0.607"/>
              <dgm:constr type="h" for="ch" forName="rect2" refType="h" fact="0.607"/>
            </dgm:constrLst>
          </dgm:if>
          <dgm:else name="Name6">
            <dgm:constrLst>
              <dgm:constr type="l" for="ch" forName="rect1" refType="w" fact="0"/>
              <dgm:constr type="t" for="ch" forName="rect1" refType="h" fact="0"/>
              <dgm:constr type="w" for="ch" forName="rect1" refType="h" fact="1.12"/>
              <dgm:constr type="h" for="ch" forName="rect1" refType="h" fact="0.942"/>
              <dgm:constr type="l" for="ch" forName="rect2" refType="w" fact="0.63"/>
              <dgm:constr type="t" for="ch" forName="rect2" refType="h" fact="0.396"/>
              <dgm:constr type="w" for="ch" forName="rect2" refType="h" fact="0.607"/>
              <dgm:constr type="h" for="ch" forName="rect2" refType="h" fact="0.607"/>
            </dgm:constrLst>
          </dgm:else>
        </dgm:choose>
        <dgm:layoutNode name="rect1" styleLbl="bgImgPlace1">
          <dgm:alg type="sp"/>
          <dgm:shape xmlns:r="http://schemas.openxmlformats.org/officeDocument/2006/relationships" type="rect" r:blip="" blipPhldr="1">
            <dgm:adjLst/>
          </dgm:shape>
          <dgm:presOf/>
        </dgm:layoutNode>
        <dgm:layoutNode name="rect2" styleLbl="node1">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16.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BendingPictureBlocks">
  <dgm:title val=""/>
  <dgm:desc val=""/>
  <dgm:catLst>
    <dgm:cat type="picture" pri="8000"/>
    <dgm:cat type="pictureconvert" pri="8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61"/>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908"/>
        </dgm:alg>
        <dgm:shape xmlns:r="http://schemas.openxmlformats.org/officeDocument/2006/relationships" r:blip="">
          <dgm:adjLst/>
        </dgm:shape>
        <dgm:choose name="Name4">
          <dgm:if name="Name5" func="var" arg="dir" op="equ" val="norm">
            <dgm:constrLst>
              <dgm:constr type="l" for="ch" forName="rect1" refType="w" fact="0.3"/>
              <dgm:constr type="t" for="ch" forName="rect1" refType="h" fact="0"/>
              <dgm:constr type="w" for="ch" forName="rect1" refType="h" fact="1.12"/>
              <dgm:constr type="h" for="ch" forName="rect1" refType="h" fact="0.942"/>
              <dgm:constr type="l" for="ch" forName="rect2" refType="w" fact="0"/>
              <dgm:constr type="t" for="ch" forName="rect2" refType="h" fact="0.396"/>
              <dgm:constr type="w" for="ch" forName="rect2" refType="h" fact="0.607"/>
              <dgm:constr type="h" for="ch" forName="rect2" refType="h" fact="0.607"/>
            </dgm:constrLst>
          </dgm:if>
          <dgm:else name="Name6">
            <dgm:constrLst>
              <dgm:constr type="l" for="ch" forName="rect1" refType="w" fact="0"/>
              <dgm:constr type="t" for="ch" forName="rect1" refType="h" fact="0"/>
              <dgm:constr type="w" for="ch" forName="rect1" refType="h" fact="1.12"/>
              <dgm:constr type="h" for="ch" forName="rect1" refType="h" fact="0.942"/>
              <dgm:constr type="l" for="ch" forName="rect2" refType="w" fact="0.63"/>
              <dgm:constr type="t" for="ch" forName="rect2" refType="h" fact="0.396"/>
              <dgm:constr type="w" for="ch" forName="rect2" refType="h" fact="0.607"/>
              <dgm:constr type="h" for="ch" forName="rect2" refType="h" fact="0.607"/>
            </dgm:constrLst>
          </dgm:else>
        </dgm:choose>
        <dgm:layoutNode name="rect1" styleLbl="bgImgPlace1">
          <dgm:alg type="sp"/>
          <dgm:shape xmlns:r="http://schemas.openxmlformats.org/officeDocument/2006/relationships" type="rect" r:blip="" blipPhldr="1">
            <dgm:adjLst/>
          </dgm:shape>
          <dgm:presOf/>
        </dgm:layoutNode>
        <dgm:layoutNode name="rect2" styleLbl="node1">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8/layout/IncreasingCircleProcess">
  <dgm:title val=""/>
  <dgm:desc val=""/>
  <dgm:catLst>
    <dgm:cat type="list" pri="8300"/>
    <dgm:cat type="process" pri="43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param type="horzAlign" val="ctr"/>
          <dgm:param type="vertAlign" val="t"/>
        </dgm:alg>
      </dgm:if>
      <dgm:else name="Name3">
        <dgm:alg type="lin">
          <dgm:param type="linDir" val="fromR"/>
          <dgm:param type="horzAlign" val="ctr"/>
          <dgm:param type="vertAlign" val="t"/>
        </dgm:alg>
      </dgm:else>
    </dgm:choose>
    <dgm:shape xmlns:r="http://schemas.openxmlformats.org/officeDocument/2006/relationships" r:blip="">
      <dgm:adjLst/>
    </dgm:shape>
    <dgm:constrLst>
      <dgm:constr type="primFontSz" for="des" forName="Child" val="65"/>
      <dgm:constr type="primFontSz" for="des" forName="Parent" val="65"/>
      <dgm:constr type="primFontSz" for="des" forName="Child" refType="primFontSz" refFor="des" refForName="Parent" op="lte"/>
      <dgm:constr type="w" for="ch" forName="composite" refType="w"/>
      <dgm:constr type="h" for="ch" forName="composite" refType="h"/>
      <dgm:constr type="sp" refType="w" refFor="ch" refForName="composite" op="equ" fact="0.05"/>
      <dgm:constr type="w" for="ch" forName="sibTrans" refType="h" refFor="ch" refForName="composite" op="equ" fact="0.04"/>
    </dgm:constrLst>
    <dgm:forEach name="nodesForEach" axis="ch" ptType="node" cnt="7">
      <dgm:layoutNode name="composite">
        <dgm:alg type="composite">
          <dgm:param type="ar" val="0.8"/>
        </dgm:alg>
        <dgm:choose name="Name4">
          <dgm:if name="Name5" func="var" arg="dir" op="equ" val="norm">
            <dgm:constrLst>
              <dgm:constr type="l" for="ch" forName="Child" refType="w" fact="0.29"/>
              <dgm:constr type="t" for="ch" forName="Child" refType="h" fact="0.192"/>
              <dgm:constr type="w" for="ch" forName="Child" refType="w" fact="0.71"/>
              <dgm:constr type="h" for="ch" forName="Child" refType="h" fact="0.808"/>
              <dgm:constr type="l" for="ch" forName="Parent" refType="w" fact="0.29"/>
              <dgm:constr type="t" for="ch" forName="Parent" refType="h" fact="0"/>
              <dgm:constr type="w" for="ch" forName="Parent" refType="w" fact="0.71"/>
              <dgm:constr type="h" for="ch" forName="Parent" refType="h" fact="0.192"/>
              <dgm:constr type="l" for="ch" forName="BackAccent" refType="w" fact="0"/>
              <dgm:constr type="t" for="ch" forName="BackAccent" refType="h" fact="0"/>
              <dgm:constr type="w" for="ch" forName="BackAccent" refType="w" fact="0.24"/>
              <dgm:constr type="h" for="ch" forName="BackAccent" refType="h" fact="0.192"/>
              <dgm:constr type="l" for="ch" forName="Accent" refType="w" fact="0.024"/>
              <dgm:constr type="t" for="ch" forName="Accent" refType="h" fact="0.0192"/>
              <dgm:constr type="w" for="ch" forName="Accent" refType="w" fact="0.192"/>
              <dgm:constr type="h" for="ch" forName="Accent" refType="h" fact="0.1536"/>
            </dgm:constrLst>
          </dgm:if>
          <dgm:else name="Name6">
            <dgm:constrLst>
              <dgm:constr type="r" for="ch" forName="Child" refType="w" fact="0.71"/>
              <dgm:constr type="t" for="ch" forName="Child" refType="h" fact="0.192"/>
              <dgm:constr type="w" for="ch" forName="Child" refType="w" fact="0.71"/>
              <dgm:constr type="h" for="ch" forName="Child" refType="h" fact="0.808"/>
              <dgm:constr type="r" for="ch" forName="Parent" refType="w" fact="0.71"/>
              <dgm:constr type="t" for="ch" forName="Parent" refType="h" fact="0"/>
              <dgm:constr type="w" for="ch" forName="Parent" refType="w" fact="0.71"/>
              <dgm:constr type="h" for="ch" forName="Parent" refType="h" fact="0.192"/>
              <dgm:constr type="r" for="ch" forName="BackAccent" refType="w"/>
              <dgm:constr type="t" for="ch" forName="BackAccent" refType="h" fact="0"/>
              <dgm:constr type="w" for="ch" forName="BackAccent" refType="w" fact="0.24"/>
              <dgm:constr type="h" for="ch" forName="BackAccent" refType="h" fact="0.192"/>
              <dgm:constr type="r" for="ch" forName="Accent" refType="w" fact="0.976"/>
              <dgm:constr type="t" for="ch" forName="Accent" refType="h" fact="0.0192"/>
              <dgm:constr type="w" for="ch" forName="Accent" refType="w" fact="0.192"/>
              <dgm:constr type="h" for="ch" forName="Accent" refType="h" fact="0.1536"/>
            </dgm:constrLst>
          </dgm:else>
        </dgm:choose>
        <dgm:layoutNode name="BackAccent" styleLbl="bgShp">
          <dgm:alg type="sp"/>
          <dgm:shape xmlns:r="http://schemas.openxmlformats.org/officeDocument/2006/relationships" type="ellipse" r:blip="">
            <dgm:adjLst/>
          </dgm:shape>
          <dgm:presOf/>
        </dgm:layoutNode>
        <dgm:layoutNode name="Accent" styleLbl="alignNode1">
          <dgm:alg type="sp"/>
          <dgm:choose name="Name7">
            <dgm:if name="Name8" axis="precedSib" ptType="node" func="cnt" op="equ" val="0">
              <dgm:choose name="Name9">
                <dgm:if name="Name10" axis="followSib" ptType="node" func="cnt" op="equ" val="0">
                  <dgm:shape xmlns:r="http://schemas.openxmlformats.org/officeDocument/2006/relationships" type="chord" r:blip="">
                    <dgm:adjLst>
                      <dgm:adj idx="1" val="-90"/>
                      <dgm:adj idx="2" val="-90"/>
                    </dgm:adjLst>
                  </dgm:shape>
                </dgm:if>
                <dgm:if name="Name11" axis="followSib" ptType="node" func="cnt" op="equ" val="1">
                  <dgm:shape xmlns:r="http://schemas.openxmlformats.org/officeDocument/2006/relationships" type="chord" r:blip="">
                    <dgm:adjLst>
                      <dgm:adj idx="1" val="0"/>
                      <dgm:adj idx="2" val="180"/>
                    </dgm:adjLst>
                  </dgm:shape>
                </dgm:if>
                <dgm:if name="Name12" axis="followSib" ptType="node" func="cnt" op="equ" val="2">
                  <dgm:shape xmlns:r="http://schemas.openxmlformats.org/officeDocument/2006/relationships" type="chord" r:blip="">
                    <dgm:adjLst>
                      <dgm:adj idx="1" val="19.4712"/>
                      <dgm:adj idx="2" val="160.5288"/>
                    </dgm:adjLst>
                  </dgm:shape>
                </dgm:if>
                <dgm:if name="Name13" axis="followSib" ptType="node" func="cnt" op="equ" val="3">
                  <dgm:shape xmlns:r="http://schemas.openxmlformats.org/officeDocument/2006/relationships" type="chord" r:blip="">
                    <dgm:adjLst>
                      <dgm:adj idx="1" val="30"/>
                      <dgm:adj idx="2" val="150"/>
                    </dgm:adjLst>
                  </dgm:shape>
                </dgm:if>
                <dgm:if name="Name14" axis="followSib" ptType="node" func="cnt" op="equ" val="4">
                  <dgm:shape xmlns:r="http://schemas.openxmlformats.org/officeDocument/2006/relationships" type="chord" r:blip="">
                    <dgm:adjLst>
                      <dgm:adj idx="1" val="38.8699"/>
                      <dgm:adj idx="2" val="143.1301"/>
                    </dgm:adjLst>
                  </dgm:shape>
                </dgm:if>
                <dgm:if name="Name15" axis="followSib" ptType="node" func="cnt" op="equ" val="5">
                  <dgm:shape xmlns:r="http://schemas.openxmlformats.org/officeDocument/2006/relationships" type="chord" r:blip="">
                    <dgm:adjLst>
                      <dgm:adj idx="1" val="41.8103"/>
                      <dgm:adj idx="2" val="138.1897"/>
                    </dgm:adjLst>
                  </dgm:shape>
                </dgm:if>
                <dgm:else name="Name16">
                  <dgm:shape xmlns:r="http://schemas.openxmlformats.org/officeDocument/2006/relationships" type="chord" r:blip="">
                    <dgm:adjLst>
                      <dgm:adj idx="1" val="45.5847"/>
                      <dgm:adj idx="2" val="134.4153"/>
                    </dgm:adjLst>
                  </dgm:shape>
                </dgm:else>
              </dgm:choose>
            </dgm:if>
            <dgm:if name="Name17" axis="precedSib" ptType="node" func="cnt" op="equ" val="1">
              <dgm:choose name="Name18">
                <dgm:if name="Name19" axis="followSib" ptType="node" func="cnt" op="equ" val="0">
                  <dgm:shape xmlns:r="http://schemas.openxmlformats.org/officeDocument/2006/relationships" type="chord" r:blip="">
                    <dgm:adjLst>
                      <dgm:adj idx="1" val="-90"/>
                      <dgm:adj idx="2" val="-90"/>
                    </dgm:adjLst>
                  </dgm:shape>
                </dgm:if>
                <dgm:if name="Name20" axis="followSib" ptType="node" func="cnt" op="equ" val="1">
                  <dgm:shape xmlns:r="http://schemas.openxmlformats.org/officeDocument/2006/relationships" type="chord" r:blip="">
                    <dgm:adjLst>
                      <dgm:adj idx="1" val="-19.4712"/>
                      <dgm:adj idx="2" val="-160.5288"/>
                    </dgm:adjLst>
                  </dgm:shape>
                </dgm:if>
                <dgm:if name="Name21" axis="followSib" ptType="node" func="cnt" op="equ" val="2">
                  <dgm:shape xmlns:r="http://schemas.openxmlformats.org/officeDocument/2006/relationships" type="chord" r:blip="">
                    <dgm:adjLst>
                      <dgm:adj idx="1" val="0"/>
                      <dgm:adj idx="2" val="180"/>
                    </dgm:adjLst>
                  </dgm:shape>
                </dgm:if>
                <dgm:if name="Name22" axis="followSib" ptType="node" func="cnt" op="equ" val="3">
                  <dgm:shape xmlns:r="http://schemas.openxmlformats.org/officeDocument/2006/relationships" type="chord" r:blip="">
                    <dgm:adjLst>
                      <dgm:adj idx="1" val="11.537"/>
                      <dgm:adj idx="2" val="168.463"/>
                    </dgm:adjLst>
                  </dgm:shape>
                </dgm:if>
                <dgm:if name="Name23" axis="followSib" ptType="node" func="cnt" op="equ" val="4">
                  <dgm:shape xmlns:r="http://schemas.openxmlformats.org/officeDocument/2006/relationships" type="chord" r:blip="">
                    <dgm:adjLst>
                      <dgm:adj idx="1" val="19.4712"/>
                      <dgm:adj idx="2" val="160.5288"/>
                    </dgm:adjLst>
                  </dgm:shape>
                </dgm:if>
                <dgm:else name="Name24">
                  <dgm:shape xmlns:r="http://schemas.openxmlformats.org/officeDocument/2006/relationships" type="chord" r:blip="">
                    <dgm:adjLst>
                      <dgm:adj idx="1" val="25.3769"/>
                      <dgm:adj idx="2" val="154.6231"/>
                    </dgm:adjLst>
                  </dgm:shape>
                </dgm:else>
              </dgm:choose>
            </dgm:if>
            <dgm:if name="Name25" axis="precedSib" ptType="node" func="cnt" op="equ" val="2">
              <dgm:choose name="Name26">
                <dgm:if name="Name27" axis="followSib" ptType="node" func="cnt" op="equ" val="0">
                  <dgm:shape xmlns:r="http://schemas.openxmlformats.org/officeDocument/2006/relationships" type="chord" r:blip="">
                    <dgm:adjLst>
                      <dgm:adj idx="1" val="-90"/>
                      <dgm:adj idx="2" val="-90"/>
                    </dgm:adjLst>
                  </dgm:shape>
                </dgm:if>
                <dgm:if name="Name28" axis="followSib" ptType="node" func="cnt" op="equ" val="1">
                  <dgm:shape xmlns:r="http://schemas.openxmlformats.org/officeDocument/2006/relationships" type="chord" r:blip="">
                    <dgm:adjLst>
                      <dgm:adj idx="1" val="-30"/>
                      <dgm:adj idx="2" val="-150"/>
                    </dgm:adjLst>
                  </dgm:shape>
                </dgm:if>
                <dgm:if name="Name29" axis="followSib" ptType="node" func="cnt" op="equ" val="2">
                  <dgm:shape xmlns:r="http://schemas.openxmlformats.org/officeDocument/2006/relationships" type="chord" r:blip="">
                    <dgm:adjLst>
                      <dgm:adj idx="1" val="-11.537"/>
                      <dgm:adj idx="2" val="-168.463"/>
                    </dgm:adjLst>
                  </dgm:shape>
                </dgm:if>
                <dgm:if name="Name30" axis="followSib" ptType="node" func="cnt" op="equ" val="3">
                  <dgm:shape xmlns:r="http://schemas.openxmlformats.org/officeDocument/2006/relationships" type="chord" r:blip="">
                    <dgm:adjLst>
                      <dgm:adj idx="1" val="0"/>
                      <dgm:adj idx="2" val="180"/>
                    </dgm:adjLst>
                  </dgm:shape>
                </dgm:if>
                <dgm:else name="Name31">
                  <dgm:shape xmlns:r="http://schemas.openxmlformats.org/officeDocument/2006/relationships" type="chord" r:blip="">
                    <dgm:adjLst>
                      <dgm:adj idx="1" val="8.2133"/>
                      <dgm:adj idx="2" val="171.7867"/>
                    </dgm:adjLst>
                  </dgm:shape>
                </dgm:else>
              </dgm:choose>
            </dgm:if>
            <dgm:if name="Name32" axis="precedSib" ptType="node" func="cnt" op="equ" val="3">
              <dgm:choose name="Name33">
                <dgm:if name="Name34" axis="followSib" ptType="node" func="cnt" op="equ" val="0">
                  <dgm:shape xmlns:r="http://schemas.openxmlformats.org/officeDocument/2006/relationships" type="chord" r:blip="">
                    <dgm:adjLst>
                      <dgm:adj idx="1" val="-90"/>
                      <dgm:adj idx="2" val="-90"/>
                    </dgm:adjLst>
                  </dgm:shape>
                </dgm:if>
                <dgm:if name="Name35" axis="followSib" ptType="node" func="cnt" op="equ" val="1">
                  <dgm:shape xmlns:r="http://schemas.openxmlformats.org/officeDocument/2006/relationships" type="chord" r:blip="">
                    <dgm:adjLst>
                      <dgm:adj idx="1" val="-38.8699"/>
                      <dgm:adj idx="2" val="-143.1301"/>
                    </dgm:adjLst>
                  </dgm:shape>
                </dgm:if>
                <dgm:if name="Name36" axis="followSib" ptType="node" func="cnt" op="equ" val="2">
                  <dgm:shape xmlns:r="http://schemas.openxmlformats.org/officeDocument/2006/relationships" type="chord" r:blip="">
                    <dgm:adjLst>
                      <dgm:adj idx="1" val="-19.4712"/>
                      <dgm:adj idx="2" val="-160.5288"/>
                    </dgm:adjLst>
                  </dgm:shape>
                </dgm:if>
                <dgm:else name="Name37">
                  <dgm:shape xmlns:r="http://schemas.openxmlformats.org/officeDocument/2006/relationships" type="chord" r:blip="">
                    <dgm:adjLst>
                      <dgm:adj idx="1" val="-8.2133"/>
                      <dgm:adj idx="2" val="-171.7867"/>
                    </dgm:adjLst>
                  </dgm:shape>
                </dgm:else>
              </dgm:choose>
            </dgm:if>
            <dgm:if name="Name38" axis="precedSib" ptType="node" func="cnt" op="equ" val="4">
              <dgm:choose name="Name39">
                <dgm:if name="Name40" axis="followSib" ptType="node" func="cnt" op="equ" val="0">
                  <dgm:shape xmlns:r="http://schemas.openxmlformats.org/officeDocument/2006/relationships" type="chord" r:blip="">
                    <dgm:adjLst>
                      <dgm:adj idx="1" val="-90"/>
                      <dgm:adj idx="2" val="-90"/>
                    </dgm:adjLst>
                  </dgm:shape>
                </dgm:if>
                <dgm:if name="Name41" axis="followSib" ptType="node" func="cnt" op="equ" val="1">
                  <dgm:shape xmlns:r="http://schemas.openxmlformats.org/officeDocument/2006/relationships" type="chord" r:blip="">
                    <dgm:adjLst>
                      <dgm:adj idx="1" val="-41.8103"/>
                      <dgm:adj idx="2" val="-138.1897"/>
                    </dgm:adjLst>
                  </dgm:shape>
                </dgm:if>
                <dgm:else name="Name42">
                  <dgm:shape xmlns:r="http://schemas.openxmlformats.org/officeDocument/2006/relationships" type="chord" r:blip="">
                    <dgm:adjLst>
                      <dgm:adj idx="1" val="-25.3769"/>
                      <dgm:adj idx="2" val="-154.6231"/>
                    </dgm:adjLst>
                  </dgm:shape>
                </dgm:else>
              </dgm:choose>
            </dgm:if>
            <dgm:if name="Name43" axis="precedSib" ptType="node" func="cnt" op="equ" val="5">
              <dgm:choose name="Name44">
                <dgm:if name="Name45" axis="followSib" ptType="node" func="cnt" op="equ" val="0">
                  <dgm:shape xmlns:r="http://schemas.openxmlformats.org/officeDocument/2006/relationships" type="chord" r:blip="">
                    <dgm:adjLst>
                      <dgm:adj idx="1" val="-90"/>
                      <dgm:adj idx="2" val="-90"/>
                    </dgm:adjLst>
                  </dgm:shape>
                </dgm:if>
                <dgm:else name="Name46">
                  <dgm:shape xmlns:r="http://schemas.openxmlformats.org/officeDocument/2006/relationships" type="chord" r:blip="">
                    <dgm:adjLst>
                      <dgm:adj idx="1" val="-45.5847"/>
                      <dgm:adj idx="2" val="-134.4153"/>
                    </dgm:adjLst>
                  </dgm:shape>
                </dgm:else>
              </dgm:choose>
            </dgm:if>
            <dgm:else name="Name47">
              <dgm:shape xmlns:r="http://schemas.openxmlformats.org/officeDocument/2006/relationships" type="chord" r:blip="">
                <dgm:adjLst>
                  <dgm:adj idx="1" val="-90"/>
                  <dgm:adj idx="2" val="-90"/>
                </dgm:adjLst>
              </dgm:shape>
            </dgm:else>
          </dgm:choose>
          <dgm:presOf/>
        </dgm:layoutNode>
        <dgm:layoutNode name="Child" styleLbl="revTx">
          <dgm:varLst>
            <dgm:chMax val="0"/>
            <dgm:chPref val="0"/>
            <dgm:bulletEnabled val="1"/>
          </dgm:varLst>
          <dgm:choose name="Name48">
            <dgm:if name="Name49" func="var" arg="dir" op="equ" val="norm">
              <dgm:alg type="tx">
                <dgm:param type="parTxLTRAlign" val="l"/>
                <dgm:param type="parTxRTLAlign" val="l"/>
                <dgm:param type="txAnchorVert" val="t"/>
              </dgm:alg>
            </dgm:if>
            <dgm:else name="Name50">
              <dgm:alg type="tx">
                <dgm:param type="parTxLTRAlign" val="r"/>
                <dgm:param type="parTxRTLAlign" val="r"/>
                <dgm:param type="txAnchorVert" val="t"/>
              </dgm:alg>
            </dgm:else>
          </dgm:choose>
          <dgm:choose name="Name51">
            <dgm:if name="Name52" axis="ch" ptType="node" func="cnt" op="gte" val="1">
              <dgm:shape xmlns:r="http://schemas.openxmlformats.org/officeDocument/2006/relationships" type="rect" r:blip="">
                <dgm:adjLst/>
              </dgm:shape>
            </dgm:if>
            <dgm:else name="Name53">
              <dgm:shape xmlns:r="http://schemas.openxmlformats.org/officeDocument/2006/relationships" type="rect" r:blip="" hideGeom="1">
                <dgm:adjLst/>
              </dgm:shape>
            </dgm:else>
          </dgm:choose>
          <dgm:choose name="Name54">
            <dgm:if name="Name55" axis="ch" ptType="node" func="cnt" op="gte" val="1">
              <dgm:presOf axis="des" ptType="node"/>
            </dgm:if>
            <dgm:else name="Name56">
              <dgm:presOf/>
            </dgm:else>
          </dgm:choos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Parent" styleLbl="revTx">
          <dgm:varLst>
            <dgm:chMax val="1"/>
            <dgm:chPref val="1"/>
            <dgm:bulletEnabled val="1"/>
          </dgm:varLst>
          <dgm:choose name="Name57">
            <dgm:if name="Name58" func="var" arg="dir" op="equ" val="norm">
              <dgm:alg type="tx">
                <dgm:param type="parTxLTRAlign" val="l"/>
                <dgm:param type="parTxRTLAlign" val="l"/>
                <dgm:param type="shpTxLTRAlignCh" val="l"/>
                <dgm:param type="shpTxRTLAlignCh" val="l"/>
                <dgm:param type="txAnchorVert" val="b"/>
                <dgm:param type="txAnchorVertCh" val="b"/>
              </dgm:alg>
            </dgm:if>
            <dgm:else name="Name59">
              <dgm:alg type="tx">
                <dgm:param type="parTxLTRAlign" val="r"/>
                <dgm:param type="parTxRTLAlign" val="r"/>
                <dgm:param type="shpTxLTRAlignCh" val="r"/>
                <dgm:param type="shpTxRTLAlignCh" val="r"/>
                <dgm:param type="txAnchorVert" val="b"/>
                <dgm:param type="txAnchorVertCh" val="b"/>
              </dgm:alg>
            </dgm:else>
          </dgm:choose>
          <dgm:shape xmlns:r="http://schemas.openxmlformats.org/officeDocument/2006/relationships" type="rect" r:blip="">
            <dgm:adjLst/>
          </dgm:shape>
          <dgm:presOf axis="self"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BendingPictureBlocks">
  <dgm:title val=""/>
  <dgm:desc val=""/>
  <dgm:catLst>
    <dgm:cat type="picture" pri="8000"/>
    <dgm:cat type="pictureconvert" pri="8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61"/>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908"/>
        </dgm:alg>
        <dgm:shape xmlns:r="http://schemas.openxmlformats.org/officeDocument/2006/relationships" r:blip="">
          <dgm:adjLst/>
        </dgm:shape>
        <dgm:choose name="Name4">
          <dgm:if name="Name5" func="var" arg="dir" op="equ" val="norm">
            <dgm:constrLst>
              <dgm:constr type="l" for="ch" forName="rect1" refType="w" fact="0.3"/>
              <dgm:constr type="t" for="ch" forName="rect1" refType="h" fact="0"/>
              <dgm:constr type="w" for="ch" forName="rect1" refType="h" fact="1.12"/>
              <dgm:constr type="h" for="ch" forName="rect1" refType="h" fact="0.942"/>
              <dgm:constr type="l" for="ch" forName="rect2" refType="w" fact="0"/>
              <dgm:constr type="t" for="ch" forName="rect2" refType="h" fact="0.396"/>
              <dgm:constr type="w" for="ch" forName="rect2" refType="h" fact="0.607"/>
              <dgm:constr type="h" for="ch" forName="rect2" refType="h" fact="0.607"/>
            </dgm:constrLst>
          </dgm:if>
          <dgm:else name="Name6">
            <dgm:constrLst>
              <dgm:constr type="l" for="ch" forName="rect1" refType="w" fact="0"/>
              <dgm:constr type="t" for="ch" forName="rect1" refType="h" fact="0"/>
              <dgm:constr type="w" for="ch" forName="rect1" refType="h" fact="1.12"/>
              <dgm:constr type="h" for="ch" forName="rect1" refType="h" fact="0.942"/>
              <dgm:constr type="l" for="ch" forName="rect2" refType="w" fact="0.63"/>
              <dgm:constr type="t" for="ch" forName="rect2" refType="h" fact="0.396"/>
              <dgm:constr type="w" for="ch" forName="rect2" refType="h" fact="0.607"/>
              <dgm:constr type="h" for="ch" forName="rect2" refType="h" fact="0.607"/>
            </dgm:constrLst>
          </dgm:else>
        </dgm:choose>
        <dgm:layoutNode name="rect1" styleLbl="bgImgPlace1">
          <dgm:alg type="sp"/>
          <dgm:shape xmlns:r="http://schemas.openxmlformats.org/officeDocument/2006/relationships" type="rect" r:blip="" blipPhldr="1">
            <dgm:adjLst/>
          </dgm:shape>
          <dgm:presOf/>
        </dgm:layoutNode>
        <dgm:layoutNode name="rect2" styleLbl="node1">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8/layout/BendingPictureBlocks">
  <dgm:title val=""/>
  <dgm:desc val=""/>
  <dgm:catLst>
    <dgm:cat type="picture" pri="8000"/>
    <dgm:cat type="pictureconvert" pri="8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61"/>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908"/>
        </dgm:alg>
        <dgm:shape xmlns:r="http://schemas.openxmlformats.org/officeDocument/2006/relationships" r:blip="">
          <dgm:adjLst/>
        </dgm:shape>
        <dgm:choose name="Name4">
          <dgm:if name="Name5" func="var" arg="dir" op="equ" val="norm">
            <dgm:constrLst>
              <dgm:constr type="l" for="ch" forName="rect1" refType="w" fact="0.3"/>
              <dgm:constr type="t" for="ch" forName="rect1" refType="h" fact="0"/>
              <dgm:constr type="w" for="ch" forName="rect1" refType="h" fact="1.12"/>
              <dgm:constr type="h" for="ch" forName="rect1" refType="h" fact="0.942"/>
              <dgm:constr type="l" for="ch" forName="rect2" refType="w" fact="0"/>
              <dgm:constr type="t" for="ch" forName="rect2" refType="h" fact="0.396"/>
              <dgm:constr type="w" for="ch" forName="rect2" refType="h" fact="0.607"/>
              <dgm:constr type="h" for="ch" forName="rect2" refType="h" fact="0.607"/>
            </dgm:constrLst>
          </dgm:if>
          <dgm:else name="Name6">
            <dgm:constrLst>
              <dgm:constr type="l" for="ch" forName="rect1" refType="w" fact="0"/>
              <dgm:constr type="t" for="ch" forName="rect1" refType="h" fact="0"/>
              <dgm:constr type="w" for="ch" forName="rect1" refType="h" fact="1.12"/>
              <dgm:constr type="h" for="ch" forName="rect1" refType="h" fact="0.942"/>
              <dgm:constr type="l" for="ch" forName="rect2" refType="w" fact="0.63"/>
              <dgm:constr type="t" for="ch" forName="rect2" refType="h" fact="0.396"/>
              <dgm:constr type="w" for="ch" forName="rect2" refType="h" fact="0.607"/>
              <dgm:constr type="h" for="ch" forName="rect2" refType="h" fact="0.607"/>
            </dgm:constrLst>
          </dgm:else>
        </dgm:choose>
        <dgm:layoutNode name="rect1" styleLbl="bgImgPlace1">
          <dgm:alg type="sp"/>
          <dgm:shape xmlns:r="http://schemas.openxmlformats.org/officeDocument/2006/relationships" type="rect" r:blip="" blipPhldr="1">
            <dgm:adjLst/>
          </dgm:shape>
          <dgm:presOf/>
        </dgm:layoutNode>
        <dgm:layoutNode name="rect2" styleLbl="node1">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3A72070-33FB-4618-8816-E60FF34E36AD}" type="datetimeFigureOut">
              <a:rPr lang="en-US" smtClean="0"/>
              <a:t>4/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7CE1C5-261D-4EF9-AF26-21DD3854F780}" type="slidenum">
              <a:rPr lang="en-US" smtClean="0"/>
              <a:t>‹#›</a:t>
            </a:fld>
            <a:endParaRPr lang="en-US"/>
          </a:p>
        </p:txBody>
      </p:sp>
    </p:spTree>
    <p:extLst>
      <p:ext uri="{BB962C8B-B14F-4D97-AF65-F5344CB8AC3E}">
        <p14:creationId xmlns:p14="http://schemas.microsoft.com/office/powerpoint/2010/main" val="1218463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1</a:t>
            </a:fld>
            <a:endParaRPr lang="en-US"/>
          </a:p>
        </p:txBody>
      </p:sp>
    </p:spTree>
    <p:extLst>
      <p:ext uri="{BB962C8B-B14F-4D97-AF65-F5344CB8AC3E}">
        <p14:creationId xmlns:p14="http://schemas.microsoft.com/office/powerpoint/2010/main" val="28974299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s</a:t>
            </a:r>
            <a:r>
              <a:rPr lang="en-US" baseline="0" dirty="0" smtClean="0"/>
              <a:t> 1 through 3 each feed into risk identification. </a:t>
            </a:r>
          </a:p>
          <a:p>
            <a:r>
              <a:rPr lang="en-US" baseline="0" dirty="0" smtClean="0"/>
              <a:t>The goal of the section in its entirety is to identify which threats are likely to impact the roadway during its expected lifecycle. </a:t>
            </a:r>
          </a:p>
          <a:p>
            <a:r>
              <a:rPr lang="en-US" baseline="0" dirty="0" smtClean="0"/>
              <a:t>When we think of climate change impacting roadways, we often think of precipitation and SLR.</a:t>
            </a:r>
          </a:p>
          <a:p>
            <a:r>
              <a:rPr lang="en-US" baseline="0" dirty="0" smtClean="0"/>
              <a:t>In many parts of the world extreme heat and extreme cold are also causing loss in functionality and reliability as well as asset failures </a:t>
            </a:r>
          </a:p>
        </p:txBody>
      </p:sp>
      <p:sp>
        <p:nvSpPr>
          <p:cNvPr id="4" name="Slide Number Placeholder 3"/>
          <p:cNvSpPr>
            <a:spLocks noGrp="1"/>
          </p:cNvSpPr>
          <p:nvPr>
            <p:ph type="sldNum" sz="quarter" idx="10"/>
          </p:nvPr>
        </p:nvSpPr>
        <p:spPr/>
        <p:txBody>
          <a:bodyPr/>
          <a:lstStyle/>
          <a:p>
            <a:fld id="{E27CE1C5-261D-4EF9-AF26-21DD3854F780}" type="slidenum">
              <a:rPr lang="en-US" smtClean="0"/>
              <a:t>10</a:t>
            </a:fld>
            <a:endParaRPr lang="en-US"/>
          </a:p>
        </p:txBody>
      </p:sp>
    </p:spTree>
    <p:extLst>
      <p:ext uri="{BB962C8B-B14F-4D97-AF65-F5344CB8AC3E}">
        <p14:creationId xmlns:p14="http://schemas.microsoft.com/office/powerpoint/2010/main" val="3251385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riticality</a:t>
            </a:r>
            <a:r>
              <a:rPr lang="en-US" baseline="0" dirty="0" smtClean="0"/>
              <a:t> is representation of how needed the route is for a functional society.</a:t>
            </a:r>
          </a:p>
          <a:p>
            <a:r>
              <a:rPr lang="en-US" baseline="0" dirty="0" smtClean="0"/>
              <a:t>Detailed research in numerous countries around the world has indicated that criticality is heavily based on few key factors.</a:t>
            </a:r>
          </a:p>
          <a:p>
            <a:pPr marL="171450" indent="-171450">
              <a:buFont typeface="Arial" panose="020B0604020202020204" pitchFamily="34" charset="0"/>
              <a:buChar char="•"/>
            </a:pPr>
            <a:r>
              <a:rPr lang="en-US" baseline="0" dirty="0" smtClean="0"/>
              <a:t>Economic function</a:t>
            </a:r>
          </a:p>
          <a:p>
            <a:pPr marL="171450" indent="-171450">
              <a:buFont typeface="Arial" panose="020B0604020202020204" pitchFamily="34" charset="0"/>
              <a:buChar char="•"/>
            </a:pPr>
            <a:r>
              <a:rPr lang="en-US" baseline="0" dirty="0" smtClean="0"/>
              <a:t>Social needs</a:t>
            </a:r>
          </a:p>
          <a:p>
            <a:pPr marL="171450" indent="-171450">
              <a:buFont typeface="Arial" panose="020B0604020202020204" pitchFamily="34" charset="0"/>
              <a:buChar char="•"/>
            </a:pPr>
            <a:r>
              <a:rPr lang="en-US" baseline="0" dirty="0" smtClean="0"/>
              <a:t>Infrastructure</a:t>
            </a:r>
          </a:p>
          <a:p>
            <a:pPr marL="171450" indent="-171450">
              <a:buFont typeface="Arial" panose="020B0604020202020204" pitchFamily="34" charset="0"/>
              <a:buChar char="•"/>
            </a:pPr>
            <a:r>
              <a:rPr lang="en-US" baseline="0" dirty="0" smtClean="0"/>
              <a:t>Access</a:t>
            </a:r>
          </a:p>
          <a:p>
            <a:pPr marL="171450" indent="-171450">
              <a:buFont typeface="Arial" panose="020B0604020202020204" pitchFamily="34" charset="0"/>
              <a:buChar char="•"/>
            </a:pPr>
            <a:r>
              <a:rPr lang="en-US" baseline="0" dirty="0" smtClean="0"/>
              <a:t>Usage</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11</a:t>
            </a:fld>
            <a:endParaRPr lang="en-US"/>
          </a:p>
        </p:txBody>
      </p:sp>
    </p:spTree>
    <p:extLst>
      <p:ext uri="{BB962C8B-B14F-4D97-AF65-F5344CB8AC3E}">
        <p14:creationId xmlns:p14="http://schemas.microsoft.com/office/powerpoint/2010/main" val="22921214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st countries have some mechanism for classification of routes.</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12</a:t>
            </a:fld>
            <a:endParaRPr lang="en-US"/>
          </a:p>
        </p:txBody>
      </p:sp>
    </p:spTree>
    <p:extLst>
      <p:ext uri="{BB962C8B-B14F-4D97-AF65-F5344CB8AC3E}">
        <p14:creationId xmlns:p14="http://schemas.microsoft.com/office/powerpoint/2010/main" val="14006263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ep 1 of the framework</a:t>
            </a:r>
            <a:r>
              <a:rPr lang="en-US" baseline="0" dirty="0" smtClean="0"/>
              <a:t> assists in collecting data related to criticality. </a:t>
            </a:r>
          </a:p>
          <a:p>
            <a:r>
              <a:rPr lang="en-US" baseline="0" dirty="0" smtClean="0"/>
              <a:t>The factors which shift the needle most are going to be factors relating to successful function of social systems and economies. </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13</a:t>
            </a:fld>
            <a:endParaRPr lang="en-US"/>
          </a:p>
        </p:txBody>
      </p:sp>
    </p:spTree>
    <p:extLst>
      <p:ext uri="{BB962C8B-B14F-4D97-AF65-F5344CB8AC3E}">
        <p14:creationId xmlns:p14="http://schemas.microsoft.com/office/powerpoint/2010/main" val="12556368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oadways are designed to be safe a</a:t>
            </a:r>
            <a:r>
              <a:rPr lang="en-US" baseline="0" dirty="0" smtClean="0"/>
              <a:t> ‘reasonable’ amount of time. This is typically up to the historic 100 or 50 year event threshold. </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14</a:t>
            </a:fld>
            <a:endParaRPr lang="en-US"/>
          </a:p>
        </p:txBody>
      </p:sp>
    </p:spTree>
    <p:extLst>
      <p:ext uri="{BB962C8B-B14F-4D97-AF65-F5344CB8AC3E}">
        <p14:creationId xmlns:p14="http://schemas.microsoft.com/office/powerpoint/2010/main" val="21589819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s acceptable needs to shift as historic 100 year events</a:t>
            </a:r>
            <a:r>
              <a:rPr lang="en-US" baseline="0" dirty="0" smtClean="0"/>
              <a:t> are recently occurring each decade.</a:t>
            </a:r>
          </a:p>
          <a:p>
            <a:r>
              <a:rPr lang="en-US" baseline="0" dirty="0" smtClean="0"/>
              <a:t>This concept of revised design thresholds is taken from work performed by the World Bank around water utilities but applies equally to roadway infrastructure standards. </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15</a:t>
            </a:fld>
            <a:endParaRPr lang="en-US"/>
          </a:p>
        </p:txBody>
      </p:sp>
    </p:spTree>
    <p:extLst>
      <p:ext uri="{BB962C8B-B14F-4D97-AF65-F5344CB8AC3E}">
        <p14:creationId xmlns:p14="http://schemas.microsoft.com/office/powerpoint/2010/main" val="4511992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key design and construction</a:t>
            </a:r>
            <a:r>
              <a:rPr lang="en-US" baseline="0" dirty="0" smtClean="0"/>
              <a:t> factors </a:t>
            </a:r>
            <a:r>
              <a:rPr lang="en-US" dirty="0" smtClean="0"/>
              <a:t>which effect the vulnerability of roadways are included</a:t>
            </a:r>
            <a:r>
              <a:rPr lang="en-US" baseline="0" dirty="0" smtClean="0"/>
              <a:t> in the framework tool.</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16</a:t>
            </a:fld>
            <a:endParaRPr lang="en-US"/>
          </a:p>
        </p:txBody>
      </p:sp>
    </p:spTree>
    <p:extLst>
      <p:ext uri="{BB962C8B-B14F-4D97-AF65-F5344CB8AC3E}">
        <p14:creationId xmlns:p14="http://schemas.microsoft.com/office/powerpoint/2010/main" val="23300190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mate risk</a:t>
            </a:r>
            <a:r>
              <a:rPr lang="en-US" baseline="0" dirty="0" smtClean="0"/>
              <a:t> is one of the many risks that effect PBC contracts. </a:t>
            </a:r>
          </a:p>
          <a:p>
            <a:r>
              <a:rPr lang="en-US" baseline="0" dirty="0" smtClean="0"/>
              <a:t>Traditional Project Risks are slightly more manageable using contracting mechanisms.</a:t>
            </a:r>
          </a:p>
          <a:p>
            <a:r>
              <a:rPr lang="en-US" baseline="0" dirty="0" smtClean="0"/>
              <a:t>Some risks are outside the scope or control of most PBCs.</a:t>
            </a:r>
          </a:p>
          <a:p>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17</a:t>
            </a:fld>
            <a:endParaRPr lang="en-US"/>
          </a:p>
        </p:txBody>
      </p:sp>
    </p:spTree>
    <p:extLst>
      <p:ext uri="{BB962C8B-B14F-4D97-AF65-F5344CB8AC3E}">
        <p14:creationId xmlns:p14="http://schemas.microsoft.com/office/powerpoint/2010/main" val="27195608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0" dirty="0" smtClean="0"/>
              <a:t>Climate</a:t>
            </a:r>
            <a:r>
              <a:rPr lang="en-GB" b="0" baseline="0" dirty="0" smtClean="0"/>
              <a:t> threat is a moving target but still more predictable using data than other risks. </a:t>
            </a:r>
          </a:p>
          <a:p>
            <a:pPr marL="0" indent="0">
              <a:buNone/>
            </a:pPr>
            <a:r>
              <a:rPr lang="en-GB" b="0" baseline="0" dirty="0" smtClean="0"/>
              <a:t>Defining variables helps in identifying </a:t>
            </a:r>
          </a:p>
          <a:p>
            <a:pPr marL="0" indent="0">
              <a:buNone/>
            </a:pPr>
            <a:r>
              <a:rPr lang="en-GB" b="0" dirty="0" smtClean="0"/>
              <a:t>Variables include not only what Representative</a:t>
            </a:r>
            <a:r>
              <a:rPr lang="en-GB" b="0" baseline="0" dirty="0" smtClean="0"/>
              <a:t> Concentration Pathway to use but also to what point in time.</a:t>
            </a:r>
          </a:p>
          <a:p>
            <a:pPr marL="0" indent="0">
              <a:buNone/>
            </a:pPr>
            <a:endParaRPr lang="en-GB" b="0" baseline="0" dirty="0" smtClean="0"/>
          </a:p>
          <a:p>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18</a:t>
            </a:fld>
            <a:endParaRPr lang="en-US"/>
          </a:p>
        </p:txBody>
      </p:sp>
    </p:spTree>
    <p:extLst>
      <p:ext uri="{BB962C8B-B14F-4D97-AF65-F5344CB8AC3E}">
        <p14:creationId xmlns:p14="http://schemas.microsoft.com/office/powerpoint/2010/main" val="40998971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creased precipitation</a:t>
            </a:r>
            <a:r>
              <a:rPr lang="en-US" baseline="0" dirty="0" smtClean="0"/>
              <a:t> associated with s</a:t>
            </a:r>
            <a:r>
              <a:rPr lang="en-US" dirty="0" smtClean="0"/>
              <a:t>hifted RCPs can be projected on IDF curves similar to the traditional</a:t>
            </a:r>
            <a:r>
              <a:rPr lang="en-US" baseline="0" dirty="0" smtClean="0"/>
              <a:t> model. This means the data can easily be used in design in the same manner as it is today. </a:t>
            </a:r>
          </a:p>
          <a:p>
            <a:endParaRPr lang="en-US" baseline="0" dirty="0" smtClean="0"/>
          </a:p>
          <a:p>
            <a:pPr marL="0" indent="0">
              <a:buNone/>
            </a:pPr>
            <a:r>
              <a:rPr lang="en-GB" b="1" dirty="0" smtClean="0"/>
              <a:t>Future Intensity-Duration-Frequency (FIDF) Curves</a:t>
            </a:r>
            <a:endParaRPr lang="en-US" dirty="0" smtClean="0"/>
          </a:p>
          <a:p>
            <a:r>
              <a:rPr lang="en-US" dirty="0" err="1" smtClean="0"/>
              <a:t>WeatherShift</a:t>
            </a:r>
            <a:r>
              <a:rPr lang="en-US" dirty="0" smtClean="0"/>
              <a:t> uses 21 downscaled global climate change models (GCM)</a:t>
            </a:r>
          </a:p>
          <a:p>
            <a:r>
              <a:rPr lang="en-US" dirty="0" smtClean="0"/>
              <a:t>Global climate change models from the Intergovernmental Panel on Climate Change (IPCC)’s Fifth Assessment Report (AR5)</a:t>
            </a:r>
          </a:p>
          <a:p>
            <a:r>
              <a:rPr lang="en-US" dirty="0" smtClean="0"/>
              <a:t>Representative concentration pathways (RCPs): 8.5 &amp; 4.5</a:t>
            </a:r>
          </a:p>
          <a:p>
            <a:endParaRPr lang="en-US" dirty="0" smtClean="0"/>
          </a:p>
          <a:p>
            <a:pPr marL="0" indent="0">
              <a:buNone/>
            </a:pPr>
            <a:r>
              <a:rPr lang="en-GB" b="1" dirty="0" smtClean="0"/>
              <a:t>Availability Criteria</a:t>
            </a:r>
            <a:r>
              <a:rPr lang="en-GB" dirty="0" smtClean="0"/>
              <a:t> </a:t>
            </a:r>
          </a:p>
          <a:p>
            <a:pPr lvl="0"/>
            <a:r>
              <a:rPr lang="en-GB" dirty="0" smtClean="0"/>
              <a:t>Impassable days per year </a:t>
            </a:r>
          </a:p>
          <a:p>
            <a:pPr lvl="0"/>
            <a:r>
              <a:rPr lang="en-GB" dirty="0" smtClean="0"/>
              <a:t>Reduced Service days per year</a:t>
            </a:r>
          </a:p>
          <a:p>
            <a:pPr lvl="0"/>
            <a:r>
              <a:rPr lang="en-GB" dirty="0" smtClean="0"/>
              <a:t>Accidents per year</a:t>
            </a:r>
          </a:p>
          <a:p>
            <a:pPr lvl="0"/>
            <a:r>
              <a:rPr lang="en-GB" dirty="0" smtClean="0"/>
              <a:t>Cracking / Potholes per square meter</a:t>
            </a:r>
          </a:p>
          <a:p>
            <a:pPr lvl="0"/>
            <a:endParaRPr lang="en-GB" dirty="0" smtClean="0"/>
          </a:p>
          <a:p>
            <a:pPr marL="0" indent="0">
              <a:buNone/>
            </a:pPr>
            <a:r>
              <a:rPr lang="en-GB" b="1" dirty="0" smtClean="0"/>
              <a:t>Climate Impacts</a:t>
            </a:r>
          </a:p>
          <a:p>
            <a:r>
              <a:rPr lang="en-GB" dirty="0" smtClean="0"/>
              <a:t>Inundated roadway – flood depth</a:t>
            </a:r>
          </a:p>
          <a:p>
            <a:r>
              <a:rPr lang="en-GB" dirty="0" smtClean="0"/>
              <a:t>Inundated roadway – flood duration</a:t>
            </a:r>
          </a:p>
          <a:p>
            <a:r>
              <a:rPr lang="en-GB" b="1" dirty="0" smtClean="0">
                <a:solidFill>
                  <a:schemeClr val="accent2"/>
                </a:solidFill>
              </a:rPr>
              <a:t>Inundated roadway – rainfall intensity</a:t>
            </a:r>
          </a:p>
          <a:p>
            <a:r>
              <a:rPr lang="en-GB" dirty="0" smtClean="0"/>
              <a:t>Visibility impaired – rainfall intensity</a:t>
            </a:r>
          </a:p>
          <a:p>
            <a:r>
              <a:rPr lang="en-GB" dirty="0" smtClean="0"/>
              <a:t>Ponding on roadway – rainfall intensity</a:t>
            </a:r>
          </a:p>
          <a:p>
            <a:r>
              <a:rPr lang="en-GB" dirty="0" smtClean="0"/>
              <a:t>Ice on roadway – freezing temperatures</a:t>
            </a:r>
          </a:p>
          <a:p>
            <a:r>
              <a:rPr lang="en-GB" dirty="0" smtClean="0"/>
              <a:t>Snow on roadway – winter storms</a:t>
            </a:r>
          </a:p>
          <a:p>
            <a:pPr marL="0" indent="0">
              <a:buNone/>
            </a:pPr>
            <a:endParaRPr lang="en-GB" b="1" dirty="0" smtClean="0"/>
          </a:p>
          <a:p>
            <a:pPr marL="0" indent="0">
              <a:buNone/>
            </a:pPr>
            <a:r>
              <a:rPr lang="en-US" b="1" dirty="0" smtClean="0"/>
              <a:t>Identify Correlations with Design Specs</a:t>
            </a:r>
          </a:p>
          <a:p>
            <a:r>
              <a:rPr lang="en-GB" dirty="0" smtClean="0"/>
              <a:t>Intensity vs. Runoff Rate</a:t>
            </a:r>
          </a:p>
          <a:p>
            <a:r>
              <a:rPr lang="en-GB" dirty="0" smtClean="0"/>
              <a:t>Minimum temp vs. Freeze Index</a:t>
            </a:r>
          </a:p>
          <a:p>
            <a:r>
              <a:rPr lang="en-GB" dirty="0" smtClean="0"/>
              <a:t>Maximum temp vs. Heat Index</a:t>
            </a:r>
            <a:endParaRPr lang="en-US" dirty="0" smtClean="0"/>
          </a:p>
        </p:txBody>
      </p:sp>
      <p:sp>
        <p:nvSpPr>
          <p:cNvPr id="4" name="Slide Number Placeholder 3"/>
          <p:cNvSpPr>
            <a:spLocks noGrp="1"/>
          </p:cNvSpPr>
          <p:nvPr>
            <p:ph type="sldNum" sz="quarter" idx="10"/>
          </p:nvPr>
        </p:nvSpPr>
        <p:spPr/>
        <p:txBody>
          <a:bodyPr/>
          <a:lstStyle/>
          <a:p>
            <a:fld id="{E27CE1C5-261D-4EF9-AF26-21DD3854F780}" type="slidenum">
              <a:rPr lang="en-US" smtClean="0"/>
              <a:t>19</a:t>
            </a:fld>
            <a:endParaRPr lang="en-US"/>
          </a:p>
        </p:txBody>
      </p:sp>
    </p:spTree>
    <p:extLst>
      <p:ext uri="{BB962C8B-B14F-4D97-AF65-F5344CB8AC3E}">
        <p14:creationId xmlns:p14="http://schemas.microsoft.com/office/powerpoint/2010/main" val="3480004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Climate change is</a:t>
            </a:r>
            <a:r>
              <a:rPr lang="en-US" baseline="0" dirty="0" smtClean="0"/>
              <a:t> becoming an immediate problem in the transportation industry due to reduced reliability of routes (land, water and air), increased volume of repairs and diminished economic benefit for regions.</a:t>
            </a:r>
          </a:p>
          <a:p>
            <a:r>
              <a:rPr lang="en-US" dirty="0" smtClean="0"/>
              <a:t>- Unfortunately,</a:t>
            </a:r>
            <a:r>
              <a:rPr lang="en-US" baseline="0" dirty="0" smtClean="0"/>
              <a:t> it is hard to calculate the economic impact of these changes due to the many unknowns associated with the future climate. The only thing that is certain is that climate is already increasing risk exposure today and this will intensify over time. The various possible scenarios will be discussed later in this presentation.</a:t>
            </a:r>
          </a:p>
          <a:p>
            <a:r>
              <a:rPr lang="en-US" baseline="0" dirty="0" smtClean="0"/>
              <a:t>- Until these risks are mitigated, through adaptation or some other means, the benefit of investment in transportation assets will be dampened. In order to protect the global interest in driving economic development, we need to take cost action to safeguard our transportation assets.</a:t>
            </a:r>
          </a:p>
          <a:p>
            <a:endParaRPr lang="en-US" dirty="0" smtClean="0"/>
          </a:p>
          <a:p>
            <a:r>
              <a:rPr lang="en-US" dirty="0" smtClean="0"/>
              <a:t>-</a:t>
            </a:r>
            <a:r>
              <a:rPr lang="en-US" baseline="0" dirty="0" smtClean="0"/>
              <a:t> To address these issues within PBCs specifically, we have focused  on leveraging risk ownership throughout the project lifecycle.</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a:t>
            </a:fld>
            <a:endParaRPr lang="en-US"/>
          </a:p>
        </p:txBody>
      </p:sp>
    </p:spTree>
    <p:extLst>
      <p:ext uri="{BB962C8B-B14F-4D97-AF65-F5344CB8AC3E}">
        <p14:creationId xmlns:p14="http://schemas.microsoft.com/office/powerpoint/2010/main" val="9705093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limate threat is always based on a number of inputs and owner appetite</a:t>
            </a:r>
          </a:p>
          <a:p>
            <a:r>
              <a:rPr lang="en-US" dirty="0" smtClean="0"/>
              <a:t>In the case of this tool, we’ve chosen to use vulnerability to influence the planning horizon.</a:t>
            </a:r>
          </a:p>
          <a:p>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0</a:t>
            </a:fld>
            <a:endParaRPr lang="en-US"/>
          </a:p>
        </p:txBody>
      </p:sp>
    </p:spTree>
    <p:extLst>
      <p:ext uri="{BB962C8B-B14F-4D97-AF65-F5344CB8AC3E}">
        <p14:creationId xmlns:p14="http://schemas.microsoft.com/office/powerpoint/2010/main" val="26029081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redit Rating Agencies require borrowers to estimate risk over the term of a loan. This has traditionally included risk</a:t>
            </a:r>
            <a:r>
              <a:rPr lang="en-US" baseline="0" dirty="0" smtClean="0"/>
              <a:t> related to design, permitting, </a:t>
            </a:r>
            <a:r>
              <a:rPr lang="en-US" dirty="0" smtClean="0"/>
              <a:t>construction,</a:t>
            </a:r>
            <a:r>
              <a:rPr lang="en-US" baseline="0" dirty="0" smtClean="0"/>
              <a:t> schedule and revenue. They are now asking borrowers to </a:t>
            </a:r>
            <a:r>
              <a:rPr lang="en-US" dirty="0" smtClean="0"/>
              <a:t>consider climate risk over</a:t>
            </a:r>
            <a:r>
              <a:rPr lang="en-US" baseline="0" dirty="0" smtClean="0"/>
              <a:t> the life of the project as well.</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2</a:t>
            </a:fld>
            <a:endParaRPr lang="en-US"/>
          </a:p>
        </p:txBody>
      </p:sp>
    </p:spTree>
    <p:extLst>
      <p:ext uri="{BB962C8B-B14F-4D97-AF65-F5344CB8AC3E}">
        <p14:creationId xmlns:p14="http://schemas.microsoft.com/office/powerpoint/2010/main" val="22608043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amage level and functionality are</a:t>
            </a:r>
            <a:r>
              <a:rPr lang="en-US" baseline="0" dirty="0" smtClean="0"/>
              <a:t> both ways we measure performance.</a:t>
            </a:r>
          </a:p>
          <a:p>
            <a:r>
              <a:rPr lang="en-US" baseline="0" dirty="0" smtClean="0"/>
              <a:t>The same indicators are used to rate performance under climate threat.</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3</a:t>
            </a:fld>
            <a:endParaRPr lang="en-US"/>
          </a:p>
        </p:txBody>
      </p:sp>
    </p:spTree>
    <p:extLst>
      <p:ext uri="{BB962C8B-B14F-4D97-AF65-F5344CB8AC3E}">
        <p14:creationId xmlns:p14="http://schemas.microsoft.com/office/powerpoint/2010/main" val="5798152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eductions</a:t>
            </a:r>
            <a:r>
              <a:rPr lang="en-US" baseline="0" dirty="0" smtClean="0"/>
              <a:t> and cost overruns effect long term viability of projects.</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4</a:t>
            </a:fld>
            <a:endParaRPr lang="en-US"/>
          </a:p>
        </p:txBody>
      </p:sp>
    </p:spTree>
    <p:extLst>
      <p:ext uri="{BB962C8B-B14F-4D97-AF65-F5344CB8AC3E}">
        <p14:creationId xmlns:p14="http://schemas.microsoft.com/office/powerpoint/2010/main" val="19197350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erating Budgets are hit from both sides with increased O&amp;M costs and losses due to KPI failures.</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5</a:t>
            </a:fld>
            <a:endParaRPr lang="en-US"/>
          </a:p>
        </p:txBody>
      </p:sp>
    </p:spTree>
    <p:extLst>
      <p:ext uri="{BB962C8B-B14F-4D97-AF65-F5344CB8AC3E}">
        <p14:creationId xmlns:p14="http://schemas.microsoft.com/office/powerpoint/2010/main" val="31190963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se criticality</a:t>
            </a:r>
            <a:r>
              <a:rPr lang="en-US" baseline="0" dirty="0" smtClean="0"/>
              <a:t> and vulnerability data to determine risk exposure</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6</a:t>
            </a:fld>
            <a:endParaRPr lang="en-US"/>
          </a:p>
        </p:txBody>
      </p:sp>
    </p:spTree>
    <p:extLst>
      <p:ext uri="{BB962C8B-B14F-4D97-AF65-F5344CB8AC3E}">
        <p14:creationId xmlns:p14="http://schemas.microsoft.com/office/powerpoint/2010/main" val="22685766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sequences are a product of risk probability and O&amp;M costs</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7</a:t>
            </a:fld>
            <a:endParaRPr lang="en-US"/>
          </a:p>
        </p:txBody>
      </p:sp>
    </p:spTree>
    <p:extLst>
      <p:ext uri="{BB962C8B-B14F-4D97-AF65-F5344CB8AC3E}">
        <p14:creationId xmlns:p14="http://schemas.microsoft.com/office/powerpoint/2010/main" val="6134558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smtClean="0"/>
              <a:t>Understand reasonable “Transfer” of  Risk Ownership</a:t>
            </a:r>
          </a:p>
          <a:p>
            <a:pPr marL="0" indent="0">
              <a:buNone/>
            </a:pPr>
            <a:endParaRPr lang="en-US" b="1" dirty="0" smtClean="0"/>
          </a:p>
          <a:p>
            <a:pPr marL="342900" indent="-342900">
              <a:buFont typeface="+mj-lt"/>
              <a:buAutoNum type="arabicPeriod"/>
            </a:pPr>
            <a:r>
              <a:rPr lang="en-US" b="1" dirty="0" smtClean="0"/>
              <a:t>Design and Construction </a:t>
            </a:r>
          </a:p>
          <a:p>
            <a:pPr marL="342900" indent="-342900">
              <a:buFont typeface="+mj-lt"/>
              <a:buAutoNum type="arabicPeriod"/>
            </a:pPr>
            <a:endParaRPr lang="en-US" b="1" dirty="0" smtClean="0"/>
          </a:p>
          <a:p>
            <a:pPr marL="0" lvl="1" indent="0">
              <a:buNone/>
            </a:pPr>
            <a:r>
              <a:rPr lang="en-US" dirty="0" smtClean="0"/>
              <a:t>Determining how much risk the contractor should carry and over what time horizon this risk should be assigned. Are Warranty Periods appropriate for the PBC structure?</a:t>
            </a:r>
          </a:p>
          <a:p>
            <a:pPr lvl="1"/>
            <a:endParaRPr lang="en-US" sz="1400" dirty="0" smtClean="0"/>
          </a:p>
          <a:p>
            <a:pPr marL="0" lvl="1" indent="0">
              <a:buNone/>
            </a:pPr>
            <a:r>
              <a:rPr lang="en-US" i="1" dirty="0" smtClean="0"/>
              <a:t>Example: 10 year warranty of tunnel waterproofing system</a:t>
            </a:r>
          </a:p>
          <a:p>
            <a:pPr marL="0" indent="0">
              <a:buNone/>
            </a:pPr>
            <a:endParaRPr lang="en-US" b="1" dirty="0" smtClean="0"/>
          </a:p>
          <a:p>
            <a:pPr lvl="0">
              <a:buFont typeface="+mj-lt"/>
              <a:buAutoNum type="arabicPeriod" startAt="2"/>
            </a:pPr>
            <a:r>
              <a:rPr lang="en-US" b="1" dirty="0" smtClean="0"/>
              <a:t>Operations and Maintenance </a:t>
            </a:r>
          </a:p>
          <a:p>
            <a:pPr marL="0" lvl="1" indent="0">
              <a:buNone/>
            </a:pPr>
            <a:endParaRPr lang="en-US" b="1" dirty="0" smtClean="0"/>
          </a:p>
          <a:p>
            <a:pPr marL="0" lvl="1" indent="0">
              <a:buNone/>
            </a:pPr>
            <a:r>
              <a:rPr lang="en-US" dirty="0" smtClean="0"/>
              <a:t>Determining how to best incorporating climate risk ownership into the PBC structure.</a:t>
            </a:r>
            <a:r>
              <a:rPr lang="en-US" b="1" dirty="0" smtClean="0"/>
              <a:t> </a:t>
            </a:r>
            <a:r>
              <a:rPr lang="en-US" dirty="0" smtClean="0"/>
              <a:t>How to effectively measure climate performance through KPIs and how to best balance risk assignment and ownership.</a:t>
            </a:r>
            <a:endParaRPr lang="en-US" b="1" dirty="0" smtClean="0"/>
          </a:p>
          <a:p>
            <a:pPr marL="0" indent="0">
              <a:buNone/>
            </a:pPr>
            <a:endParaRPr lang="en-US" dirty="0" smtClean="0"/>
          </a:p>
          <a:p>
            <a:pPr marL="0" indent="0">
              <a:buNone/>
            </a:pPr>
            <a:r>
              <a:rPr lang="en-US" i="1" dirty="0" smtClean="0"/>
              <a:t>Example: Tunnel systems is free of water at all times</a:t>
            </a:r>
          </a:p>
          <a:p>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8</a:t>
            </a:fld>
            <a:endParaRPr lang="en-US"/>
          </a:p>
        </p:txBody>
      </p:sp>
    </p:spTree>
    <p:extLst>
      <p:ext uri="{BB962C8B-B14F-4D97-AF65-F5344CB8AC3E}">
        <p14:creationId xmlns:p14="http://schemas.microsoft.com/office/powerpoint/2010/main" val="42775628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isk</a:t>
            </a:r>
            <a:r>
              <a:rPr lang="en-US" baseline="0" dirty="0" smtClean="0"/>
              <a:t> mitigation is driven by stakeholder objectives</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29</a:t>
            </a:fld>
            <a:endParaRPr lang="en-US"/>
          </a:p>
        </p:txBody>
      </p:sp>
    </p:spTree>
    <p:extLst>
      <p:ext uri="{BB962C8B-B14F-4D97-AF65-F5344CB8AC3E}">
        <p14:creationId xmlns:p14="http://schemas.microsoft.com/office/powerpoint/2010/main" val="26129144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n turn drives KPIs</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30</a:t>
            </a:fld>
            <a:endParaRPr lang="en-US"/>
          </a:p>
        </p:txBody>
      </p:sp>
    </p:spTree>
    <p:extLst>
      <p:ext uri="{BB962C8B-B14F-4D97-AF65-F5344CB8AC3E}">
        <p14:creationId xmlns:p14="http://schemas.microsoft.com/office/powerpoint/2010/main" val="17414940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lance of risk between under</a:t>
            </a:r>
            <a:r>
              <a:rPr lang="en-US" baseline="0" dirty="0" smtClean="0"/>
              <a:t> and over allocation to contractor</a:t>
            </a:r>
          </a:p>
          <a:p>
            <a:r>
              <a:rPr lang="en-US" dirty="0" smtClean="0"/>
              <a:t>Two main deliverables</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3</a:t>
            </a:fld>
            <a:endParaRPr lang="en-US"/>
          </a:p>
        </p:txBody>
      </p:sp>
    </p:spTree>
    <p:extLst>
      <p:ext uri="{BB962C8B-B14F-4D97-AF65-F5344CB8AC3E}">
        <p14:creationId xmlns:p14="http://schemas.microsoft.com/office/powerpoint/2010/main" val="35144430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31</a:t>
            </a:fld>
            <a:endParaRPr lang="en-US"/>
          </a:p>
        </p:txBody>
      </p:sp>
    </p:spTree>
    <p:extLst>
      <p:ext uri="{BB962C8B-B14F-4D97-AF65-F5344CB8AC3E}">
        <p14:creationId xmlns:p14="http://schemas.microsoft.com/office/powerpoint/2010/main" val="20623952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dressing unknown level of change by adjusting KPIs every ten years</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34</a:t>
            </a:fld>
            <a:endParaRPr lang="en-US"/>
          </a:p>
        </p:txBody>
      </p:sp>
    </p:spTree>
    <p:extLst>
      <p:ext uri="{BB962C8B-B14F-4D97-AF65-F5344CB8AC3E}">
        <p14:creationId xmlns:p14="http://schemas.microsoft.com/office/powerpoint/2010/main" val="32286650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200" kern="1200" dirty="0">
                <a:solidFill>
                  <a:schemeClr val="tx1">
                    <a:lumMod val="65000"/>
                    <a:lumOff val="35000"/>
                  </a:schemeClr>
                </a:solidFill>
                <a:latin typeface="+mn-lt"/>
                <a:ea typeface="+mn-ea"/>
                <a:cs typeface="Arial" panose="020B0604020202020204" pitchFamily="34" charset="0"/>
              </a:rPr>
              <a:t>$1 invested in building resilience and reducing exposure saves $4 in disaster response and recovery</a:t>
            </a:r>
          </a:p>
          <a:p>
            <a:pPr marL="285750" indent="-285750">
              <a:buFont typeface="Arial" panose="020B0604020202020204" pitchFamily="34" charset="0"/>
              <a:buChar char="•"/>
            </a:pPr>
            <a:endParaRPr lang="en-US" sz="1200" kern="1200" dirty="0">
              <a:solidFill>
                <a:schemeClr val="tx1">
                  <a:lumMod val="65000"/>
                  <a:lumOff val="35000"/>
                </a:schemeClr>
              </a:solidFill>
              <a:latin typeface="+mn-lt"/>
              <a:ea typeface="+mn-ea"/>
              <a:cs typeface="Arial" panose="020B0604020202020204" pitchFamily="34" charset="0"/>
            </a:endParaRPr>
          </a:p>
          <a:p>
            <a:pPr marL="285750" indent="-285750">
              <a:buFont typeface="Arial" panose="020B0604020202020204" pitchFamily="34" charset="0"/>
              <a:buChar char="•"/>
            </a:pPr>
            <a:r>
              <a:rPr lang="en-US" sz="1200" kern="1200" dirty="0">
                <a:solidFill>
                  <a:schemeClr val="tx1">
                    <a:lumMod val="65000"/>
                    <a:lumOff val="35000"/>
                  </a:schemeClr>
                </a:solidFill>
                <a:latin typeface="+mn-lt"/>
                <a:ea typeface="+mn-ea"/>
                <a:cs typeface="Arial" panose="020B0604020202020204" pitchFamily="34" charset="0"/>
              </a:rPr>
              <a:t>$1 invested in resilience saves $4-7 in response and $5-10 in avoided economic losses</a:t>
            </a:r>
          </a:p>
          <a:p>
            <a:pPr marL="285750" indent="-285750">
              <a:buFont typeface="Arial" panose="020B0604020202020204" pitchFamily="34" charset="0"/>
              <a:buChar char="•"/>
            </a:pPr>
            <a:endParaRPr lang="en-US" sz="1200" kern="1200" dirty="0">
              <a:solidFill>
                <a:schemeClr val="tx1">
                  <a:lumMod val="65000"/>
                  <a:lumOff val="35000"/>
                </a:schemeClr>
              </a:solidFill>
              <a:latin typeface="+mn-lt"/>
              <a:ea typeface="+mn-ea"/>
              <a:cs typeface="Arial" panose="020B0604020202020204" pitchFamily="34" charset="0"/>
            </a:endParaRPr>
          </a:p>
          <a:p>
            <a:pPr marL="285750" indent="-285750">
              <a:buFont typeface="Arial" panose="020B0604020202020204" pitchFamily="34" charset="0"/>
              <a:buChar char="•"/>
            </a:pPr>
            <a:r>
              <a:rPr lang="en-US" sz="1200" kern="1200" dirty="0">
                <a:solidFill>
                  <a:schemeClr val="tx1">
                    <a:lumMod val="65000"/>
                    <a:lumOff val="35000"/>
                  </a:schemeClr>
                </a:solidFill>
                <a:latin typeface="+mn-lt"/>
                <a:ea typeface="+mn-ea"/>
                <a:cs typeface="Arial" panose="020B0604020202020204" pitchFamily="34" charset="0"/>
              </a:rPr>
              <a:t>$1 on disaster risk reduction saves $7 in response activities</a:t>
            </a:r>
          </a:p>
          <a:p>
            <a:pPr marL="285750" indent="-285750">
              <a:buFont typeface="Arial" panose="020B0604020202020204" pitchFamily="34" charset="0"/>
              <a:buChar char="•"/>
            </a:pPr>
            <a:endParaRPr lang="en-US" sz="1200" kern="1200" dirty="0">
              <a:solidFill>
                <a:schemeClr val="tx1">
                  <a:lumMod val="65000"/>
                  <a:lumOff val="35000"/>
                </a:schemeClr>
              </a:solidFill>
              <a:latin typeface="+mn-lt"/>
              <a:ea typeface="+mn-ea"/>
              <a:cs typeface="Arial" panose="020B0604020202020204" pitchFamily="34" charset="0"/>
            </a:endParaRPr>
          </a:p>
          <a:p>
            <a:pPr marL="285750" indent="-285750">
              <a:buFont typeface="Arial" panose="020B0604020202020204" pitchFamily="34" charset="0"/>
              <a:buChar char="•"/>
            </a:pPr>
            <a:r>
              <a:rPr lang="en-US" sz="1200" kern="1200" dirty="0">
                <a:solidFill>
                  <a:schemeClr val="tx1">
                    <a:lumMod val="65000"/>
                    <a:lumOff val="35000"/>
                  </a:schemeClr>
                </a:solidFill>
                <a:latin typeface="+mn-lt"/>
                <a:ea typeface="+mn-ea"/>
                <a:cs typeface="Arial" panose="020B0604020202020204" pitchFamily="34" charset="0"/>
              </a:rPr>
              <a:t>$1 on disaster preparedness saves $7-10 on response</a:t>
            </a:r>
          </a:p>
          <a:p>
            <a:pPr marL="285750" indent="-285750">
              <a:buFont typeface="Arial" panose="020B0604020202020204" pitchFamily="34" charset="0"/>
              <a:buChar char="•"/>
            </a:pPr>
            <a:endParaRPr lang="en-US" sz="1200" kern="1200" dirty="0">
              <a:solidFill>
                <a:schemeClr val="tx1">
                  <a:lumMod val="65000"/>
                  <a:lumOff val="35000"/>
                </a:schemeClr>
              </a:solidFill>
              <a:latin typeface="+mn-lt"/>
              <a:ea typeface="+mn-ea"/>
              <a:cs typeface="Arial" panose="020B0604020202020204" pitchFamily="34" charset="0"/>
            </a:endParaRPr>
          </a:p>
          <a:p>
            <a:pPr marL="285750" indent="-285750">
              <a:buFont typeface="Arial" panose="020B0604020202020204" pitchFamily="34" charset="0"/>
              <a:buChar char="•"/>
            </a:pPr>
            <a:r>
              <a:rPr lang="en-US" sz="1200" kern="1200" dirty="0">
                <a:solidFill>
                  <a:schemeClr val="tx1">
                    <a:lumMod val="65000"/>
                    <a:lumOff val="35000"/>
                  </a:schemeClr>
                </a:solidFill>
                <a:latin typeface="+mn-lt"/>
                <a:ea typeface="+mn-ea"/>
                <a:cs typeface="Arial" panose="020B0604020202020204" pitchFamily="34" charset="0"/>
              </a:rPr>
              <a:t>$1 in preparedness is worth $15 in disaster relief efforts</a:t>
            </a:r>
          </a:p>
        </p:txBody>
      </p:sp>
      <p:sp>
        <p:nvSpPr>
          <p:cNvPr id="4" name="Slide Number Placeholder 3"/>
          <p:cNvSpPr>
            <a:spLocks noGrp="1"/>
          </p:cNvSpPr>
          <p:nvPr>
            <p:ph type="sldNum" sz="quarter" idx="10"/>
          </p:nvPr>
        </p:nvSpPr>
        <p:spPr/>
        <p:txBody>
          <a:bodyPr/>
          <a:lstStyle/>
          <a:p>
            <a:fld id="{889D35B8-1273-420D-9971-A38EDE986B39}" type="slidenum">
              <a:rPr lang="en-US" smtClean="0"/>
              <a:t>37</a:t>
            </a:fld>
            <a:endParaRPr lang="en-US"/>
          </a:p>
        </p:txBody>
      </p:sp>
    </p:spTree>
    <p:extLst>
      <p:ext uri="{BB962C8B-B14F-4D97-AF65-F5344CB8AC3E}">
        <p14:creationId xmlns:p14="http://schemas.microsoft.com/office/powerpoint/2010/main" val="39472473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40</a:t>
            </a:fld>
            <a:endParaRPr lang="en-US"/>
          </a:p>
        </p:txBody>
      </p:sp>
    </p:spTree>
    <p:extLst>
      <p:ext uri="{BB962C8B-B14F-4D97-AF65-F5344CB8AC3E}">
        <p14:creationId xmlns:p14="http://schemas.microsoft.com/office/powerpoint/2010/main" val="1528764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llection of perspectives</a:t>
            </a:r>
            <a:r>
              <a:rPr lang="en-US" baseline="0" dirty="0" smtClean="0"/>
              <a:t> from stakeholders around the globe. </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4</a:t>
            </a:fld>
            <a:endParaRPr lang="en-US"/>
          </a:p>
        </p:txBody>
      </p:sp>
    </p:spTree>
    <p:extLst>
      <p:ext uri="{BB962C8B-B14F-4D97-AF65-F5344CB8AC3E}">
        <p14:creationId xmlns:p14="http://schemas.microsoft.com/office/powerpoint/2010/main" val="1553582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a:buNone/>
            </a:pPr>
            <a:r>
              <a:rPr lang="en-US" b="0" dirty="0" smtClean="0"/>
              <a:t>5 Main</a:t>
            </a:r>
            <a:r>
              <a:rPr lang="en-US" b="0" baseline="0" dirty="0" smtClean="0"/>
              <a:t> players in PBCs</a:t>
            </a:r>
          </a:p>
          <a:p>
            <a:pPr marL="0" lvl="1" indent="0">
              <a:buNone/>
            </a:pPr>
            <a:r>
              <a:rPr lang="en-US" b="0" baseline="0" dirty="0" smtClean="0"/>
              <a:t>Each is effected by different threats.</a:t>
            </a:r>
          </a:p>
          <a:p>
            <a:pPr marL="0" lvl="1" indent="0">
              <a:buNone/>
            </a:pPr>
            <a:endParaRPr lang="en-US" b="1" baseline="0" dirty="0" smtClean="0"/>
          </a:p>
          <a:p>
            <a:pPr marL="0" lvl="1" indent="0">
              <a:buNone/>
            </a:pPr>
            <a:r>
              <a:rPr lang="en-US" b="1" dirty="0" smtClean="0"/>
              <a:t>Procurement</a:t>
            </a:r>
          </a:p>
          <a:p>
            <a:pPr marL="0" lvl="1" indent="0">
              <a:buNone/>
            </a:pPr>
            <a:r>
              <a:rPr lang="en-US" dirty="0" smtClean="0">
                <a:latin typeface="Calibri" panose="020F0502020204030204" pitchFamily="34" charset="0"/>
                <a:cs typeface="Calibri" panose="020F0502020204030204" pitchFamily="34" charset="0"/>
              </a:rPr>
              <a:t>It was recognized that the ADB procurement process does not easily provide a vehicle for climate change adaption requirements.</a:t>
            </a:r>
          </a:p>
          <a:p>
            <a:pPr marL="0" lvl="1" indent="0">
              <a:buNone/>
            </a:pPr>
            <a:endParaRPr lang="en-US" dirty="0" smtClean="0">
              <a:latin typeface="Calibri" panose="020F0502020204030204" pitchFamily="34" charset="0"/>
              <a:cs typeface="Calibri" panose="020F0502020204030204" pitchFamily="34" charset="0"/>
            </a:endParaRPr>
          </a:p>
          <a:p>
            <a:pPr lvl="1">
              <a:buFont typeface="Wingdings" panose="05000000000000000000" pitchFamily="2" charset="2"/>
              <a:buChar char="§"/>
            </a:pPr>
            <a:r>
              <a:rPr lang="en-US" dirty="0" smtClean="0">
                <a:latin typeface="Calibri" panose="020F0502020204030204" pitchFamily="34" charset="0"/>
                <a:cs typeface="Calibri" panose="020F0502020204030204" pitchFamily="34" charset="0"/>
              </a:rPr>
              <a:t>There is no link between procurement and the loan requirements through incentives or other means. </a:t>
            </a:r>
          </a:p>
          <a:p>
            <a:pPr lvl="1">
              <a:buFont typeface="Wingdings" panose="05000000000000000000" pitchFamily="2" charset="2"/>
              <a:buChar char="§"/>
            </a:pPr>
            <a:endParaRPr lang="en-US" dirty="0" smtClean="0">
              <a:latin typeface="Calibri" panose="020F0502020204030204" pitchFamily="34" charset="0"/>
              <a:cs typeface="Calibri" panose="020F0502020204030204" pitchFamily="34" charset="0"/>
            </a:endParaRPr>
          </a:p>
          <a:p>
            <a:pPr lvl="1">
              <a:buFont typeface="Wingdings" panose="05000000000000000000" pitchFamily="2" charset="2"/>
              <a:buChar char="§"/>
            </a:pPr>
            <a:r>
              <a:rPr lang="en-US" dirty="0" smtClean="0">
                <a:latin typeface="Calibri" panose="020F0502020204030204" pitchFamily="34" charset="0"/>
                <a:cs typeface="Calibri" panose="020F0502020204030204" pitchFamily="34" charset="0"/>
              </a:rPr>
              <a:t>There is also currently no pre-qualification process for a loan which could be used as a gateway.</a:t>
            </a:r>
            <a:r>
              <a:rPr lang="en-US" dirty="0" smtClean="0">
                <a:solidFill>
                  <a:srgbClr val="FF0000"/>
                </a:solidFill>
                <a:latin typeface="Calibri" panose="020F0502020204030204" pitchFamily="34" charset="0"/>
                <a:cs typeface="Calibri" panose="020F0502020204030204" pitchFamily="34" charset="0"/>
              </a:rPr>
              <a:t> </a:t>
            </a:r>
          </a:p>
          <a:p>
            <a:pPr lvl="1">
              <a:buFont typeface="Wingdings" panose="05000000000000000000" pitchFamily="2" charset="2"/>
              <a:buChar char="§"/>
            </a:pPr>
            <a:endParaRPr lang="en-US" dirty="0" smtClean="0">
              <a:solidFill>
                <a:srgbClr val="FF0000"/>
              </a:solidFill>
              <a:latin typeface="Calibri" panose="020F0502020204030204" pitchFamily="34" charset="0"/>
              <a:cs typeface="Calibri" panose="020F0502020204030204" pitchFamily="34" charset="0"/>
            </a:endParaRPr>
          </a:p>
          <a:p>
            <a:pPr lvl="1">
              <a:buFont typeface="Wingdings" panose="05000000000000000000" pitchFamily="2" charset="2"/>
              <a:buChar char="§"/>
            </a:pPr>
            <a:r>
              <a:rPr lang="en-US" dirty="0" smtClean="0">
                <a:latin typeface="Calibri" panose="020F0502020204030204" pitchFamily="34" charset="0"/>
                <a:cs typeface="Calibri" panose="020F0502020204030204" pitchFamily="34" charset="0"/>
              </a:rPr>
              <a:t>ADB staff felt that the opportunity for influencing the contracts was in the ‘bidding documents,’ primarily because the actual contract documents are commercially sensitive and between the national government and contractors.  </a:t>
            </a:r>
          </a:p>
          <a:p>
            <a:pPr>
              <a:buFont typeface="Wingdings" panose="05000000000000000000" pitchFamily="2" charset="2"/>
              <a:buChar char="§"/>
            </a:pPr>
            <a:endParaRPr lang="en-US" dirty="0" smtClean="0">
              <a:latin typeface="Calibri" panose="020F0502020204030204" pitchFamily="34" charset="0"/>
              <a:cs typeface="Calibri" panose="020F0502020204030204" pitchFamily="34" charset="0"/>
            </a:endParaRPr>
          </a:p>
          <a:p>
            <a:pPr lvl="1">
              <a:buFont typeface="Wingdings" panose="05000000000000000000" pitchFamily="2" charset="2"/>
              <a:buChar char="§"/>
            </a:pPr>
            <a:r>
              <a:rPr lang="en-US" dirty="0" smtClean="0">
                <a:latin typeface="Calibri" panose="020F0502020204030204" pitchFamily="34" charset="0"/>
                <a:cs typeface="Calibri" panose="020F0502020204030204" pitchFamily="34" charset="0"/>
              </a:rPr>
              <a:t>Risk allocation within operations contracts is toggled from contractors to government parties solely through Force Majeure and Unforeseen Conditions terminology that defines these events using generic language unspecific to event scale.</a:t>
            </a:r>
          </a:p>
          <a:p>
            <a:pPr marL="0" lvl="1" indent="0">
              <a:buNone/>
            </a:pPr>
            <a:endParaRPr lang="en-US" dirty="0" smtClean="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5</a:t>
            </a:fld>
            <a:endParaRPr lang="en-US"/>
          </a:p>
        </p:txBody>
      </p:sp>
    </p:spTree>
    <p:extLst>
      <p:ext uri="{BB962C8B-B14F-4D97-AF65-F5344CB8AC3E}">
        <p14:creationId xmlns:p14="http://schemas.microsoft.com/office/powerpoint/2010/main" val="17905751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ased</a:t>
            </a:r>
            <a:r>
              <a:rPr lang="en-US" baseline="0" dirty="0" smtClean="0"/>
              <a:t> on consideration of the entire project lifecycle, there are three main issues affecting proper climate risk mitigation in PBCs. </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6</a:t>
            </a:fld>
            <a:endParaRPr lang="en-US"/>
          </a:p>
        </p:txBody>
      </p:sp>
    </p:spTree>
    <p:extLst>
      <p:ext uri="{BB962C8B-B14F-4D97-AF65-F5344CB8AC3E}">
        <p14:creationId xmlns:p14="http://schemas.microsoft.com/office/powerpoint/2010/main" val="2609683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a:t>
            </a:r>
            <a:r>
              <a:rPr lang="en-US" baseline="0" dirty="0" smtClean="0"/>
              <a:t> takeaway from the background research was that a functional tool should answer these questions. </a:t>
            </a:r>
          </a:p>
          <a:p>
            <a:r>
              <a:rPr lang="en-US" baseline="0" dirty="0" smtClean="0"/>
              <a:t>In order to drill down and determine how to best answer these questions, we conducted a number of workshops in Asia, Europe and the USA.</a:t>
            </a:r>
          </a:p>
          <a:p>
            <a:r>
              <a:rPr lang="en-US" baseline="0" dirty="0" smtClean="0"/>
              <a:t>From the feedback we received, we arrived at a five step process.</a:t>
            </a:r>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7</a:t>
            </a:fld>
            <a:endParaRPr lang="en-US"/>
          </a:p>
        </p:txBody>
      </p:sp>
    </p:spTree>
    <p:extLst>
      <p:ext uri="{BB962C8B-B14F-4D97-AF65-F5344CB8AC3E}">
        <p14:creationId xmlns:p14="http://schemas.microsoft.com/office/powerpoint/2010/main" val="4289357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effectLst/>
                <a:latin typeface="+mn-lt"/>
                <a:ea typeface="+mn-ea"/>
                <a:cs typeface="+mn-cs"/>
              </a:rPr>
              <a:t>The process has been designed to be feasible for replication globally and allow for quick prioritization of threats and associated cost implication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1" kern="1200" dirty="0" smtClean="0">
                <a:solidFill>
                  <a:schemeClr val="tx1"/>
                </a:solidFill>
                <a:effectLst/>
                <a:latin typeface="+mn-lt"/>
                <a:ea typeface="+mn-ea"/>
                <a:cs typeface="+mn-cs"/>
              </a:rPr>
              <a:t>The objective is to develop reasonable loss projections as a result of climate events and use these to inform region appropriate contractual adaptation measures (threshold definition, project phase specifics, risk ownership).</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E27CE1C5-261D-4EF9-AF26-21DD3854F780}" type="slidenum">
              <a:rPr lang="en-US" smtClean="0"/>
              <a:t>8</a:t>
            </a:fld>
            <a:endParaRPr lang="en-US"/>
          </a:p>
        </p:txBody>
      </p:sp>
    </p:spTree>
    <p:extLst>
      <p:ext uri="{BB962C8B-B14F-4D97-AF65-F5344CB8AC3E}">
        <p14:creationId xmlns:p14="http://schemas.microsoft.com/office/powerpoint/2010/main" val="3085915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5 steps are part of a stress test process to identify and mitigate climate related risk as much as possible.</a:t>
            </a:r>
          </a:p>
          <a:p>
            <a:r>
              <a:rPr lang="en-US" dirty="0" smtClean="0"/>
              <a:t>Next we’ll go through the theory behind each step to provide background to the framework questions.</a:t>
            </a:r>
          </a:p>
        </p:txBody>
      </p:sp>
      <p:sp>
        <p:nvSpPr>
          <p:cNvPr id="4" name="Slide Number Placeholder 3"/>
          <p:cNvSpPr>
            <a:spLocks noGrp="1"/>
          </p:cNvSpPr>
          <p:nvPr>
            <p:ph type="sldNum" sz="quarter" idx="10"/>
          </p:nvPr>
        </p:nvSpPr>
        <p:spPr/>
        <p:txBody>
          <a:bodyPr/>
          <a:lstStyle/>
          <a:p>
            <a:fld id="{E27CE1C5-261D-4EF9-AF26-21DD3854F780}" type="slidenum">
              <a:rPr lang="en-US" smtClean="0"/>
              <a:t>9</a:t>
            </a:fld>
            <a:endParaRPr lang="en-US"/>
          </a:p>
        </p:txBody>
      </p:sp>
    </p:spTree>
    <p:extLst>
      <p:ext uri="{BB962C8B-B14F-4D97-AF65-F5344CB8AC3E}">
        <p14:creationId xmlns:p14="http://schemas.microsoft.com/office/powerpoint/2010/main" val="177476275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emplate Main Body">
    <p:spTree>
      <p:nvGrpSpPr>
        <p:cNvPr id="1" name=""/>
        <p:cNvGrpSpPr/>
        <p:nvPr/>
      </p:nvGrpSpPr>
      <p:grpSpPr>
        <a:xfrm>
          <a:off x="0" y="0"/>
          <a:ext cx="0" cy="0"/>
          <a:chOff x="0" y="0"/>
          <a:chExt cx="0" cy="0"/>
        </a:xfrm>
      </p:grpSpPr>
      <p:graphicFrame>
        <p:nvGraphicFramePr>
          <p:cNvPr id="6" name="Rectangle 19" hidden="1"/>
          <p:cNvGraphicFramePr>
            <a:graphicFrameLocks/>
          </p:cNvGraphicFramePr>
          <p:nvPr>
            <p:custDataLst>
              <p:tags r:id="rId2"/>
            </p:custDataLst>
          </p:nvPr>
        </p:nvGraphicFramePr>
        <p:xfrm>
          <a:off x="0" y="0"/>
          <a:ext cx="195385" cy="158750"/>
        </p:xfrm>
        <a:graphic>
          <a:graphicData uri="http://schemas.openxmlformats.org/presentationml/2006/ole">
            <mc:AlternateContent xmlns:mc="http://schemas.openxmlformats.org/markup-compatibility/2006">
              <mc:Choice xmlns:v="urn:schemas-microsoft-com:vml" Requires="v">
                <p:oleObj spid="_x0000_s1192"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53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14"/>
          <p:cNvSpPr txBox="1">
            <a:spLocks/>
          </p:cNvSpPr>
          <p:nvPr>
            <p:custDataLst>
              <p:tags r:id="rId3"/>
            </p:custDataLst>
          </p:nvPr>
        </p:nvSpPr>
        <p:spPr bwMode="auto">
          <a:xfrm>
            <a:off x="560755" y="1274764"/>
            <a:ext cx="10927861"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8962" rIns="0" bIns="38962" anchor="ctr"/>
          <a:lstStyle/>
          <a:p>
            <a:pPr eaLnBrk="1" hangingPunct="1"/>
            <a:endParaRPr lang="en-US" altLang="en-US" sz="1100" b="1" i="1">
              <a:solidFill>
                <a:srgbClr val="FA9B1E"/>
              </a:solidFill>
            </a:endParaRPr>
          </a:p>
        </p:txBody>
      </p:sp>
      <p:cxnSp>
        <p:nvCxnSpPr>
          <p:cNvPr id="9" name="Straight Connector 8"/>
          <p:cNvCxnSpPr/>
          <p:nvPr/>
        </p:nvCxnSpPr>
        <p:spPr>
          <a:xfrm>
            <a:off x="310663" y="550863"/>
            <a:ext cx="11592169" cy="0"/>
          </a:xfrm>
          <a:prstGeom prst="line">
            <a:avLst/>
          </a:prstGeom>
          <a:ln w="19050">
            <a:solidFill>
              <a:srgbClr val="1982AF"/>
            </a:solidFill>
          </a:ln>
          <a:effectLst/>
        </p:spPr>
        <p:style>
          <a:lnRef idx="2">
            <a:schemeClr val="accent1"/>
          </a:lnRef>
          <a:fillRef idx="0">
            <a:schemeClr val="accent1"/>
          </a:fillRef>
          <a:effectRef idx="1">
            <a:schemeClr val="accent1"/>
          </a:effectRef>
          <a:fontRef idx="minor">
            <a:schemeClr val="tx1"/>
          </a:fontRef>
        </p:style>
      </p:cxnSp>
      <p:sp>
        <p:nvSpPr>
          <p:cNvPr id="11" name="Slide Number Placeholder 14"/>
          <p:cNvSpPr txBox="1">
            <a:spLocks/>
          </p:cNvSpPr>
          <p:nvPr userDrawn="1"/>
        </p:nvSpPr>
        <p:spPr bwMode="auto">
          <a:xfrm>
            <a:off x="560755" y="1274764"/>
            <a:ext cx="10927861" cy="42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8962" rIns="0" bIns="38962" anchor="ctr"/>
          <a:lstStyle/>
          <a:p>
            <a:pPr eaLnBrk="1" hangingPunct="1"/>
            <a:endParaRPr lang="en-US" altLang="en-US" sz="1100" b="1" i="1">
              <a:solidFill>
                <a:srgbClr val="FA9B1E"/>
              </a:solidFill>
            </a:endParaRPr>
          </a:p>
        </p:txBody>
      </p:sp>
      <p:cxnSp>
        <p:nvCxnSpPr>
          <p:cNvPr id="12" name="Straight Connector 11"/>
          <p:cNvCxnSpPr/>
          <p:nvPr userDrawn="1"/>
        </p:nvCxnSpPr>
        <p:spPr>
          <a:xfrm>
            <a:off x="310663" y="550863"/>
            <a:ext cx="11592169" cy="0"/>
          </a:xfrm>
          <a:prstGeom prst="line">
            <a:avLst/>
          </a:prstGeom>
          <a:ln w="19050">
            <a:solidFill>
              <a:srgbClr val="1982AF"/>
            </a:solidFill>
          </a:ln>
          <a:effectLst/>
        </p:spPr>
        <p:style>
          <a:lnRef idx="2">
            <a:schemeClr val="accent1"/>
          </a:lnRef>
          <a:fillRef idx="0">
            <a:schemeClr val="accent1"/>
          </a:fillRef>
          <a:effectRef idx="1">
            <a:schemeClr val="accent1"/>
          </a:effectRef>
          <a:fontRef idx="minor">
            <a:schemeClr val="tx1"/>
          </a:fontRef>
        </p:style>
      </p:cxnSp>
      <p:sp>
        <p:nvSpPr>
          <p:cNvPr id="8" name="Title 1"/>
          <p:cNvSpPr>
            <a:spLocks noGrp="1"/>
          </p:cNvSpPr>
          <p:nvPr>
            <p:ph type="title"/>
          </p:nvPr>
        </p:nvSpPr>
        <p:spPr>
          <a:xfrm>
            <a:off x="322385" y="160338"/>
            <a:ext cx="7995138" cy="482600"/>
          </a:xfrm>
          <a:prstGeom prst="rect">
            <a:avLst/>
          </a:prstGeom>
        </p:spPr>
        <p:txBody>
          <a:bodyPr/>
          <a:lstStyle>
            <a:lvl1pPr>
              <a:defRPr sz="2400"/>
            </a:lvl1pPr>
          </a:lstStyle>
          <a:p>
            <a:r>
              <a:rPr lang="en-US" dirty="0"/>
              <a:t>Click to edit Master title style</a:t>
            </a:r>
            <a:endParaRPr lang="en-GB" dirty="0"/>
          </a:p>
        </p:txBody>
      </p:sp>
      <p:sp>
        <p:nvSpPr>
          <p:cNvPr id="18" name="Text Placeholder 17"/>
          <p:cNvSpPr>
            <a:spLocks noGrp="1"/>
          </p:cNvSpPr>
          <p:nvPr>
            <p:ph type="body" sz="quarter" idx="10"/>
          </p:nvPr>
        </p:nvSpPr>
        <p:spPr>
          <a:xfrm>
            <a:off x="468922" y="1238250"/>
            <a:ext cx="5406293" cy="914400"/>
          </a:xfrm>
          <a:prstGeom prst="rect">
            <a:avLst/>
          </a:prstGeom>
        </p:spPr>
        <p:txBody>
          <a:bodyPr/>
          <a:lstStyle>
            <a:lvl1pPr>
              <a:defRPr sz="1600"/>
            </a:lvl1pPr>
            <a:lvl2pPr marL="285750" indent="-285750">
              <a:defRPr sz="1600"/>
            </a:lvl2pPr>
            <a:lvl3pPr marL="457200" indent="-171450">
              <a:defRPr sz="1600"/>
            </a:lvl3pPr>
          </a:lstStyle>
          <a:p>
            <a:pPr lvl="0"/>
            <a:r>
              <a:rPr lang="en-US" dirty="0"/>
              <a:t>Click to edit Master text styles</a:t>
            </a:r>
          </a:p>
          <a:p>
            <a:pPr lvl="1"/>
            <a:r>
              <a:rPr lang="en-US" dirty="0"/>
              <a:t>Second level</a:t>
            </a:r>
          </a:p>
          <a:p>
            <a:pPr lvl="2"/>
            <a:r>
              <a:rPr lang="en-US" dirty="0"/>
              <a:t>Third level</a:t>
            </a:r>
          </a:p>
        </p:txBody>
      </p:sp>
      <p:sp>
        <p:nvSpPr>
          <p:cNvPr id="22" name="Text Placeholder 21"/>
          <p:cNvSpPr>
            <a:spLocks noGrp="1"/>
          </p:cNvSpPr>
          <p:nvPr>
            <p:ph type="body" sz="quarter" idx="11"/>
          </p:nvPr>
        </p:nvSpPr>
        <p:spPr>
          <a:xfrm>
            <a:off x="6283569" y="1250950"/>
            <a:ext cx="5619262" cy="914400"/>
          </a:xfrm>
          <a:prstGeom prst="rect">
            <a:avLst/>
          </a:prstGeom>
        </p:spPr>
        <p:txBody>
          <a:bodyPr/>
          <a:lstStyle>
            <a:lvl1pPr>
              <a:defRPr sz="1600"/>
            </a:lvl1pPr>
            <a:lvl2pPr marL="285750" indent="-285750">
              <a:defRPr sz="1600"/>
            </a:lvl2pPr>
            <a:lvl3pPr marL="400050" indent="-171450">
              <a:defRPr sz="1600"/>
            </a:lvl3pPr>
          </a:lstStyle>
          <a:p>
            <a:pPr lvl="0"/>
            <a:r>
              <a:rPr lang="en-US" dirty="0"/>
              <a:t>Click to edit Master text styles</a:t>
            </a:r>
          </a:p>
          <a:p>
            <a:pPr lvl="1"/>
            <a:r>
              <a:rPr lang="en-US" dirty="0"/>
              <a:t>Second level</a:t>
            </a:r>
          </a:p>
          <a:p>
            <a:pPr lvl="2"/>
            <a:r>
              <a:rPr lang="en-US" dirty="0"/>
              <a:t>Third level</a:t>
            </a:r>
          </a:p>
        </p:txBody>
      </p:sp>
      <p:sp>
        <p:nvSpPr>
          <p:cNvPr id="24" name="Text Placeholder 23"/>
          <p:cNvSpPr>
            <a:spLocks noGrp="1"/>
          </p:cNvSpPr>
          <p:nvPr>
            <p:ph type="body" sz="quarter" idx="12"/>
          </p:nvPr>
        </p:nvSpPr>
        <p:spPr>
          <a:xfrm>
            <a:off x="322385" y="642939"/>
            <a:ext cx="11580446" cy="492125"/>
          </a:xfrm>
          <a:prstGeom prst="rect">
            <a:avLst/>
          </a:prstGeom>
        </p:spPr>
        <p:txBody>
          <a:bodyPr lIns="72000"/>
          <a:lstStyle>
            <a:lvl1pPr marL="0" indent="0">
              <a:spcBef>
                <a:spcPts val="0"/>
              </a:spcBef>
              <a:buNone/>
              <a:defRPr lang="en-US" sz="2000" kern="1200" dirty="0" smtClean="0">
                <a:solidFill>
                  <a:srgbClr val="1982AF"/>
                </a:solidFill>
                <a:latin typeface="Times New Roman" pitchFamily="18" charset="0"/>
                <a:ea typeface="ＭＳ Ｐゴシック" pitchFamily="34" charset="-128"/>
                <a:cs typeface="+mn-cs"/>
              </a:defRPr>
            </a:lvl1pPr>
          </a:lstStyle>
          <a:p>
            <a:pPr lvl="0"/>
            <a:r>
              <a:rPr lang="en-US" dirty="0"/>
              <a:t>Click to edit Master text styles</a:t>
            </a:r>
          </a:p>
        </p:txBody>
      </p:sp>
      <p:pic>
        <p:nvPicPr>
          <p:cNvPr id="16" name="Picture 28" descr="FinalArupLogo_White_Scaled_For_PPT_300dpi.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830170" y="6443664"/>
            <a:ext cx="1047262"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8" descr="FinalArupLogo_White_Scaled_For_PPT_300dpi.png"/>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830170" y="6443664"/>
            <a:ext cx="1047262"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5" descr="FinalArupLogo_Black_Scaled_For_PPT_300dpi.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708392" y="185740"/>
            <a:ext cx="1078612" cy="266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p:cNvPicPr>
            <a:picLocks noChangeAspect="1"/>
          </p:cNvPicPr>
          <p:nvPr userDrawn="1"/>
        </p:nvPicPr>
        <p:blipFill>
          <a:blip r:embed="rId8"/>
          <a:stretch>
            <a:fillRect/>
          </a:stretch>
        </p:blipFill>
        <p:spPr>
          <a:xfrm>
            <a:off x="9963566" y="118028"/>
            <a:ext cx="1939265" cy="381976"/>
          </a:xfrm>
          <a:prstGeom prst="rect">
            <a:avLst/>
          </a:prstGeom>
        </p:spPr>
      </p:pic>
      <p:sp>
        <p:nvSpPr>
          <p:cNvPr id="2" name="Rectangle 1"/>
          <p:cNvSpPr/>
          <p:nvPr userDrawn="1"/>
        </p:nvSpPr>
        <p:spPr>
          <a:xfrm>
            <a:off x="0" y="6396335"/>
            <a:ext cx="12191999" cy="400110"/>
          </a:xfrm>
          <a:prstGeom prst="rect">
            <a:avLst/>
          </a:prstGeom>
        </p:spPr>
        <p:txBody>
          <a:bodyPr wrap="square">
            <a:spAutoFit/>
          </a:bodyPr>
          <a:lstStyle/>
          <a:p>
            <a:r>
              <a:rPr lang="en-US" sz="1400" b="1" dirty="0" smtClean="0">
                <a:effectLst>
                  <a:outerShdw blurRad="38100" dist="38100" dir="2700000" algn="tl">
                    <a:srgbClr val="000000">
                      <a:alpha val="43137"/>
                    </a:srgbClr>
                  </a:outerShdw>
                </a:effectLst>
              </a:rPr>
              <a:t>Performance-based Contracts	</a:t>
            </a:r>
            <a:r>
              <a:rPr lang="en-US" sz="1600" b="1" dirty="0" smtClean="0">
                <a:effectLst>
                  <a:outerShdw blurRad="38100" dist="38100" dir="2700000" algn="tl">
                    <a:srgbClr val="000000">
                      <a:alpha val="43137"/>
                    </a:srgbClr>
                  </a:outerShdw>
                </a:effectLst>
              </a:rPr>
              <a:t>	</a:t>
            </a:r>
            <a:r>
              <a:rPr lang="en-US" sz="1600" b="1" baseline="0" dirty="0" smtClean="0">
                <a:effectLst>
                  <a:outerShdw blurRad="38100" dist="38100" dir="2700000" algn="tl">
                    <a:srgbClr val="000000">
                      <a:alpha val="43137"/>
                    </a:srgbClr>
                  </a:outerShdw>
                </a:effectLst>
              </a:rPr>
              <a:t>        </a:t>
            </a:r>
            <a:r>
              <a:rPr lang="en-US" sz="1600" b="1" dirty="0" smtClean="0">
                <a:effectLst>
                  <a:outerShdw blurRad="38100" dist="38100" dir="2700000" algn="tl">
                    <a:srgbClr val="000000">
                      <a:alpha val="43137"/>
                    </a:srgbClr>
                  </a:outerShdw>
                </a:effectLst>
              </a:rPr>
              <a:t>                                        </a:t>
            </a:r>
            <a:r>
              <a:rPr lang="en-US" sz="1800" b="1" dirty="0" smtClean="0">
                <a:effectLst>
                  <a:outerShdw blurRad="38100" dist="38100" dir="2700000" algn="tl">
                    <a:srgbClr val="000000">
                      <a:alpha val="43137"/>
                    </a:srgbClr>
                  </a:outerShdw>
                </a:effectLst>
              </a:rPr>
              <a:t>www.IRF.global</a:t>
            </a:r>
            <a:r>
              <a:rPr lang="en-US" sz="2000" b="1" dirty="0" smtClean="0">
                <a:effectLst>
                  <a:outerShdw blurRad="38100" dist="38100" dir="2700000" algn="tl">
                    <a:srgbClr val="000000">
                      <a:alpha val="43137"/>
                    </a:srgbClr>
                  </a:outerShdw>
                </a:effectLst>
              </a:rPr>
              <a:t> </a:t>
            </a:r>
            <a:r>
              <a:rPr lang="en-US" sz="1600" b="1" dirty="0" smtClean="0">
                <a:effectLst>
                  <a:outerShdw blurRad="38100" dist="38100" dir="2700000" algn="tl">
                    <a:srgbClr val="000000">
                      <a:alpha val="43137"/>
                    </a:srgbClr>
                  </a:outerShdw>
                </a:effectLst>
              </a:rPr>
              <a:t>		                              </a:t>
            </a:r>
            <a:r>
              <a:rPr lang="en-US" sz="1400" b="1" dirty="0" smtClean="0">
                <a:effectLst>
                  <a:outerShdw blurRad="38100" dist="38100" dir="2700000" algn="tl">
                    <a:srgbClr val="000000">
                      <a:alpha val="43137"/>
                    </a:srgbClr>
                  </a:outerShdw>
                </a:effectLst>
                <a:latin typeface="+mn-lt"/>
              </a:rPr>
              <a:t>Kuala Lumpur, Malaysia | April 3-5, 2018</a:t>
            </a:r>
            <a:endParaRPr lang="en-US" sz="1400"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831258611"/>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6:9 Arup Two Objects">
    <p:spTree>
      <p:nvGrpSpPr>
        <p:cNvPr id="1" name=""/>
        <p:cNvGrpSpPr/>
        <p:nvPr/>
      </p:nvGrpSpPr>
      <p:grpSpPr>
        <a:xfrm>
          <a:off x="0" y="0"/>
          <a:ext cx="0" cy="0"/>
          <a:chOff x="0" y="0"/>
          <a:chExt cx="0" cy="0"/>
        </a:xfrm>
      </p:grpSpPr>
      <p:sp>
        <p:nvSpPr>
          <p:cNvPr id="8" name="Content Placeholder 7"/>
          <p:cNvSpPr>
            <a:spLocks noGrp="1"/>
          </p:cNvSpPr>
          <p:nvPr>
            <p:ph sz="quarter" idx="10" hasCustomPrompt="1"/>
          </p:nvPr>
        </p:nvSpPr>
        <p:spPr>
          <a:xfrm>
            <a:off x="232682" y="190508"/>
            <a:ext cx="5814649" cy="5590761"/>
          </a:xfrm>
          <a:prstGeom prst="rect">
            <a:avLst/>
          </a:prstGeom>
        </p:spPr>
        <p:txBody>
          <a:bodyPr lIns="0" tIns="0" rIns="0" bIns="0">
            <a:normAutofit/>
          </a:bodyPr>
          <a:lstStyle>
            <a:lvl1pPr marL="0" indent="0">
              <a:lnSpc>
                <a:spcPts val="3467"/>
              </a:lnSpc>
              <a:spcBef>
                <a:spcPts val="0"/>
              </a:spcBef>
              <a:buFontTx/>
              <a:buNone/>
              <a:defRPr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15" name="Text Placeholder 2"/>
          <p:cNvSpPr>
            <a:spLocks noGrp="1"/>
          </p:cNvSpPr>
          <p:nvPr>
            <p:ph type="body" sz="quarter" idx="12" hasCustomPrompt="1"/>
          </p:nvPr>
        </p:nvSpPr>
        <p:spPr>
          <a:xfrm>
            <a:off x="4890805"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16" name="Text Placeholder 2"/>
          <p:cNvSpPr>
            <a:spLocks noGrp="1"/>
          </p:cNvSpPr>
          <p:nvPr>
            <p:ph type="body" sz="quarter" idx="13" hasCustomPrompt="1"/>
          </p:nvPr>
        </p:nvSpPr>
        <p:spPr>
          <a:xfrm>
            <a:off x="232667" y="5781264"/>
            <a:ext cx="4320000" cy="297517"/>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21" name="Content Placeholder 7"/>
          <p:cNvSpPr>
            <a:spLocks noGrp="1"/>
          </p:cNvSpPr>
          <p:nvPr>
            <p:ph sz="quarter" idx="16" hasCustomPrompt="1"/>
          </p:nvPr>
        </p:nvSpPr>
        <p:spPr>
          <a:xfrm>
            <a:off x="6144018" y="190508"/>
            <a:ext cx="5814649" cy="5590761"/>
          </a:xfrm>
          <a:prstGeom prst="rect">
            <a:avLst/>
          </a:prstGeom>
        </p:spPr>
        <p:txBody>
          <a:bodyPr lIns="0" tIns="0" rIns="0" bIns="0">
            <a:normAutofit/>
          </a:bodyPr>
          <a:lstStyle>
            <a:lvl1pPr marL="0" indent="0">
              <a:lnSpc>
                <a:spcPts val="3467"/>
              </a:lnSpc>
              <a:spcBef>
                <a:spcPts val="0"/>
              </a:spcBef>
              <a:buFontTx/>
              <a:buNone/>
              <a:defRPr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23" name="Text Placeholder 2"/>
          <p:cNvSpPr>
            <a:spLocks noGrp="1"/>
          </p:cNvSpPr>
          <p:nvPr>
            <p:ph type="body" sz="quarter" idx="17" hasCustomPrompt="1"/>
          </p:nvPr>
        </p:nvSpPr>
        <p:spPr>
          <a:xfrm>
            <a:off x="10802142"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4" name="Text Placeholder 2"/>
          <p:cNvSpPr>
            <a:spLocks noGrp="1"/>
          </p:cNvSpPr>
          <p:nvPr>
            <p:ph type="body" sz="quarter" idx="18" hasCustomPrompt="1"/>
          </p:nvPr>
        </p:nvSpPr>
        <p:spPr>
          <a:xfrm>
            <a:off x="6144005" y="5781264"/>
            <a:ext cx="4320000" cy="297517"/>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2"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13"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6:9 Arup Three Objects Option1">
    <p:spTree>
      <p:nvGrpSpPr>
        <p:cNvPr id="1" name=""/>
        <p:cNvGrpSpPr/>
        <p:nvPr/>
      </p:nvGrpSpPr>
      <p:grpSpPr>
        <a:xfrm>
          <a:off x="0" y="0"/>
          <a:ext cx="0" cy="0"/>
          <a:chOff x="0" y="0"/>
          <a:chExt cx="0" cy="0"/>
        </a:xfrm>
      </p:grpSpPr>
      <p:sp>
        <p:nvSpPr>
          <p:cNvPr id="30" name="Text Placeholder 2"/>
          <p:cNvSpPr>
            <a:spLocks noGrp="1"/>
          </p:cNvSpPr>
          <p:nvPr>
            <p:ph type="body" sz="quarter" idx="18" hasCustomPrompt="1"/>
          </p:nvPr>
        </p:nvSpPr>
        <p:spPr>
          <a:xfrm>
            <a:off x="10801678"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31" name="Text Placeholder 2"/>
          <p:cNvSpPr>
            <a:spLocks noGrp="1"/>
          </p:cNvSpPr>
          <p:nvPr>
            <p:ph type="body" sz="quarter" idx="19" hasCustomPrompt="1"/>
          </p:nvPr>
        </p:nvSpPr>
        <p:spPr>
          <a:xfrm>
            <a:off x="6143540" y="5781264"/>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2" name="Content Placeholder 7"/>
          <p:cNvSpPr>
            <a:spLocks noGrp="1"/>
          </p:cNvSpPr>
          <p:nvPr>
            <p:ph sz="quarter" idx="10" hasCustomPrompt="1"/>
          </p:nvPr>
        </p:nvSpPr>
        <p:spPr>
          <a:xfrm>
            <a:off x="232682" y="190508"/>
            <a:ext cx="5814649" cy="5590761"/>
          </a:xfrm>
          <a:prstGeom prst="rect">
            <a:avLst/>
          </a:prstGeom>
        </p:spPr>
        <p:txBody>
          <a:bodyPr lIns="0" tIns="0" rIns="0" bIns="0">
            <a:normAutofit/>
          </a:bodyPr>
          <a:lstStyle>
            <a:lvl1pPr marL="0" indent="0">
              <a:lnSpc>
                <a:spcPts val="3467"/>
              </a:lnSpc>
              <a:spcBef>
                <a:spcPts val="0"/>
              </a:spcBef>
              <a:buFontTx/>
              <a:buNone/>
              <a:defRPr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13" name="Text Placeholder 2"/>
          <p:cNvSpPr>
            <a:spLocks noGrp="1"/>
          </p:cNvSpPr>
          <p:nvPr>
            <p:ph type="body" sz="quarter" idx="12" hasCustomPrompt="1"/>
          </p:nvPr>
        </p:nvSpPr>
        <p:spPr>
          <a:xfrm>
            <a:off x="4890805"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15" name="Text Placeholder 2"/>
          <p:cNvSpPr>
            <a:spLocks noGrp="1"/>
          </p:cNvSpPr>
          <p:nvPr>
            <p:ph type="body" sz="quarter" idx="13" hasCustomPrompt="1"/>
          </p:nvPr>
        </p:nvSpPr>
        <p:spPr>
          <a:xfrm>
            <a:off x="232667" y="5781264"/>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7" name="Content Placeholder 7"/>
          <p:cNvSpPr>
            <a:spLocks noGrp="1"/>
          </p:cNvSpPr>
          <p:nvPr>
            <p:ph sz="quarter" idx="20" hasCustomPrompt="1"/>
          </p:nvPr>
        </p:nvSpPr>
        <p:spPr>
          <a:xfrm>
            <a:off x="6143546" y="190500"/>
            <a:ext cx="5814649" cy="2496277"/>
          </a:xfrm>
          <a:prstGeom prst="rect">
            <a:avLst/>
          </a:prstGeom>
        </p:spPr>
        <p:txBody>
          <a:bodyPr lIns="0" tIns="0" rIns="0" bIns="0">
            <a:normAutofit/>
          </a:bodyPr>
          <a:lstStyle>
            <a:lvl1pPr marL="0" indent="0">
              <a:lnSpc>
                <a:spcPts val="3467"/>
              </a:lnSpc>
              <a:spcBef>
                <a:spcPts val="0"/>
              </a:spcBef>
              <a:buFontTx/>
              <a:buNone/>
              <a:defRPr sz="3200"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18" name="Text Placeholder 2"/>
          <p:cNvSpPr>
            <a:spLocks noGrp="1"/>
          </p:cNvSpPr>
          <p:nvPr>
            <p:ph type="body" sz="quarter" idx="21" hasCustomPrompt="1"/>
          </p:nvPr>
        </p:nvSpPr>
        <p:spPr>
          <a:xfrm>
            <a:off x="10801678" y="2686777"/>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19" name="Text Placeholder 2"/>
          <p:cNvSpPr>
            <a:spLocks noGrp="1"/>
          </p:cNvSpPr>
          <p:nvPr>
            <p:ph type="body" sz="quarter" idx="22" hasCustomPrompt="1"/>
          </p:nvPr>
        </p:nvSpPr>
        <p:spPr>
          <a:xfrm>
            <a:off x="6143540" y="2686780"/>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4" name="Content Placeholder 7"/>
          <p:cNvSpPr>
            <a:spLocks noGrp="1"/>
          </p:cNvSpPr>
          <p:nvPr>
            <p:ph sz="quarter" idx="23" hasCustomPrompt="1"/>
          </p:nvPr>
        </p:nvSpPr>
        <p:spPr>
          <a:xfrm>
            <a:off x="6143546" y="3284984"/>
            <a:ext cx="5814649" cy="2496277"/>
          </a:xfrm>
          <a:prstGeom prst="rect">
            <a:avLst/>
          </a:prstGeom>
        </p:spPr>
        <p:txBody>
          <a:bodyPr lIns="0" tIns="0" rIns="0" bIns="0">
            <a:normAutofit/>
          </a:bodyPr>
          <a:lstStyle>
            <a:lvl1pPr marL="0" indent="0">
              <a:lnSpc>
                <a:spcPts val="3467"/>
              </a:lnSpc>
              <a:spcBef>
                <a:spcPts val="0"/>
              </a:spcBef>
              <a:buFontTx/>
              <a:buNone/>
              <a:defRPr sz="3200"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22"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24"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6:9 Arup Three Objects Option2">
    <p:spTree>
      <p:nvGrpSpPr>
        <p:cNvPr id="1" name=""/>
        <p:cNvGrpSpPr/>
        <p:nvPr/>
      </p:nvGrpSpPr>
      <p:grpSpPr>
        <a:xfrm>
          <a:off x="0" y="0"/>
          <a:ext cx="0" cy="0"/>
          <a:chOff x="0" y="0"/>
          <a:chExt cx="0" cy="0"/>
        </a:xfrm>
      </p:grpSpPr>
      <p:sp>
        <p:nvSpPr>
          <p:cNvPr id="17" name="Content Placeholder 7"/>
          <p:cNvSpPr>
            <a:spLocks noGrp="1"/>
          </p:cNvSpPr>
          <p:nvPr>
            <p:ph sz="quarter" idx="24" hasCustomPrompt="1"/>
          </p:nvPr>
        </p:nvSpPr>
        <p:spPr>
          <a:xfrm>
            <a:off x="6143546" y="190508"/>
            <a:ext cx="5814649" cy="5590761"/>
          </a:xfrm>
          <a:prstGeom prst="rect">
            <a:avLst/>
          </a:prstGeom>
        </p:spPr>
        <p:txBody>
          <a:bodyPr lIns="0" tIns="0" rIns="0" bIns="0">
            <a:normAutofit/>
          </a:bodyPr>
          <a:lstStyle>
            <a:lvl1pPr marL="0" indent="0">
              <a:lnSpc>
                <a:spcPts val="3467"/>
              </a:lnSpc>
              <a:spcBef>
                <a:spcPts val="0"/>
              </a:spcBef>
              <a:buFontTx/>
              <a:buNone/>
              <a:defRPr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18" name="Text Placeholder 2"/>
          <p:cNvSpPr>
            <a:spLocks noGrp="1"/>
          </p:cNvSpPr>
          <p:nvPr>
            <p:ph type="body" sz="quarter" idx="25" hasCustomPrompt="1"/>
          </p:nvPr>
        </p:nvSpPr>
        <p:spPr>
          <a:xfrm>
            <a:off x="10801678"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0" name="Content Placeholder 7"/>
          <p:cNvSpPr>
            <a:spLocks noGrp="1"/>
          </p:cNvSpPr>
          <p:nvPr>
            <p:ph sz="quarter" idx="12" hasCustomPrompt="1"/>
          </p:nvPr>
        </p:nvSpPr>
        <p:spPr>
          <a:xfrm>
            <a:off x="232682" y="3284984"/>
            <a:ext cx="5814649" cy="2496277"/>
          </a:xfrm>
          <a:prstGeom prst="rect">
            <a:avLst/>
          </a:prstGeom>
        </p:spPr>
        <p:txBody>
          <a:bodyPr lIns="0" tIns="0" rIns="0" bIns="0">
            <a:normAutofit/>
          </a:bodyPr>
          <a:lstStyle>
            <a:lvl1pPr marL="0" indent="0">
              <a:lnSpc>
                <a:spcPts val="3467"/>
              </a:lnSpc>
              <a:spcBef>
                <a:spcPts val="0"/>
              </a:spcBef>
              <a:buFontTx/>
              <a:buNone/>
              <a:defRPr sz="3200"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21" name="Text Placeholder 2"/>
          <p:cNvSpPr>
            <a:spLocks noGrp="1"/>
          </p:cNvSpPr>
          <p:nvPr>
            <p:ph type="body" sz="quarter" idx="18" hasCustomPrompt="1"/>
          </p:nvPr>
        </p:nvSpPr>
        <p:spPr>
          <a:xfrm>
            <a:off x="4890805"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2" name="Text Placeholder 2"/>
          <p:cNvSpPr>
            <a:spLocks noGrp="1"/>
          </p:cNvSpPr>
          <p:nvPr>
            <p:ph type="body" sz="quarter" idx="19" hasCustomPrompt="1"/>
          </p:nvPr>
        </p:nvSpPr>
        <p:spPr>
          <a:xfrm>
            <a:off x="232667" y="5781264"/>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23" name="Content Placeholder 7"/>
          <p:cNvSpPr>
            <a:spLocks noGrp="1"/>
          </p:cNvSpPr>
          <p:nvPr>
            <p:ph sz="quarter" idx="20" hasCustomPrompt="1"/>
          </p:nvPr>
        </p:nvSpPr>
        <p:spPr>
          <a:xfrm>
            <a:off x="232682" y="190500"/>
            <a:ext cx="5814649" cy="2496277"/>
          </a:xfrm>
          <a:prstGeom prst="rect">
            <a:avLst/>
          </a:prstGeom>
        </p:spPr>
        <p:txBody>
          <a:bodyPr lIns="0" tIns="0" rIns="0" bIns="0">
            <a:normAutofit/>
          </a:bodyPr>
          <a:lstStyle>
            <a:lvl1pPr marL="0" indent="0">
              <a:lnSpc>
                <a:spcPts val="3467"/>
              </a:lnSpc>
              <a:spcBef>
                <a:spcPts val="0"/>
              </a:spcBef>
              <a:buFontTx/>
              <a:buNone/>
              <a:defRPr sz="3200"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24" name="Text Placeholder 2"/>
          <p:cNvSpPr>
            <a:spLocks noGrp="1"/>
          </p:cNvSpPr>
          <p:nvPr>
            <p:ph type="body" sz="quarter" idx="21" hasCustomPrompt="1"/>
          </p:nvPr>
        </p:nvSpPr>
        <p:spPr>
          <a:xfrm>
            <a:off x="4890805" y="2686777"/>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5" name="Text Placeholder 2"/>
          <p:cNvSpPr>
            <a:spLocks noGrp="1"/>
          </p:cNvSpPr>
          <p:nvPr>
            <p:ph type="body" sz="quarter" idx="22" hasCustomPrompt="1"/>
          </p:nvPr>
        </p:nvSpPr>
        <p:spPr>
          <a:xfrm>
            <a:off x="232667" y="2686780"/>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5"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13" name="Text Placeholder 2"/>
          <p:cNvSpPr>
            <a:spLocks noGrp="1"/>
          </p:cNvSpPr>
          <p:nvPr>
            <p:ph type="body" sz="quarter" idx="34" hasCustomPrompt="1"/>
          </p:nvPr>
        </p:nvSpPr>
        <p:spPr>
          <a:xfrm>
            <a:off x="6144005" y="5781264"/>
            <a:ext cx="4320000" cy="297517"/>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4"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6:9 Arup Four Objects">
    <p:spTree>
      <p:nvGrpSpPr>
        <p:cNvPr id="1" name=""/>
        <p:cNvGrpSpPr/>
        <p:nvPr/>
      </p:nvGrpSpPr>
      <p:grpSpPr>
        <a:xfrm>
          <a:off x="0" y="0"/>
          <a:ext cx="0" cy="0"/>
          <a:chOff x="0" y="0"/>
          <a:chExt cx="0" cy="0"/>
        </a:xfrm>
      </p:grpSpPr>
      <p:sp>
        <p:nvSpPr>
          <p:cNvPr id="17" name="Content Placeholder 7"/>
          <p:cNvSpPr>
            <a:spLocks noGrp="1"/>
          </p:cNvSpPr>
          <p:nvPr>
            <p:ph sz="quarter" idx="12" hasCustomPrompt="1"/>
          </p:nvPr>
        </p:nvSpPr>
        <p:spPr>
          <a:xfrm>
            <a:off x="232682" y="3284984"/>
            <a:ext cx="5814649" cy="2496277"/>
          </a:xfrm>
          <a:prstGeom prst="rect">
            <a:avLst/>
          </a:prstGeom>
        </p:spPr>
        <p:txBody>
          <a:bodyPr lIns="0" tIns="0" rIns="0" bIns="0">
            <a:normAutofit/>
          </a:bodyPr>
          <a:lstStyle>
            <a:lvl1pPr marL="0" indent="0">
              <a:lnSpc>
                <a:spcPts val="3467"/>
              </a:lnSpc>
              <a:spcBef>
                <a:spcPts val="0"/>
              </a:spcBef>
              <a:buFontTx/>
              <a:buNone/>
              <a:defRPr sz="3200"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18" name="Text Placeholder 2"/>
          <p:cNvSpPr>
            <a:spLocks noGrp="1"/>
          </p:cNvSpPr>
          <p:nvPr>
            <p:ph type="body" sz="quarter" idx="18" hasCustomPrompt="1"/>
          </p:nvPr>
        </p:nvSpPr>
        <p:spPr>
          <a:xfrm>
            <a:off x="4890805"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19" name="Text Placeholder 2"/>
          <p:cNvSpPr>
            <a:spLocks noGrp="1"/>
          </p:cNvSpPr>
          <p:nvPr>
            <p:ph type="body" sz="quarter" idx="19" hasCustomPrompt="1"/>
          </p:nvPr>
        </p:nvSpPr>
        <p:spPr>
          <a:xfrm>
            <a:off x="232667" y="5781264"/>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24" name="Content Placeholder 7"/>
          <p:cNvSpPr>
            <a:spLocks noGrp="1"/>
          </p:cNvSpPr>
          <p:nvPr>
            <p:ph sz="quarter" idx="20" hasCustomPrompt="1"/>
          </p:nvPr>
        </p:nvSpPr>
        <p:spPr>
          <a:xfrm>
            <a:off x="232682" y="190500"/>
            <a:ext cx="5814649" cy="2496277"/>
          </a:xfrm>
          <a:prstGeom prst="rect">
            <a:avLst/>
          </a:prstGeom>
        </p:spPr>
        <p:txBody>
          <a:bodyPr lIns="0" tIns="0" rIns="0" bIns="0">
            <a:normAutofit/>
          </a:bodyPr>
          <a:lstStyle>
            <a:lvl1pPr marL="0" indent="0">
              <a:lnSpc>
                <a:spcPts val="3467"/>
              </a:lnSpc>
              <a:spcBef>
                <a:spcPts val="0"/>
              </a:spcBef>
              <a:buFontTx/>
              <a:buNone/>
              <a:defRPr sz="3200"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25" name="Text Placeholder 2"/>
          <p:cNvSpPr>
            <a:spLocks noGrp="1"/>
          </p:cNvSpPr>
          <p:nvPr>
            <p:ph type="body" sz="quarter" idx="21" hasCustomPrompt="1"/>
          </p:nvPr>
        </p:nvSpPr>
        <p:spPr>
          <a:xfrm>
            <a:off x="4890805" y="2686777"/>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6" name="Text Placeholder 2"/>
          <p:cNvSpPr>
            <a:spLocks noGrp="1"/>
          </p:cNvSpPr>
          <p:nvPr>
            <p:ph type="body" sz="quarter" idx="22" hasCustomPrompt="1"/>
          </p:nvPr>
        </p:nvSpPr>
        <p:spPr>
          <a:xfrm>
            <a:off x="232667" y="2686780"/>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30" name="Content Placeholder 7"/>
          <p:cNvSpPr>
            <a:spLocks noGrp="1"/>
          </p:cNvSpPr>
          <p:nvPr>
            <p:ph sz="quarter" idx="26" hasCustomPrompt="1"/>
          </p:nvPr>
        </p:nvSpPr>
        <p:spPr>
          <a:xfrm>
            <a:off x="6143546" y="190500"/>
            <a:ext cx="5814649" cy="2496277"/>
          </a:xfrm>
          <a:prstGeom prst="rect">
            <a:avLst/>
          </a:prstGeom>
        </p:spPr>
        <p:txBody>
          <a:bodyPr lIns="0" tIns="0" rIns="0" bIns="0">
            <a:normAutofit/>
          </a:bodyPr>
          <a:lstStyle>
            <a:lvl1pPr marL="0" indent="0">
              <a:lnSpc>
                <a:spcPts val="3467"/>
              </a:lnSpc>
              <a:spcBef>
                <a:spcPts val="0"/>
              </a:spcBef>
              <a:buFontTx/>
              <a:buNone/>
              <a:defRPr sz="3200"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31" name="Text Placeholder 2"/>
          <p:cNvSpPr>
            <a:spLocks noGrp="1"/>
          </p:cNvSpPr>
          <p:nvPr>
            <p:ph type="body" sz="quarter" idx="27" hasCustomPrompt="1"/>
          </p:nvPr>
        </p:nvSpPr>
        <p:spPr>
          <a:xfrm>
            <a:off x="10801678" y="2686777"/>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32" name="Text Placeholder 2"/>
          <p:cNvSpPr>
            <a:spLocks noGrp="1"/>
          </p:cNvSpPr>
          <p:nvPr>
            <p:ph type="body" sz="quarter" idx="28" hasCustomPrompt="1"/>
          </p:nvPr>
        </p:nvSpPr>
        <p:spPr>
          <a:xfrm>
            <a:off x="6143540" y="2686780"/>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6" name="Text Placeholder 2"/>
          <p:cNvSpPr>
            <a:spLocks noGrp="1"/>
          </p:cNvSpPr>
          <p:nvPr>
            <p:ph type="body" sz="quarter" idx="30" hasCustomPrompt="1"/>
          </p:nvPr>
        </p:nvSpPr>
        <p:spPr>
          <a:xfrm>
            <a:off x="6143540" y="5781264"/>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20" name="Content Placeholder 7"/>
          <p:cNvSpPr>
            <a:spLocks noGrp="1"/>
          </p:cNvSpPr>
          <p:nvPr>
            <p:ph sz="quarter" idx="23" hasCustomPrompt="1"/>
          </p:nvPr>
        </p:nvSpPr>
        <p:spPr>
          <a:xfrm>
            <a:off x="6143546" y="3284984"/>
            <a:ext cx="5814649" cy="2496277"/>
          </a:xfrm>
          <a:prstGeom prst="rect">
            <a:avLst/>
          </a:prstGeom>
        </p:spPr>
        <p:txBody>
          <a:bodyPr lIns="0" tIns="0" rIns="0" bIns="0">
            <a:normAutofit/>
          </a:bodyPr>
          <a:lstStyle>
            <a:lvl1pPr marL="0" indent="0">
              <a:lnSpc>
                <a:spcPts val="3467"/>
              </a:lnSpc>
              <a:spcBef>
                <a:spcPts val="0"/>
              </a:spcBef>
              <a:buFontTx/>
              <a:buNone/>
              <a:defRPr sz="3200" baseline="0">
                <a:latin typeface="Times New Roman"/>
                <a:cs typeface="Times New Roman"/>
              </a:defRPr>
            </a:lvl1pPr>
          </a:lstStyle>
          <a:p>
            <a:pPr lvl="0"/>
            <a:r>
              <a:rPr lang="en-US" dirty="0"/>
              <a:t>Use to insert images / graphical content by clicking on the icons below</a:t>
            </a:r>
          </a:p>
          <a:p>
            <a:pPr lvl="0"/>
            <a:r>
              <a:rPr lang="en-US" dirty="0"/>
              <a:t>Or small amount of text to compliment images</a:t>
            </a:r>
          </a:p>
        </p:txBody>
      </p:sp>
      <p:sp>
        <p:nvSpPr>
          <p:cNvPr id="21" name="Text Placeholder 2"/>
          <p:cNvSpPr>
            <a:spLocks noGrp="1"/>
          </p:cNvSpPr>
          <p:nvPr>
            <p:ph type="body" sz="quarter" idx="34" hasCustomPrompt="1"/>
          </p:nvPr>
        </p:nvSpPr>
        <p:spPr>
          <a:xfrm>
            <a:off x="10801678"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7"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23"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6:9 Arup Single Image">
    <p:spTree>
      <p:nvGrpSpPr>
        <p:cNvPr id="1" name=""/>
        <p:cNvGrpSpPr/>
        <p:nvPr/>
      </p:nvGrpSpPr>
      <p:grpSpPr>
        <a:xfrm>
          <a:off x="0" y="0"/>
          <a:ext cx="0" cy="0"/>
          <a:chOff x="0" y="0"/>
          <a:chExt cx="0" cy="0"/>
        </a:xfrm>
      </p:grpSpPr>
      <p:sp>
        <p:nvSpPr>
          <p:cNvPr id="20" name="Picture Placeholder 2"/>
          <p:cNvSpPr>
            <a:spLocks noGrp="1" noChangeAspect="1"/>
          </p:cNvSpPr>
          <p:nvPr>
            <p:ph type="pic" sz="quarter" idx="11" hasCustomPrompt="1"/>
          </p:nvPr>
        </p:nvSpPr>
        <p:spPr>
          <a:xfrm>
            <a:off x="230400" y="190500"/>
            <a:ext cx="11731200" cy="5592000"/>
          </a:xfrm>
          <a:prstGeom prst="rect">
            <a:avLst/>
          </a:prstGeom>
        </p:spPr>
        <p:txBody>
          <a:bodyPr vert="horz" lIns="0" tIns="0" rIns="0" bIns="0" anchor="t">
            <a:normAutofit/>
          </a:bodyPr>
          <a:lstStyle>
            <a:lvl1pPr marL="0" indent="0">
              <a:lnSpc>
                <a:spcPts val="3467"/>
              </a:lnSpc>
              <a:spcBef>
                <a:spcPts val="0"/>
              </a:spcBef>
              <a:buNone/>
              <a:defRPr>
                <a:latin typeface="Times New Roman"/>
                <a:cs typeface="Times New Roman"/>
              </a:defRPr>
            </a:lvl1pPr>
          </a:lstStyle>
          <a:p>
            <a:r>
              <a:rPr lang="en-US" dirty="0"/>
              <a:t/>
            </a:r>
            <a:br>
              <a:rPr lang="en-US" dirty="0"/>
            </a:br>
            <a:r>
              <a:rPr lang="en-US" dirty="0"/>
              <a:t/>
            </a:r>
            <a:br>
              <a:rPr lang="en-US" dirty="0"/>
            </a:br>
            <a:r>
              <a:rPr lang="en-US" dirty="0"/>
              <a:t/>
            </a:r>
            <a:br>
              <a:rPr lang="en-US" dirty="0"/>
            </a:br>
            <a:endParaRPr lang="en-US" dirty="0"/>
          </a:p>
          <a:p>
            <a:endParaRPr lang="en-US" dirty="0"/>
          </a:p>
          <a:p>
            <a:endParaRPr lang="en-US" dirty="0"/>
          </a:p>
        </p:txBody>
      </p:sp>
      <p:sp>
        <p:nvSpPr>
          <p:cNvPr id="11" name="Text Placeholder 2"/>
          <p:cNvSpPr>
            <a:spLocks noGrp="1"/>
          </p:cNvSpPr>
          <p:nvPr>
            <p:ph type="body" sz="quarter" idx="13" hasCustomPrompt="1"/>
          </p:nvPr>
        </p:nvSpPr>
        <p:spPr>
          <a:xfrm>
            <a:off x="232667" y="5781265"/>
            <a:ext cx="8123542" cy="240024"/>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2" name="Text Placeholder 2"/>
          <p:cNvSpPr>
            <a:spLocks noGrp="1"/>
          </p:cNvSpPr>
          <p:nvPr>
            <p:ph type="body" sz="quarter" idx="17" hasCustomPrompt="1"/>
          </p:nvPr>
        </p:nvSpPr>
        <p:spPr>
          <a:xfrm>
            <a:off x="8601600" y="5781261"/>
            <a:ext cx="3360000" cy="240027"/>
          </a:xfrm>
          <a:prstGeom prst="rect">
            <a:avLst/>
          </a:prstGeom>
        </p:spPr>
        <p:txBody>
          <a:bodyPr vert="horz" lIns="0" tIns="46800" rIns="0" bIns="4680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9"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7"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6:9 Arup Two Images">
    <p:spTree>
      <p:nvGrpSpPr>
        <p:cNvPr id="1" name=""/>
        <p:cNvGrpSpPr/>
        <p:nvPr/>
      </p:nvGrpSpPr>
      <p:grpSpPr>
        <a:xfrm>
          <a:off x="0" y="0"/>
          <a:ext cx="0" cy="0"/>
          <a:chOff x="0" y="0"/>
          <a:chExt cx="0" cy="0"/>
        </a:xfrm>
      </p:grpSpPr>
      <p:sp>
        <p:nvSpPr>
          <p:cNvPr id="13" name="Picture Placeholder 2"/>
          <p:cNvSpPr>
            <a:spLocks noGrp="1" noChangeAspect="1"/>
          </p:cNvSpPr>
          <p:nvPr>
            <p:ph type="pic" sz="quarter" idx="12" hasCustomPrompt="1"/>
          </p:nvPr>
        </p:nvSpPr>
        <p:spPr>
          <a:xfrm>
            <a:off x="232668" y="190508"/>
            <a:ext cx="5812800" cy="5590761"/>
          </a:xfrm>
          <a:prstGeom prst="rect">
            <a:avLst/>
          </a:prstGeom>
        </p:spPr>
        <p:txBody>
          <a:bodyPr vert="horz" lIns="0" tIns="0" rIns="0" bIns="0" anchor="t">
            <a:normAutofit/>
          </a:bodyPr>
          <a:lstStyle>
            <a:lvl1pPr marL="0" indent="0">
              <a:lnSpc>
                <a:spcPts val="3467"/>
              </a:lnSpc>
              <a:spcBef>
                <a:spcPts val="0"/>
              </a:spcBef>
              <a:buNone/>
              <a:defRPr baseline="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28" name="Picture Placeholder 2"/>
          <p:cNvSpPr>
            <a:spLocks noGrp="1" noChangeAspect="1"/>
          </p:cNvSpPr>
          <p:nvPr>
            <p:ph type="pic" sz="quarter" idx="13" hasCustomPrompt="1"/>
          </p:nvPr>
        </p:nvSpPr>
        <p:spPr>
          <a:xfrm>
            <a:off x="6145855" y="190508"/>
            <a:ext cx="5812800" cy="5590761"/>
          </a:xfrm>
          <a:prstGeom prst="rect">
            <a:avLst/>
          </a:prstGeom>
        </p:spPr>
        <p:txBody>
          <a:bodyPr vert="horz" lIns="0" tIns="0" rIns="0" bIns="0" anchor="t">
            <a:normAutofit/>
          </a:bodyPr>
          <a:lstStyle>
            <a:lvl1pPr marL="0" indent="0">
              <a:lnSpc>
                <a:spcPts val="3467"/>
              </a:lnSpc>
              <a:spcBef>
                <a:spcPts val="0"/>
              </a:spcBef>
              <a:buNone/>
              <a:defRPr>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15" name="Text Placeholder 2"/>
          <p:cNvSpPr>
            <a:spLocks noGrp="1"/>
          </p:cNvSpPr>
          <p:nvPr>
            <p:ph type="body" sz="quarter" idx="34" hasCustomPrompt="1"/>
          </p:nvPr>
        </p:nvSpPr>
        <p:spPr>
          <a:xfrm>
            <a:off x="4890805"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16" name="Text Placeholder 2"/>
          <p:cNvSpPr>
            <a:spLocks noGrp="1"/>
          </p:cNvSpPr>
          <p:nvPr>
            <p:ph type="body" sz="quarter" idx="35" hasCustomPrompt="1"/>
          </p:nvPr>
        </p:nvSpPr>
        <p:spPr>
          <a:xfrm>
            <a:off x="232667" y="5781264"/>
            <a:ext cx="4320000" cy="297517"/>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7" name="Text Placeholder 2"/>
          <p:cNvSpPr>
            <a:spLocks noGrp="1"/>
          </p:cNvSpPr>
          <p:nvPr>
            <p:ph type="body" sz="quarter" idx="17" hasCustomPrompt="1"/>
          </p:nvPr>
        </p:nvSpPr>
        <p:spPr>
          <a:xfrm>
            <a:off x="10802142"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12"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10" name="Text Placeholder 2"/>
          <p:cNvSpPr>
            <a:spLocks noGrp="1"/>
          </p:cNvSpPr>
          <p:nvPr>
            <p:ph type="body" sz="quarter" idx="18" hasCustomPrompt="1"/>
          </p:nvPr>
        </p:nvSpPr>
        <p:spPr>
          <a:xfrm>
            <a:off x="6144005" y="5781264"/>
            <a:ext cx="4320000" cy="297517"/>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1"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6:9 Arup Three Images Option1">
    <p:spTree>
      <p:nvGrpSpPr>
        <p:cNvPr id="1" name=""/>
        <p:cNvGrpSpPr/>
        <p:nvPr/>
      </p:nvGrpSpPr>
      <p:grpSpPr>
        <a:xfrm>
          <a:off x="0" y="0"/>
          <a:ext cx="0" cy="0"/>
          <a:chOff x="0" y="0"/>
          <a:chExt cx="0" cy="0"/>
        </a:xfrm>
      </p:grpSpPr>
      <p:sp>
        <p:nvSpPr>
          <p:cNvPr id="21" name="Picture Placeholder 2"/>
          <p:cNvSpPr>
            <a:spLocks noGrp="1" noChangeAspect="1"/>
          </p:cNvSpPr>
          <p:nvPr>
            <p:ph type="pic" sz="quarter" idx="15" hasCustomPrompt="1"/>
          </p:nvPr>
        </p:nvSpPr>
        <p:spPr>
          <a:xfrm>
            <a:off x="6145391" y="190500"/>
            <a:ext cx="5812800" cy="2496000"/>
          </a:xfrm>
          <a:prstGeom prst="rect">
            <a:avLst/>
          </a:prstGeom>
        </p:spPr>
        <p:txBody>
          <a:bodyPr vert="horz" lIns="0" tIns="0" rIns="0" bIns="0" anchor="t">
            <a:normAutofit/>
          </a:bodyPr>
          <a:lstStyle>
            <a:lvl1pPr marL="0" indent="0">
              <a:lnSpc>
                <a:spcPts val="2667"/>
              </a:lnSpc>
              <a:spcBef>
                <a:spcPts val="0"/>
              </a:spcBef>
              <a:buNone/>
              <a:defRPr sz="240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22" name="Picture Placeholder 2"/>
          <p:cNvSpPr>
            <a:spLocks noGrp="1" noChangeAspect="1"/>
          </p:cNvSpPr>
          <p:nvPr>
            <p:ph type="pic" sz="quarter" idx="16" hasCustomPrompt="1"/>
          </p:nvPr>
        </p:nvSpPr>
        <p:spPr>
          <a:xfrm>
            <a:off x="6145391" y="3284984"/>
            <a:ext cx="5812800" cy="2496000"/>
          </a:xfrm>
          <a:prstGeom prst="rect">
            <a:avLst/>
          </a:prstGeom>
        </p:spPr>
        <p:txBody>
          <a:bodyPr vert="horz" lIns="0" tIns="0" rIns="0" bIns="0" anchor="t">
            <a:noAutofit/>
          </a:bodyPr>
          <a:lstStyle>
            <a:lvl1pPr marL="0" indent="0">
              <a:lnSpc>
                <a:spcPts val="2667"/>
              </a:lnSpc>
              <a:spcBef>
                <a:spcPts val="0"/>
              </a:spcBef>
              <a:buNone/>
              <a:defRPr sz="240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24" name="Picture Placeholder 2"/>
          <p:cNvSpPr>
            <a:spLocks noGrp="1" noChangeAspect="1"/>
          </p:cNvSpPr>
          <p:nvPr>
            <p:ph type="pic" sz="quarter" idx="12" hasCustomPrompt="1"/>
          </p:nvPr>
        </p:nvSpPr>
        <p:spPr>
          <a:xfrm>
            <a:off x="232668" y="190508"/>
            <a:ext cx="5812800" cy="5590761"/>
          </a:xfrm>
          <a:prstGeom prst="rect">
            <a:avLst/>
          </a:prstGeom>
        </p:spPr>
        <p:txBody>
          <a:bodyPr vert="horz" lIns="0" tIns="0" rIns="0" bIns="0" anchor="t">
            <a:normAutofit/>
          </a:bodyPr>
          <a:lstStyle>
            <a:lvl1pPr marL="0" indent="0">
              <a:lnSpc>
                <a:spcPts val="3467"/>
              </a:lnSpc>
              <a:spcBef>
                <a:spcPts val="0"/>
              </a:spcBef>
              <a:buNone/>
              <a:defRPr baseline="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17" name="Text Placeholder 2"/>
          <p:cNvSpPr>
            <a:spLocks noGrp="1"/>
          </p:cNvSpPr>
          <p:nvPr>
            <p:ph type="body" sz="quarter" idx="18" hasCustomPrompt="1"/>
          </p:nvPr>
        </p:nvSpPr>
        <p:spPr>
          <a:xfrm>
            <a:off x="10801678"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19" name="Text Placeholder 2"/>
          <p:cNvSpPr>
            <a:spLocks noGrp="1"/>
          </p:cNvSpPr>
          <p:nvPr>
            <p:ph type="body" sz="quarter" idx="34" hasCustomPrompt="1"/>
          </p:nvPr>
        </p:nvSpPr>
        <p:spPr>
          <a:xfrm>
            <a:off x="4890805"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0" name="Text Placeholder 2"/>
          <p:cNvSpPr>
            <a:spLocks noGrp="1"/>
          </p:cNvSpPr>
          <p:nvPr>
            <p:ph type="body" sz="quarter" idx="13" hasCustomPrompt="1"/>
          </p:nvPr>
        </p:nvSpPr>
        <p:spPr>
          <a:xfrm>
            <a:off x="232667" y="5781264"/>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23" name="Text Placeholder 2"/>
          <p:cNvSpPr>
            <a:spLocks noGrp="1"/>
          </p:cNvSpPr>
          <p:nvPr>
            <p:ph type="body" sz="quarter" idx="21" hasCustomPrompt="1"/>
          </p:nvPr>
        </p:nvSpPr>
        <p:spPr>
          <a:xfrm>
            <a:off x="10801678" y="2686777"/>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5" name="Text Placeholder 2"/>
          <p:cNvSpPr>
            <a:spLocks noGrp="1"/>
          </p:cNvSpPr>
          <p:nvPr>
            <p:ph type="body" sz="quarter" idx="22" hasCustomPrompt="1"/>
          </p:nvPr>
        </p:nvSpPr>
        <p:spPr>
          <a:xfrm>
            <a:off x="6143540" y="2686780"/>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5"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13" name="Text Placeholder 2"/>
          <p:cNvSpPr>
            <a:spLocks noGrp="1"/>
          </p:cNvSpPr>
          <p:nvPr>
            <p:ph type="body" sz="quarter" idx="35" hasCustomPrompt="1"/>
          </p:nvPr>
        </p:nvSpPr>
        <p:spPr>
          <a:xfrm>
            <a:off x="6144005" y="5781264"/>
            <a:ext cx="4320000" cy="297517"/>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4"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6:9 Arup Three Images Option2">
    <p:spTree>
      <p:nvGrpSpPr>
        <p:cNvPr id="1" name=""/>
        <p:cNvGrpSpPr/>
        <p:nvPr/>
      </p:nvGrpSpPr>
      <p:grpSpPr>
        <a:xfrm>
          <a:off x="0" y="0"/>
          <a:ext cx="0" cy="0"/>
          <a:chOff x="0" y="0"/>
          <a:chExt cx="0" cy="0"/>
        </a:xfrm>
      </p:grpSpPr>
      <p:sp>
        <p:nvSpPr>
          <p:cNvPr id="27" name="Picture Placeholder 2"/>
          <p:cNvSpPr>
            <a:spLocks noGrp="1" noChangeAspect="1"/>
          </p:cNvSpPr>
          <p:nvPr>
            <p:ph type="pic" sz="quarter" idx="16" hasCustomPrompt="1"/>
          </p:nvPr>
        </p:nvSpPr>
        <p:spPr>
          <a:xfrm>
            <a:off x="232668" y="3284984"/>
            <a:ext cx="5812800" cy="2496000"/>
          </a:xfrm>
          <a:prstGeom prst="rect">
            <a:avLst/>
          </a:prstGeom>
        </p:spPr>
        <p:txBody>
          <a:bodyPr vert="horz" lIns="0" tIns="0" rIns="0" bIns="0" anchor="t"/>
          <a:lstStyle>
            <a:lvl1pPr marL="0" indent="0">
              <a:lnSpc>
                <a:spcPts val="2667"/>
              </a:lnSpc>
              <a:spcBef>
                <a:spcPts val="0"/>
              </a:spcBef>
              <a:buNone/>
              <a:defRPr sz="240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37" name="Picture Placeholder 2"/>
          <p:cNvSpPr>
            <a:spLocks noGrp="1" noChangeAspect="1"/>
          </p:cNvSpPr>
          <p:nvPr>
            <p:ph type="pic" sz="quarter" idx="12" hasCustomPrompt="1"/>
          </p:nvPr>
        </p:nvSpPr>
        <p:spPr>
          <a:xfrm>
            <a:off x="6145855" y="190508"/>
            <a:ext cx="5812800" cy="5590761"/>
          </a:xfrm>
          <a:prstGeom prst="rect">
            <a:avLst/>
          </a:prstGeom>
        </p:spPr>
        <p:txBody>
          <a:bodyPr vert="horz" lIns="0" tIns="0" rIns="0" bIns="0" anchor="t"/>
          <a:lstStyle>
            <a:lvl1pPr marL="0" indent="0">
              <a:lnSpc>
                <a:spcPts val="3467"/>
              </a:lnSpc>
              <a:spcBef>
                <a:spcPts val="0"/>
              </a:spcBef>
              <a:buNone/>
              <a:defRPr baseline="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69" name="Picture Placeholder 2"/>
          <p:cNvSpPr>
            <a:spLocks noGrp="1" noChangeAspect="1"/>
          </p:cNvSpPr>
          <p:nvPr>
            <p:ph type="pic" sz="quarter" idx="15" hasCustomPrompt="1"/>
          </p:nvPr>
        </p:nvSpPr>
        <p:spPr>
          <a:xfrm>
            <a:off x="232668" y="190500"/>
            <a:ext cx="5812800" cy="2496000"/>
          </a:xfrm>
          <a:prstGeom prst="rect">
            <a:avLst/>
          </a:prstGeom>
        </p:spPr>
        <p:txBody>
          <a:bodyPr vert="horz" lIns="0" tIns="0" rIns="0" bIns="0" anchor="t"/>
          <a:lstStyle>
            <a:lvl1pPr marL="0" indent="0">
              <a:lnSpc>
                <a:spcPts val="2667"/>
              </a:lnSpc>
              <a:spcBef>
                <a:spcPts val="0"/>
              </a:spcBef>
              <a:buNone/>
              <a:defRPr sz="240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18" name="Text Placeholder 2"/>
          <p:cNvSpPr>
            <a:spLocks noGrp="1"/>
          </p:cNvSpPr>
          <p:nvPr>
            <p:ph type="body" sz="quarter" idx="25" hasCustomPrompt="1"/>
          </p:nvPr>
        </p:nvSpPr>
        <p:spPr>
          <a:xfrm>
            <a:off x="10801678"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0" name="Text Placeholder 2"/>
          <p:cNvSpPr>
            <a:spLocks noGrp="1"/>
          </p:cNvSpPr>
          <p:nvPr>
            <p:ph type="body" sz="quarter" idx="18" hasCustomPrompt="1"/>
          </p:nvPr>
        </p:nvSpPr>
        <p:spPr>
          <a:xfrm>
            <a:off x="4890805"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1" name="Text Placeholder 2"/>
          <p:cNvSpPr>
            <a:spLocks noGrp="1"/>
          </p:cNvSpPr>
          <p:nvPr>
            <p:ph type="body" sz="quarter" idx="19" hasCustomPrompt="1"/>
          </p:nvPr>
        </p:nvSpPr>
        <p:spPr>
          <a:xfrm>
            <a:off x="232667" y="5781264"/>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22" name="Text Placeholder 2"/>
          <p:cNvSpPr>
            <a:spLocks noGrp="1"/>
          </p:cNvSpPr>
          <p:nvPr>
            <p:ph type="body" sz="quarter" idx="21" hasCustomPrompt="1"/>
          </p:nvPr>
        </p:nvSpPr>
        <p:spPr>
          <a:xfrm>
            <a:off x="4890805" y="2686777"/>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3" name="Text Placeholder 2"/>
          <p:cNvSpPr>
            <a:spLocks noGrp="1"/>
          </p:cNvSpPr>
          <p:nvPr>
            <p:ph type="body" sz="quarter" idx="22" hasCustomPrompt="1"/>
          </p:nvPr>
        </p:nvSpPr>
        <p:spPr>
          <a:xfrm>
            <a:off x="232667" y="2686780"/>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4"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16" name="Text Placeholder 2"/>
          <p:cNvSpPr>
            <a:spLocks noGrp="1"/>
          </p:cNvSpPr>
          <p:nvPr>
            <p:ph type="body" sz="quarter" idx="34" hasCustomPrompt="1"/>
          </p:nvPr>
        </p:nvSpPr>
        <p:spPr>
          <a:xfrm>
            <a:off x="6144005" y="5781264"/>
            <a:ext cx="4320000" cy="297517"/>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3"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6:9 Arup Four Images">
    <p:spTree>
      <p:nvGrpSpPr>
        <p:cNvPr id="1" name=""/>
        <p:cNvGrpSpPr/>
        <p:nvPr/>
      </p:nvGrpSpPr>
      <p:grpSpPr>
        <a:xfrm>
          <a:off x="0" y="0"/>
          <a:ext cx="0" cy="0"/>
          <a:chOff x="0" y="0"/>
          <a:chExt cx="0" cy="0"/>
        </a:xfrm>
      </p:grpSpPr>
      <p:sp>
        <p:nvSpPr>
          <p:cNvPr id="35" name="Picture Placeholder 2"/>
          <p:cNvSpPr>
            <a:spLocks noGrp="1" noChangeAspect="1"/>
          </p:cNvSpPr>
          <p:nvPr>
            <p:ph type="pic" sz="quarter" idx="16" hasCustomPrompt="1"/>
          </p:nvPr>
        </p:nvSpPr>
        <p:spPr>
          <a:xfrm>
            <a:off x="232668" y="3284984"/>
            <a:ext cx="5812800" cy="2496000"/>
          </a:xfrm>
          <a:prstGeom prst="rect">
            <a:avLst/>
          </a:prstGeom>
        </p:spPr>
        <p:txBody>
          <a:bodyPr vert="horz" lIns="0" tIns="0" rIns="0" bIns="0" anchor="t"/>
          <a:lstStyle>
            <a:lvl1pPr marL="0" indent="0">
              <a:lnSpc>
                <a:spcPts val="2667"/>
              </a:lnSpc>
              <a:spcBef>
                <a:spcPts val="0"/>
              </a:spcBef>
              <a:buNone/>
              <a:defRPr sz="240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41" name="Picture Placeholder 2"/>
          <p:cNvSpPr>
            <a:spLocks noGrp="1" noChangeAspect="1"/>
          </p:cNvSpPr>
          <p:nvPr>
            <p:ph type="pic" sz="quarter" idx="15" hasCustomPrompt="1"/>
          </p:nvPr>
        </p:nvSpPr>
        <p:spPr>
          <a:xfrm>
            <a:off x="6145391" y="190500"/>
            <a:ext cx="5812800" cy="2496000"/>
          </a:xfrm>
          <a:prstGeom prst="rect">
            <a:avLst/>
          </a:prstGeom>
        </p:spPr>
        <p:txBody>
          <a:bodyPr vert="horz" lIns="0" tIns="0" rIns="0" bIns="0" anchor="t"/>
          <a:lstStyle>
            <a:lvl1pPr marL="0" indent="0">
              <a:lnSpc>
                <a:spcPts val="2667"/>
              </a:lnSpc>
              <a:spcBef>
                <a:spcPts val="0"/>
              </a:spcBef>
              <a:buNone/>
              <a:defRPr sz="240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42" name="Picture Placeholder 2"/>
          <p:cNvSpPr>
            <a:spLocks noGrp="1" noChangeAspect="1"/>
          </p:cNvSpPr>
          <p:nvPr>
            <p:ph type="pic" sz="quarter" idx="16" hasCustomPrompt="1"/>
          </p:nvPr>
        </p:nvSpPr>
        <p:spPr>
          <a:xfrm>
            <a:off x="6145391" y="3284984"/>
            <a:ext cx="5812800" cy="2496000"/>
          </a:xfrm>
          <a:prstGeom prst="rect">
            <a:avLst/>
          </a:prstGeom>
        </p:spPr>
        <p:txBody>
          <a:bodyPr vert="horz" lIns="0" tIns="0" rIns="0" bIns="0" anchor="t"/>
          <a:lstStyle>
            <a:lvl1pPr marL="0" indent="0">
              <a:lnSpc>
                <a:spcPts val="2667"/>
              </a:lnSpc>
              <a:spcBef>
                <a:spcPts val="0"/>
              </a:spcBef>
              <a:buNone/>
              <a:defRPr sz="240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47" name="Picture Placeholder 2"/>
          <p:cNvSpPr>
            <a:spLocks noGrp="1" noChangeAspect="1"/>
          </p:cNvSpPr>
          <p:nvPr>
            <p:ph type="pic" sz="quarter" idx="32" hasCustomPrompt="1"/>
          </p:nvPr>
        </p:nvSpPr>
        <p:spPr>
          <a:xfrm>
            <a:off x="232668" y="190500"/>
            <a:ext cx="5812800" cy="2496000"/>
          </a:xfrm>
          <a:prstGeom prst="rect">
            <a:avLst/>
          </a:prstGeom>
        </p:spPr>
        <p:txBody>
          <a:bodyPr vert="horz" lIns="0" tIns="0" rIns="0" bIns="0" anchor="t"/>
          <a:lstStyle>
            <a:lvl1pPr marL="0" indent="0">
              <a:lnSpc>
                <a:spcPts val="2667"/>
              </a:lnSpc>
              <a:spcBef>
                <a:spcPts val="0"/>
              </a:spcBef>
              <a:buNone/>
              <a:defRPr sz="2400">
                <a:latin typeface="Times New Roman"/>
                <a:cs typeface="Times New Roman"/>
              </a:defRPr>
            </a:lvl1pPr>
          </a:lstStyle>
          <a:p>
            <a:pPr lvl="0"/>
            <a:endParaRPr lang="en-US" dirty="0"/>
          </a:p>
          <a:p>
            <a:pPr lvl="0"/>
            <a:endParaRPr lang="en-US" dirty="0"/>
          </a:p>
          <a:p>
            <a:pPr lvl="0"/>
            <a:endParaRPr lang="en-US" dirty="0"/>
          </a:p>
          <a:p>
            <a:pPr lvl="0"/>
            <a:endParaRPr lang="en-US" dirty="0"/>
          </a:p>
        </p:txBody>
      </p:sp>
      <p:sp>
        <p:nvSpPr>
          <p:cNvPr id="22" name="Text Placeholder 2"/>
          <p:cNvSpPr>
            <a:spLocks noGrp="1"/>
          </p:cNvSpPr>
          <p:nvPr>
            <p:ph type="body" sz="quarter" idx="18" hasCustomPrompt="1"/>
          </p:nvPr>
        </p:nvSpPr>
        <p:spPr>
          <a:xfrm>
            <a:off x="4890805"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3" name="Text Placeholder 2"/>
          <p:cNvSpPr>
            <a:spLocks noGrp="1"/>
          </p:cNvSpPr>
          <p:nvPr>
            <p:ph type="body" sz="quarter" idx="19" hasCustomPrompt="1"/>
          </p:nvPr>
        </p:nvSpPr>
        <p:spPr>
          <a:xfrm>
            <a:off x="232667" y="5781264"/>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24" name="Text Placeholder 2"/>
          <p:cNvSpPr>
            <a:spLocks noGrp="1"/>
          </p:cNvSpPr>
          <p:nvPr>
            <p:ph type="body" sz="quarter" idx="21" hasCustomPrompt="1"/>
          </p:nvPr>
        </p:nvSpPr>
        <p:spPr>
          <a:xfrm>
            <a:off x="4890805" y="2686777"/>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5" name="Text Placeholder 2"/>
          <p:cNvSpPr>
            <a:spLocks noGrp="1"/>
          </p:cNvSpPr>
          <p:nvPr>
            <p:ph type="body" sz="quarter" idx="22" hasCustomPrompt="1"/>
          </p:nvPr>
        </p:nvSpPr>
        <p:spPr>
          <a:xfrm>
            <a:off x="232667" y="2686780"/>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26" name="Text Placeholder 2"/>
          <p:cNvSpPr>
            <a:spLocks noGrp="1"/>
          </p:cNvSpPr>
          <p:nvPr>
            <p:ph type="body" sz="quarter" idx="27" hasCustomPrompt="1"/>
          </p:nvPr>
        </p:nvSpPr>
        <p:spPr>
          <a:xfrm>
            <a:off x="10801678" y="2686777"/>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27" name="Text Placeholder 2"/>
          <p:cNvSpPr>
            <a:spLocks noGrp="1"/>
          </p:cNvSpPr>
          <p:nvPr>
            <p:ph type="body" sz="quarter" idx="28" hasCustomPrompt="1"/>
          </p:nvPr>
        </p:nvSpPr>
        <p:spPr>
          <a:xfrm>
            <a:off x="6143540" y="2686780"/>
            <a:ext cx="4320000" cy="297517"/>
          </a:xfrm>
          <a:prstGeom prst="rect">
            <a:avLst/>
          </a:prstGeom>
        </p:spPr>
        <p:txBody>
          <a:bodyPr vert="horz"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29" name="Text Placeholder 2"/>
          <p:cNvSpPr>
            <a:spLocks noGrp="1"/>
          </p:cNvSpPr>
          <p:nvPr>
            <p:ph type="body" sz="quarter" idx="35" hasCustomPrompt="1"/>
          </p:nvPr>
        </p:nvSpPr>
        <p:spPr>
          <a:xfrm>
            <a:off x="10801678" y="5781261"/>
            <a:ext cx="1156527" cy="227755"/>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17"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18" name="Text Placeholder 2"/>
          <p:cNvSpPr>
            <a:spLocks noGrp="1"/>
          </p:cNvSpPr>
          <p:nvPr>
            <p:ph type="body" sz="quarter" idx="36" hasCustomPrompt="1"/>
          </p:nvPr>
        </p:nvSpPr>
        <p:spPr>
          <a:xfrm>
            <a:off x="6144005" y="5781264"/>
            <a:ext cx="4320000" cy="297517"/>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6"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6:9 Arup TenImages Value Statement">
    <p:spTree>
      <p:nvGrpSpPr>
        <p:cNvPr id="1" name=""/>
        <p:cNvGrpSpPr/>
        <p:nvPr/>
      </p:nvGrpSpPr>
      <p:grpSpPr>
        <a:xfrm>
          <a:off x="0" y="0"/>
          <a:ext cx="0" cy="0"/>
          <a:chOff x="0" y="0"/>
          <a:chExt cx="0" cy="0"/>
        </a:xfrm>
      </p:grpSpPr>
      <p:sp>
        <p:nvSpPr>
          <p:cNvPr id="14" name="Rectangle 13"/>
          <p:cNvSpPr/>
          <p:nvPr/>
        </p:nvSpPr>
        <p:spPr>
          <a:xfrm>
            <a:off x="9031047" y="2343315"/>
            <a:ext cx="2859976" cy="428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5" name="Picture Placeholder 7"/>
          <p:cNvSpPr>
            <a:spLocks noGrp="1" noChangeAspect="1"/>
          </p:cNvSpPr>
          <p:nvPr>
            <p:ph type="pic" sz="quarter" idx="27" hasCustomPrompt="1"/>
          </p:nvPr>
        </p:nvSpPr>
        <p:spPr>
          <a:xfrm>
            <a:off x="9031047" y="19062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36" name="Picture Placeholder 7"/>
          <p:cNvSpPr>
            <a:spLocks noGrp="1" noChangeAspect="1"/>
          </p:cNvSpPr>
          <p:nvPr>
            <p:ph type="pic" sz="quarter" idx="20" hasCustomPrompt="1"/>
          </p:nvPr>
        </p:nvSpPr>
        <p:spPr>
          <a:xfrm>
            <a:off x="6096022" y="19062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38" name="Picture Placeholder 7"/>
          <p:cNvSpPr>
            <a:spLocks noGrp="1" noChangeAspect="1"/>
          </p:cNvSpPr>
          <p:nvPr>
            <p:ph type="pic" sz="quarter" idx="22" hasCustomPrompt="1"/>
          </p:nvPr>
        </p:nvSpPr>
        <p:spPr>
          <a:xfrm>
            <a:off x="6096022" y="451093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39" name="Picture Placeholder 7"/>
          <p:cNvSpPr>
            <a:spLocks noGrp="1" noChangeAspect="1"/>
          </p:cNvSpPr>
          <p:nvPr>
            <p:ph type="pic" sz="quarter" idx="21" hasCustomPrompt="1"/>
          </p:nvPr>
        </p:nvSpPr>
        <p:spPr>
          <a:xfrm>
            <a:off x="3161004" y="234362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0" name="Picture Placeholder 7"/>
          <p:cNvSpPr>
            <a:spLocks noGrp="1" noChangeAspect="1"/>
          </p:cNvSpPr>
          <p:nvPr>
            <p:ph type="pic" sz="quarter" idx="11" hasCustomPrompt="1"/>
          </p:nvPr>
        </p:nvSpPr>
        <p:spPr>
          <a:xfrm>
            <a:off x="235060" y="190856"/>
            <a:ext cx="2859976" cy="2095187"/>
          </a:xfrm>
          <a:prstGeom prst="rect">
            <a:avLst/>
          </a:prstGeom>
        </p:spPr>
        <p:txBody>
          <a:bodyPr lIns="70710" tIns="70710" bIns="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1" name="Picture Placeholder 7"/>
          <p:cNvSpPr>
            <a:spLocks noGrp="1" noChangeAspect="1"/>
          </p:cNvSpPr>
          <p:nvPr>
            <p:ph type="pic" sz="quarter" idx="25" hasCustomPrompt="1"/>
          </p:nvPr>
        </p:nvSpPr>
        <p:spPr>
          <a:xfrm>
            <a:off x="235065" y="451093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3" name="Picture Placeholder 7"/>
          <p:cNvSpPr>
            <a:spLocks noGrp="1" noChangeAspect="1"/>
          </p:cNvSpPr>
          <p:nvPr>
            <p:ph type="pic" sz="quarter" idx="28" hasCustomPrompt="1"/>
          </p:nvPr>
        </p:nvSpPr>
        <p:spPr>
          <a:xfrm>
            <a:off x="234743" y="234362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5" name="Picture Placeholder 7"/>
          <p:cNvSpPr>
            <a:spLocks noGrp="1" noChangeAspect="1"/>
          </p:cNvSpPr>
          <p:nvPr>
            <p:ph type="pic" sz="quarter" idx="29" hasCustomPrompt="1"/>
          </p:nvPr>
        </p:nvSpPr>
        <p:spPr>
          <a:xfrm>
            <a:off x="3161004" y="451093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9" name="Picture Placeholder 7"/>
          <p:cNvSpPr>
            <a:spLocks noGrp="1" noChangeAspect="1"/>
          </p:cNvSpPr>
          <p:nvPr>
            <p:ph type="pic" sz="quarter" idx="31" hasCustomPrompt="1"/>
          </p:nvPr>
        </p:nvSpPr>
        <p:spPr>
          <a:xfrm>
            <a:off x="6096022" y="234362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51" name="Picture Placeholder 7"/>
          <p:cNvSpPr>
            <a:spLocks noGrp="1" noChangeAspect="1"/>
          </p:cNvSpPr>
          <p:nvPr>
            <p:ph type="pic" sz="quarter" idx="32" hasCustomPrompt="1"/>
          </p:nvPr>
        </p:nvSpPr>
        <p:spPr>
          <a:xfrm>
            <a:off x="3161004" y="19062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16" name="Text Placeholder 3"/>
          <p:cNvSpPr>
            <a:spLocks noGrp="1"/>
          </p:cNvSpPr>
          <p:nvPr>
            <p:ph type="body" sz="quarter" idx="33" hasCustomPrompt="1"/>
          </p:nvPr>
        </p:nvSpPr>
        <p:spPr>
          <a:xfrm>
            <a:off x="9214064" y="2485777"/>
            <a:ext cx="2642576" cy="2160591"/>
          </a:xfrm>
          <a:prstGeom prst="rect">
            <a:avLst/>
          </a:prstGeom>
        </p:spPr>
        <p:txBody>
          <a:bodyPr vert="horz" lIns="0" rIns="0">
            <a:noAutofit/>
          </a:bodyPr>
          <a:lstStyle>
            <a:lvl1pPr marL="0" marR="0" indent="0" algn="l" defTabSz="1197317" rtl="0" eaLnBrk="1" fontAlgn="auto" latinLnBrk="0" hangingPunct="1">
              <a:lnSpc>
                <a:spcPct val="80000"/>
              </a:lnSpc>
              <a:spcBef>
                <a:spcPts val="0"/>
              </a:spcBef>
              <a:spcAft>
                <a:spcPts val="0"/>
              </a:spcAft>
              <a:buClrTx/>
              <a:buSzTx/>
              <a:buFont typeface="Arial" pitchFamily="34" charset="0"/>
              <a:buNone/>
              <a:tabLst/>
              <a:defRPr sz="2400" b="0" i="0" baseline="0">
                <a:solidFill>
                  <a:schemeClr val="tx1"/>
                </a:solidFill>
                <a:latin typeface="Times New Roman"/>
                <a:cs typeface="Times New Roman"/>
              </a:defRPr>
            </a:lvl1pPr>
          </a:lstStyle>
          <a:p>
            <a:r>
              <a:rPr lang="en-US" sz="2400" baseline="0" dirty="0"/>
              <a:t>You may enter a short value statement here. You may highlight a specific point in white as appropriate. Max approx 20-25 words.</a:t>
            </a:r>
            <a:endParaRPr lang="en-US" sz="2133" baseline="0"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6:9 Arup Main Title">
    <p:spTree>
      <p:nvGrpSpPr>
        <p:cNvPr id="1" name=""/>
        <p:cNvGrpSpPr/>
        <p:nvPr/>
      </p:nvGrpSpPr>
      <p:grpSpPr>
        <a:xfrm>
          <a:off x="0" y="0"/>
          <a:ext cx="0" cy="0"/>
          <a:chOff x="0" y="0"/>
          <a:chExt cx="0" cy="0"/>
        </a:xfrm>
      </p:grpSpPr>
      <p:sp>
        <p:nvSpPr>
          <p:cNvPr id="3" name="Title 1"/>
          <p:cNvSpPr>
            <a:spLocks noGrp="1"/>
          </p:cNvSpPr>
          <p:nvPr>
            <p:ph type="title"/>
          </p:nvPr>
        </p:nvSpPr>
        <p:spPr>
          <a:xfrm>
            <a:off x="232846" y="190507"/>
            <a:ext cx="11722100" cy="683948"/>
          </a:xfrm>
          <a:prstGeom prst="rect">
            <a:avLst/>
          </a:prstGeom>
        </p:spPr>
        <p:txBody>
          <a:bodyPr lIns="0" tIns="0" rIns="0" bIns="0">
            <a:noAutofit/>
          </a:bodyPr>
          <a:lstStyle>
            <a:lvl1pPr>
              <a:lnSpc>
                <a:spcPts val="3400"/>
              </a:lnSpc>
              <a:spcBef>
                <a:spcPts val="0"/>
              </a:spcBef>
              <a:defRPr sz="3200">
                <a:solidFill>
                  <a:schemeClr val="accent2"/>
                </a:solidFill>
                <a:latin typeface="Times New Roman"/>
                <a:cs typeface="Times New Roman"/>
              </a:defRPr>
            </a:lvl1pPr>
          </a:lstStyle>
          <a:p>
            <a:r>
              <a:rPr lang="en-US"/>
              <a:t>Click to edit Master title sty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16:9 Arup Eleven Images Value Statement">
    <p:spTree>
      <p:nvGrpSpPr>
        <p:cNvPr id="1" name=""/>
        <p:cNvGrpSpPr/>
        <p:nvPr/>
      </p:nvGrpSpPr>
      <p:grpSpPr>
        <a:xfrm>
          <a:off x="0" y="0"/>
          <a:ext cx="0" cy="0"/>
          <a:chOff x="0" y="0"/>
          <a:chExt cx="0" cy="0"/>
        </a:xfrm>
      </p:grpSpPr>
      <p:sp>
        <p:nvSpPr>
          <p:cNvPr id="14" name="Rectangle 13"/>
          <p:cNvSpPr/>
          <p:nvPr/>
        </p:nvSpPr>
        <p:spPr>
          <a:xfrm>
            <a:off x="9031047" y="2343628"/>
            <a:ext cx="2859976" cy="20951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5" name="Picture Placeholder 7"/>
          <p:cNvSpPr>
            <a:spLocks noGrp="1" noChangeAspect="1"/>
          </p:cNvSpPr>
          <p:nvPr>
            <p:ph type="pic" sz="quarter" idx="27" hasCustomPrompt="1"/>
          </p:nvPr>
        </p:nvSpPr>
        <p:spPr>
          <a:xfrm>
            <a:off x="9040572" y="19062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36" name="Picture Placeholder 7"/>
          <p:cNvSpPr>
            <a:spLocks noGrp="1" noChangeAspect="1"/>
          </p:cNvSpPr>
          <p:nvPr>
            <p:ph type="pic" sz="quarter" idx="20" hasCustomPrompt="1"/>
          </p:nvPr>
        </p:nvSpPr>
        <p:spPr>
          <a:xfrm>
            <a:off x="6096022" y="19062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38" name="Picture Placeholder 7"/>
          <p:cNvSpPr>
            <a:spLocks noGrp="1" noChangeAspect="1"/>
          </p:cNvSpPr>
          <p:nvPr>
            <p:ph type="pic" sz="quarter" idx="22" hasCustomPrompt="1"/>
          </p:nvPr>
        </p:nvSpPr>
        <p:spPr>
          <a:xfrm>
            <a:off x="6096022" y="451547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39" name="Picture Placeholder 7"/>
          <p:cNvSpPr>
            <a:spLocks noGrp="1" noChangeAspect="1"/>
          </p:cNvSpPr>
          <p:nvPr>
            <p:ph type="pic" sz="quarter" idx="21" hasCustomPrompt="1"/>
          </p:nvPr>
        </p:nvSpPr>
        <p:spPr>
          <a:xfrm>
            <a:off x="3161004" y="234362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0" name="Picture Placeholder 7"/>
          <p:cNvSpPr>
            <a:spLocks noGrp="1" noChangeAspect="1"/>
          </p:cNvSpPr>
          <p:nvPr>
            <p:ph type="pic" sz="quarter" idx="11" hasCustomPrompt="1"/>
          </p:nvPr>
        </p:nvSpPr>
        <p:spPr>
          <a:xfrm>
            <a:off x="235060" y="190856"/>
            <a:ext cx="2859976" cy="2095187"/>
          </a:xfrm>
          <a:prstGeom prst="rect">
            <a:avLst/>
          </a:prstGeom>
        </p:spPr>
        <p:txBody>
          <a:bodyPr lIns="70710" tIns="70710" anchor="t">
            <a:normAutofit/>
          </a:bodyPr>
          <a:lstStyle>
            <a:lvl1pPr marL="0" marR="0" indent="0" algn="l" defTabSz="1197317" rtl="0" eaLnBrk="1" fontAlgn="auto" latinLnBrk="0" hangingPunct="1">
              <a:lnSpc>
                <a:spcPts val="1467"/>
              </a:lnSpc>
              <a:spcBef>
                <a:spcPts val="0"/>
              </a:spcBef>
              <a:spcAft>
                <a:spcPts val="0"/>
              </a:spcAft>
              <a:buClrTx/>
              <a:buSzTx/>
              <a:buFont typeface="Arial" pitchFamily="34" charset="0"/>
              <a:buNone/>
              <a:tabLst/>
              <a:defRPr sz="1200" baseline="0">
                <a:solidFill>
                  <a:schemeClr val="bg1">
                    <a:lumMod val="65000"/>
                  </a:schemeClr>
                </a:solidFill>
                <a:latin typeface="Times New Roman"/>
                <a:cs typeface="Times New Roman"/>
              </a:defRPr>
            </a:lvl1pPr>
          </a:lstStyle>
          <a:p>
            <a:endParaRPr lang="en-US" dirty="0"/>
          </a:p>
        </p:txBody>
      </p:sp>
      <p:sp>
        <p:nvSpPr>
          <p:cNvPr id="41" name="Picture Placeholder 7"/>
          <p:cNvSpPr>
            <a:spLocks noGrp="1" noChangeAspect="1"/>
          </p:cNvSpPr>
          <p:nvPr>
            <p:ph type="pic" sz="quarter" idx="25" hasCustomPrompt="1"/>
          </p:nvPr>
        </p:nvSpPr>
        <p:spPr>
          <a:xfrm>
            <a:off x="235065" y="451547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3" name="Picture Placeholder 7"/>
          <p:cNvSpPr>
            <a:spLocks noGrp="1" noChangeAspect="1"/>
          </p:cNvSpPr>
          <p:nvPr>
            <p:ph type="pic" sz="quarter" idx="28" hasCustomPrompt="1"/>
          </p:nvPr>
        </p:nvSpPr>
        <p:spPr>
          <a:xfrm>
            <a:off x="234743" y="234362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5" name="Picture Placeholder 7"/>
          <p:cNvSpPr>
            <a:spLocks noGrp="1" noChangeAspect="1"/>
          </p:cNvSpPr>
          <p:nvPr>
            <p:ph type="pic" sz="quarter" idx="29" hasCustomPrompt="1"/>
          </p:nvPr>
        </p:nvSpPr>
        <p:spPr>
          <a:xfrm>
            <a:off x="3161004" y="451547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7" name="Picture Placeholder 7"/>
          <p:cNvSpPr>
            <a:spLocks noGrp="1" noChangeAspect="1"/>
          </p:cNvSpPr>
          <p:nvPr>
            <p:ph type="pic" sz="quarter" idx="30" hasCustomPrompt="1"/>
          </p:nvPr>
        </p:nvSpPr>
        <p:spPr>
          <a:xfrm>
            <a:off x="9031047" y="451547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9" name="Picture Placeholder 7"/>
          <p:cNvSpPr>
            <a:spLocks noGrp="1" noChangeAspect="1"/>
          </p:cNvSpPr>
          <p:nvPr>
            <p:ph type="pic" sz="quarter" idx="31" hasCustomPrompt="1"/>
          </p:nvPr>
        </p:nvSpPr>
        <p:spPr>
          <a:xfrm>
            <a:off x="6096022" y="2343628"/>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51" name="Picture Placeholder 7"/>
          <p:cNvSpPr>
            <a:spLocks noGrp="1" noChangeAspect="1"/>
          </p:cNvSpPr>
          <p:nvPr>
            <p:ph type="pic" sz="quarter" idx="32" hasCustomPrompt="1"/>
          </p:nvPr>
        </p:nvSpPr>
        <p:spPr>
          <a:xfrm>
            <a:off x="3161004" y="19062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16" name="Text Placeholder 3"/>
          <p:cNvSpPr>
            <a:spLocks noGrp="1"/>
          </p:cNvSpPr>
          <p:nvPr>
            <p:ph type="body" sz="quarter" idx="33" hasCustomPrompt="1"/>
          </p:nvPr>
        </p:nvSpPr>
        <p:spPr>
          <a:xfrm>
            <a:off x="9214064" y="2354400"/>
            <a:ext cx="2642576" cy="2095200"/>
          </a:xfrm>
          <a:prstGeom prst="rect">
            <a:avLst/>
          </a:prstGeom>
        </p:spPr>
        <p:txBody>
          <a:bodyPr vert="horz" lIns="0" rIns="0">
            <a:noAutofit/>
          </a:bodyPr>
          <a:lstStyle>
            <a:lvl1pPr marL="0" marR="0" indent="0" algn="l" defTabSz="1197317" rtl="0" eaLnBrk="1" fontAlgn="auto" latinLnBrk="0" hangingPunct="1">
              <a:lnSpc>
                <a:spcPct val="80000"/>
              </a:lnSpc>
              <a:spcBef>
                <a:spcPts val="0"/>
              </a:spcBef>
              <a:spcAft>
                <a:spcPts val="0"/>
              </a:spcAft>
              <a:buClrTx/>
              <a:buSzTx/>
              <a:buFont typeface="Arial" pitchFamily="34" charset="0"/>
              <a:buNone/>
              <a:tabLst/>
              <a:defRPr sz="2400" b="0" i="0" baseline="0">
                <a:solidFill>
                  <a:schemeClr val="tx1"/>
                </a:solidFill>
                <a:latin typeface="Times New Roman"/>
                <a:cs typeface="Times New Roman"/>
              </a:defRPr>
            </a:lvl1pPr>
          </a:lstStyle>
          <a:p>
            <a:r>
              <a:rPr lang="en-US" sz="2400" baseline="0" dirty="0"/>
              <a:t>Enter a short value statement here. Highlight a specific point in white. Max approx 10 -15 word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6:9 Arup Twelve Images">
    <p:spTree>
      <p:nvGrpSpPr>
        <p:cNvPr id="1" name=""/>
        <p:cNvGrpSpPr/>
        <p:nvPr/>
      </p:nvGrpSpPr>
      <p:grpSpPr>
        <a:xfrm>
          <a:off x="0" y="0"/>
          <a:ext cx="0" cy="0"/>
          <a:chOff x="0" y="0"/>
          <a:chExt cx="0" cy="0"/>
        </a:xfrm>
      </p:grpSpPr>
      <p:sp>
        <p:nvSpPr>
          <p:cNvPr id="35" name="Picture Placeholder 7"/>
          <p:cNvSpPr>
            <a:spLocks noGrp="1" noChangeAspect="1"/>
          </p:cNvSpPr>
          <p:nvPr>
            <p:ph type="pic" sz="quarter" idx="27" hasCustomPrompt="1"/>
          </p:nvPr>
        </p:nvSpPr>
        <p:spPr>
          <a:xfrm>
            <a:off x="9040572" y="19062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defRPr>
            </a:lvl1pPr>
          </a:lstStyle>
          <a:p>
            <a:endParaRPr lang="en-US" dirty="0"/>
          </a:p>
        </p:txBody>
      </p:sp>
      <p:sp>
        <p:nvSpPr>
          <p:cNvPr id="36" name="Picture Placeholder 7"/>
          <p:cNvSpPr>
            <a:spLocks noGrp="1" noChangeAspect="1"/>
          </p:cNvSpPr>
          <p:nvPr>
            <p:ph type="pic" sz="quarter" idx="20" hasCustomPrompt="1"/>
          </p:nvPr>
        </p:nvSpPr>
        <p:spPr>
          <a:xfrm>
            <a:off x="6096022" y="19062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37" name="Picture Placeholder 7"/>
          <p:cNvSpPr>
            <a:spLocks noGrp="1" noChangeAspect="1"/>
          </p:cNvSpPr>
          <p:nvPr>
            <p:ph type="pic" sz="quarter" idx="26" hasCustomPrompt="1"/>
          </p:nvPr>
        </p:nvSpPr>
        <p:spPr>
          <a:xfrm>
            <a:off x="9040572" y="2353153"/>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38" name="Picture Placeholder 7"/>
          <p:cNvSpPr>
            <a:spLocks noGrp="1" noChangeAspect="1"/>
          </p:cNvSpPr>
          <p:nvPr>
            <p:ph type="pic" sz="quarter" idx="22" hasCustomPrompt="1"/>
          </p:nvPr>
        </p:nvSpPr>
        <p:spPr>
          <a:xfrm>
            <a:off x="6096022" y="4525003"/>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39" name="Picture Placeholder 7"/>
          <p:cNvSpPr>
            <a:spLocks noGrp="1" noChangeAspect="1"/>
          </p:cNvSpPr>
          <p:nvPr>
            <p:ph type="pic" sz="quarter" idx="21" hasCustomPrompt="1"/>
          </p:nvPr>
        </p:nvSpPr>
        <p:spPr>
          <a:xfrm>
            <a:off x="3161004" y="2353153"/>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0" name="Picture Placeholder 7"/>
          <p:cNvSpPr>
            <a:spLocks noGrp="1" noChangeAspect="1"/>
          </p:cNvSpPr>
          <p:nvPr>
            <p:ph type="pic" sz="quarter" idx="11" hasCustomPrompt="1"/>
          </p:nvPr>
        </p:nvSpPr>
        <p:spPr>
          <a:xfrm>
            <a:off x="235060" y="190856"/>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1" name="Picture Placeholder 7"/>
          <p:cNvSpPr>
            <a:spLocks noGrp="1" noChangeAspect="1"/>
          </p:cNvSpPr>
          <p:nvPr>
            <p:ph type="pic" sz="quarter" idx="25" hasCustomPrompt="1"/>
          </p:nvPr>
        </p:nvSpPr>
        <p:spPr>
          <a:xfrm>
            <a:off x="235065" y="4525003"/>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3" name="Picture Placeholder 7"/>
          <p:cNvSpPr>
            <a:spLocks noGrp="1" noChangeAspect="1"/>
          </p:cNvSpPr>
          <p:nvPr>
            <p:ph type="pic" sz="quarter" idx="28" hasCustomPrompt="1"/>
          </p:nvPr>
        </p:nvSpPr>
        <p:spPr>
          <a:xfrm>
            <a:off x="234743" y="2353153"/>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5" name="Picture Placeholder 7"/>
          <p:cNvSpPr>
            <a:spLocks noGrp="1" noChangeAspect="1"/>
          </p:cNvSpPr>
          <p:nvPr>
            <p:ph type="pic" sz="quarter" idx="29" hasCustomPrompt="1"/>
          </p:nvPr>
        </p:nvSpPr>
        <p:spPr>
          <a:xfrm>
            <a:off x="3161004" y="4525003"/>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7" name="Picture Placeholder 7"/>
          <p:cNvSpPr>
            <a:spLocks noGrp="1" noChangeAspect="1"/>
          </p:cNvSpPr>
          <p:nvPr>
            <p:ph type="pic" sz="quarter" idx="30" hasCustomPrompt="1"/>
          </p:nvPr>
        </p:nvSpPr>
        <p:spPr>
          <a:xfrm>
            <a:off x="9040572" y="4525003"/>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49" name="Picture Placeholder 7"/>
          <p:cNvSpPr>
            <a:spLocks noGrp="1" noChangeAspect="1"/>
          </p:cNvSpPr>
          <p:nvPr>
            <p:ph type="pic" sz="quarter" idx="31" hasCustomPrompt="1"/>
          </p:nvPr>
        </p:nvSpPr>
        <p:spPr>
          <a:xfrm>
            <a:off x="6096022" y="2353153"/>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
        <p:nvSpPr>
          <p:cNvPr id="51" name="Picture Placeholder 7"/>
          <p:cNvSpPr>
            <a:spLocks noGrp="1" noChangeAspect="1"/>
          </p:cNvSpPr>
          <p:nvPr>
            <p:ph type="pic" sz="quarter" idx="32" hasCustomPrompt="1"/>
          </p:nvPr>
        </p:nvSpPr>
        <p:spPr>
          <a:xfrm>
            <a:off x="3161004" y="190625"/>
            <a:ext cx="2859976" cy="2095187"/>
          </a:xfrm>
          <a:prstGeom prst="rect">
            <a:avLst/>
          </a:prstGeom>
        </p:spPr>
        <p:txBody>
          <a:bodyPr lIns="70710" tIns="70710" anchor="t">
            <a:normAutofit/>
          </a:bodyPr>
          <a:lstStyle>
            <a:lvl1pPr marL="0" indent="0" algn="l">
              <a:lnSpc>
                <a:spcPts val="1467"/>
              </a:lnSpc>
              <a:spcBef>
                <a:spcPts val="0"/>
              </a:spcBef>
              <a:buNone/>
              <a:defRPr sz="1200" baseline="0">
                <a:solidFill>
                  <a:schemeClr val="bg1">
                    <a:lumMod val="65000"/>
                  </a:schemeClr>
                </a:solidFill>
                <a:latin typeface="Times New Roman"/>
                <a:cs typeface="Times New Roman"/>
              </a:defRPr>
            </a:lvl1p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cSld name="4:3 Arup Main Title 2">
    <p:spTree>
      <p:nvGrpSpPr>
        <p:cNvPr id="1" name=""/>
        <p:cNvGrpSpPr/>
        <p:nvPr/>
      </p:nvGrpSpPr>
      <p:grpSpPr>
        <a:xfrm>
          <a:off x="0" y="0"/>
          <a:ext cx="0" cy="0"/>
          <a:chOff x="0" y="0"/>
          <a:chExt cx="0" cy="0"/>
        </a:xfrm>
      </p:grpSpPr>
      <p:sp>
        <p:nvSpPr>
          <p:cNvPr id="6" name="Title 1"/>
          <p:cNvSpPr>
            <a:spLocks noGrp="1"/>
          </p:cNvSpPr>
          <p:nvPr>
            <p:ph type="title"/>
          </p:nvPr>
        </p:nvSpPr>
        <p:spPr>
          <a:xfrm>
            <a:off x="1103708" y="1390641"/>
            <a:ext cx="10445093" cy="683948"/>
          </a:xfrm>
          <a:prstGeom prst="rect">
            <a:avLst/>
          </a:prstGeom>
        </p:spPr>
        <p:txBody>
          <a:bodyPr lIns="0" tIns="0" rIns="0" bIns="0">
            <a:noAutofit/>
          </a:bodyPr>
          <a:lstStyle>
            <a:lvl1pPr>
              <a:lnSpc>
                <a:spcPts val="5333"/>
              </a:lnSpc>
              <a:spcBef>
                <a:spcPts val="0"/>
              </a:spcBef>
              <a:defRPr sz="3800">
                <a:solidFill>
                  <a:schemeClr val="accent2"/>
                </a:solidFill>
                <a:latin typeface="Times New Roman"/>
                <a:cs typeface="Times New Roman"/>
              </a:defRPr>
            </a:lvl1pPr>
          </a:lstStyle>
          <a:p>
            <a:r>
              <a:rPr lang="en-US"/>
              <a:t>Click to edit Master title style</a:t>
            </a:r>
            <a:endParaRPr lang="en-US" dirty="0"/>
          </a:p>
        </p:txBody>
      </p:sp>
      <p:sp>
        <p:nvSpPr>
          <p:cNvPr id="10" name="Text Placeholder 2"/>
          <p:cNvSpPr>
            <a:spLocks noGrp="1"/>
          </p:cNvSpPr>
          <p:nvPr>
            <p:ph type="body" sz="quarter" idx="10" hasCustomPrompt="1"/>
          </p:nvPr>
        </p:nvSpPr>
        <p:spPr>
          <a:xfrm>
            <a:off x="1105841" y="3822177"/>
            <a:ext cx="10443207" cy="346249"/>
          </a:xfrm>
          <a:prstGeom prst="rect">
            <a:avLst/>
          </a:prstGeom>
        </p:spPr>
        <p:txBody>
          <a:bodyPr vert="horz" lIns="0" tIns="0" rIns="0" bIns="0">
            <a:noAutofit/>
          </a:bodyPr>
          <a:lstStyle>
            <a:lvl1pPr marL="0" indent="0">
              <a:lnSpc>
                <a:spcPts val="2000"/>
              </a:lnSpc>
              <a:spcBef>
                <a:spcPts val="0"/>
              </a:spcBef>
              <a:buNone/>
              <a:defRPr sz="1800" baseline="0">
                <a:latin typeface="Times New Roman"/>
                <a:cs typeface="Times New Roman"/>
              </a:defRPr>
            </a:lvl1pPr>
          </a:lstStyle>
          <a:p>
            <a:r>
              <a:rPr lang="en-US" sz="2400" dirty="0">
                <a:solidFill>
                  <a:schemeClr val="tx1"/>
                </a:solidFill>
              </a:rPr>
              <a:t>Click to edit master title style</a:t>
            </a:r>
            <a:endParaRPr lang="en-US" sz="1867" dirty="0">
              <a:solidFill>
                <a:schemeClr val="tx1"/>
              </a:solidFill>
            </a:endParaRPr>
          </a:p>
        </p:txBody>
      </p:sp>
      <p:pic>
        <p:nvPicPr>
          <p:cNvPr id="5" name="Picture 4" descr="ArupLogo2010_k_OvaWord1000mm_CompoundTransparent_100kGreyscale3May2012.w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96800" y="6444031"/>
            <a:ext cx="1152000" cy="261273"/>
          </a:xfrm>
          <a:prstGeom prst="rect">
            <a:avLst/>
          </a:prstGeom>
        </p:spPr>
      </p:pic>
    </p:spTree>
    <p:extLst>
      <p:ext uri="{BB962C8B-B14F-4D97-AF65-F5344CB8AC3E}">
        <p14:creationId xmlns:p14="http://schemas.microsoft.com/office/powerpoint/2010/main" val="506521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4:3 Arup Bullet">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530127" y="1892328"/>
            <a:ext cx="11007356" cy="4007958"/>
          </a:xfrm>
          <a:prstGeom prst="rect">
            <a:avLst/>
          </a:prstGeom>
        </p:spPr>
        <p:txBody>
          <a:bodyPr lIns="0" tIns="0" rIns="0" bIns="0">
            <a:noAutofit/>
          </a:bodyPr>
          <a:lstStyle>
            <a:lvl1pPr marL="0">
              <a:lnSpc>
                <a:spcPts val="2600"/>
              </a:lnSpc>
              <a:spcBef>
                <a:spcPts val="1200"/>
              </a:spcBef>
              <a:buClr>
                <a:schemeClr val="accent2"/>
              </a:buClr>
              <a:defRPr sz="2400">
                <a:latin typeface="Times New Roman"/>
                <a:cs typeface="Times New Roman"/>
              </a:defRPr>
            </a:lvl1pPr>
            <a:lvl2pPr marL="473937" indent="-236969">
              <a:lnSpc>
                <a:spcPts val="2600"/>
              </a:lnSpc>
              <a:spcBef>
                <a:spcPts val="288"/>
              </a:spcBef>
              <a:buClr>
                <a:schemeClr val="accent2"/>
              </a:buClr>
              <a:buFont typeface="Lucida Grande"/>
              <a:buChar char="-"/>
              <a:defRPr sz="2400">
                <a:latin typeface="Times New Roman"/>
                <a:cs typeface="Times New Roman"/>
              </a:defRPr>
            </a:lvl2pPr>
            <a:lvl3pPr marL="710906" indent="-236969">
              <a:lnSpc>
                <a:spcPts val="2200"/>
              </a:lnSpc>
              <a:buClr>
                <a:schemeClr val="accent2"/>
              </a:buClr>
              <a:buFont typeface="Lucida Grande"/>
              <a:buChar char="-"/>
              <a:defRPr sz="2200">
                <a:latin typeface="Times New Roman"/>
                <a:cs typeface="Times New Roman"/>
              </a:defRPr>
            </a:lvl3pPr>
            <a:lvl4pPr marL="721766" indent="-234945">
              <a:lnSpc>
                <a:spcPts val="2200"/>
              </a:lnSpc>
              <a:buClr>
                <a:schemeClr val="accent2"/>
              </a:buClr>
              <a:buFont typeface="Lucida Grande"/>
              <a:buChar char="-"/>
              <a:defRPr sz="2200">
                <a:latin typeface="Times New Roman"/>
                <a:cs typeface="Times New Roman"/>
              </a:defRPr>
            </a:lvl4pPr>
            <a:lvl5pPr marL="721766" indent="-234945">
              <a:lnSpc>
                <a:spcPts val="2200"/>
              </a:lnSpc>
              <a:buClr>
                <a:schemeClr val="accent2"/>
              </a:buClr>
              <a:buFont typeface="Lucida Grande"/>
              <a:buChar char="-"/>
              <a:defRPr sz="2200">
                <a:latin typeface="Times New Roman"/>
                <a:cs typeface="Times New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528004" y="252000"/>
            <a:ext cx="11009344" cy="581356"/>
          </a:xfrm>
          <a:prstGeom prst="rect">
            <a:avLst/>
          </a:prstGeom>
        </p:spPr>
        <p:txBody>
          <a:bodyPr lIns="0" tIns="0" rIns="0" bIns="0">
            <a:noAutofit/>
          </a:bodyPr>
          <a:lstStyle>
            <a:lvl1pPr>
              <a:lnSpc>
                <a:spcPts val="3400"/>
              </a:lnSpc>
              <a:spcBef>
                <a:spcPts val="0"/>
              </a:spcBef>
              <a:defRPr sz="3200">
                <a:solidFill>
                  <a:schemeClr val="accent2"/>
                </a:solidFill>
                <a:latin typeface="Times New Roman"/>
                <a:cs typeface="Times New Roman"/>
              </a:defRPr>
            </a:lvl1pPr>
          </a:lstStyle>
          <a:p>
            <a:r>
              <a:rPr lang="en-US"/>
              <a:t>Click to edit Master title style</a:t>
            </a:r>
            <a:endParaRPr lang="en-US" dirty="0"/>
          </a:p>
        </p:txBody>
      </p:sp>
      <p:sp>
        <p:nvSpPr>
          <p:cNvPr id="7" name="Text Placeholder 3"/>
          <p:cNvSpPr>
            <a:spLocks noGrp="1"/>
          </p:cNvSpPr>
          <p:nvPr>
            <p:ph type="body" sz="quarter" idx="33" hasCustomPrompt="1"/>
          </p:nvPr>
        </p:nvSpPr>
        <p:spPr>
          <a:xfrm>
            <a:off x="528000" y="6258000"/>
            <a:ext cx="9024000" cy="600000"/>
          </a:xfrm>
          <a:prstGeom prst="rect">
            <a:avLst/>
          </a:prstGeom>
        </p:spPr>
        <p:txBody>
          <a:bodyPr vert="horz" wrap="square" lIns="0" tIns="93600" rIns="0" bIns="0" anchor="ctr">
            <a:noAutofit/>
          </a:bodyPr>
          <a:lstStyle>
            <a:lvl1pPr marL="0" marR="0" indent="0" algn="l" defTabSz="1197317" rtl="0" eaLnBrk="1" fontAlgn="auto" latinLnBrk="0" hangingPunct="1">
              <a:lnSpc>
                <a:spcPts val="1800"/>
              </a:lnSpc>
              <a:spcBef>
                <a:spcPts val="0"/>
              </a:spcBef>
              <a:spcAft>
                <a:spcPts val="0"/>
              </a:spcAft>
              <a:buClrTx/>
              <a:buSzTx/>
              <a:buFont typeface="Arial" pitchFamily="34" charset="0"/>
              <a:buNone/>
              <a:tabLst/>
              <a:defRPr sz="1600" b="0" i="0" baseline="0">
                <a:solidFill>
                  <a:schemeClr val="bg1"/>
                </a:solidFill>
                <a:latin typeface="Times New Roman" panose="02020603050405020304" pitchFamily="18" charset="0"/>
                <a:cs typeface="Times New Roman"/>
              </a:defRPr>
            </a:lvl1pPr>
          </a:lstStyle>
          <a:p>
            <a:r>
              <a:rPr lang="en-US" sz="2133" baseline="0" dirty="0"/>
              <a:t>Footer title</a:t>
            </a:r>
            <a:endParaRPr lang="en-US" sz="2400" baseline="0" dirty="0"/>
          </a:p>
        </p:txBody>
      </p:sp>
    </p:spTree>
    <p:extLst>
      <p:ext uri="{BB962C8B-B14F-4D97-AF65-F5344CB8AC3E}">
        <p14:creationId xmlns:p14="http://schemas.microsoft.com/office/powerpoint/2010/main" val="404086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6:9 Arup Main Title 2">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93002" y="6405363"/>
            <a:ext cx="859663" cy="288000"/>
          </a:xfrm>
          <a:prstGeom prst="rect">
            <a:avLst/>
          </a:prstGeom>
        </p:spPr>
      </p:pic>
      <p:sp>
        <p:nvSpPr>
          <p:cNvPr id="6" name="Title 1"/>
          <p:cNvSpPr>
            <a:spLocks noGrp="1"/>
          </p:cNvSpPr>
          <p:nvPr>
            <p:ph type="title"/>
          </p:nvPr>
        </p:nvSpPr>
        <p:spPr>
          <a:xfrm>
            <a:off x="232846" y="1390641"/>
            <a:ext cx="11722100" cy="683948"/>
          </a:xfrm>
          <a:prstGeom prst="rect">
            <a:avLst/>
          </a:prstGeom>
        </p:spPr>
        <p:txBody>
          <a:bodyPr lIns="0" tIns="0" rIns="0" bIns="0">
            <a:noAutofit/>
          </a:bodyPr>
          <a:lstStyle>
            <a:lvl1pPr>
              <a:lnSpc>
                <a:spcPts val="4000"/>
              </a:lnSpc>
              <a:spcBef>
                <a:spcPts val="0"/>
              </a:spcBef>
              <a:defRPr sz="3800">
                <a:solidFill>
                  <a:schemeClr val="accent2"/>
                </a:solidFill>
                <a:latin typeface="Times New Roman"/>
                <a:cs typeface="Times New Roman"/>
              </a:defRPr>
            </a:lvl1pPr>
          </a:lstStyle>
          <a:p>
            <a:r>
              <a:rPr lang="en-US"/>
              <a:t>Click to edit Master title style</a:t>
            </a:r>
            <a:endParaRPr lang="en-US" dirty="0"/>
          </a:p>
        </p:txBody>
      </p:sp>
      <p:sp>
        <p:nvSpPr>
          <p:cNvPr id="10" name="Text Placeholder 2"/>
          <p:cNvSpPr>
            <a:spLocks noGrp="1"/>
          </p:cNvSpPr>
          <p:nvPr>
            <p:ph type="body" sz="quarter" idx="10" hasCustomPrompt="1"/>
          </p:nvPr>
        </p:nvSpPr>
        <p:spPr>
          <a:xfrm>
            <a:off x="234963" y="3822172"/>
            <a:ext cx="11719983" cy="346249"/>
          </a:xfrm>
          <a:prstGeom prst="rect">
            <a:avLst/>
          </a:prstGeom>
        </p:spPr>
        <p:txBody>
          <a:bodyPr vert="horz" lIns="0" tIns="0" rIns="0" bIns="0">
            <a:noAutofit/>
          </a:bodyPr>
          <a:lstStyle>
            <a:lvl1pPr marL="0" indent="0">
              <a:lnSpc>
                <a:spcPts val="2667"/>
              </a:lnSpc>
              <a:spcBef>
                <a:spcPts val="0"/>
              </a:spcBef>
              <a:buNone/>
              <a:defRPr sz="2000" baseline="0">
                <a:latin typeface="Times New Roman"/>
                <a:cs typeface="Times New Roman"/>
              </a:defRPr>
            </a:lvl1pPr>
          </a:lstStyle>
          <a:p>
            <a:r>
              <a:rPr lang="en-US" sz="2400" dirty="0">
                <a:solidFill>
                  <a:schemeClr val="tx1"/>
                </a:solidFill>
              </a:rPr>
              <a:t>Click to edit master title style</a:t>
            </a:r>
            <a:endParaRPr lang="en-US" sz="1867"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6:9 Arup Title Colour Divider">
    <p:bg>
      <p:bgPr>
        <a:solidFill>
          <a:schemeClr val="accent2"/>
        </a:solidFill>
        <a:effectLst/>
      </p:bgPr>
    </p:bg>
    <p:spTree>
      <p:nvGrpSpPr>
        <p:cNvPr id="1" name=""/>
        <p:cNvGrpSpPr/>
        <p:nvPr/>
      </p:nvGrpSpPr>
      <p:grpSpPr>
        <a:xfrm>
          <a:off x="0" y="0"/>
          <a:ext cx="0" cy="0"/>
          <a:chOff x="0" y="0"/>
          <a:chExt cx="0" cy="0"/>
        </a:xfrm>
      </p:grpSpPr>
      <p:sp>
        <p:nvSpPr>
          <p:cNvPr id="7" name="Title 1"/>
          <p:cNvSpPr>
            <a:spLocks noGrp="1"/>
          </p:cNvSpPr>
          <p:nvPr>
            <p:ph type="title"/>
          </p:nvPr>
        </p:nvSpPr>
        <p:spPr>
          <a:xfrm>
            <a:off x="232846" y="1390641"/>
            <a:ext cx="11722100" cy="683948"/>
          </a:xfrm>
          <a:prstGeom prst="rect">
            <a:avLst/>
          </a:prstGeom>
        </p:spPr>
        <p:txBody>
          <a:bodyPr lIns="0" tIns="0" rIns="0" bIns="0">
            <a:noAutofit/>
          </a:bodyPr>
          <a:lstStyle>
            <a:lvl1pPr>
              <a:lnSpc>
                <a:spcPts val="4000"/>
              </a:lnSpc>
              <a:spcBef>
                <a:spcPts val="0"/>
              </a:spcBef>
              <a:defRPr sz="3800" baseline="0">
                <a:solidFill>
                  <a:schemeClr val="bg1"/>
                </a:solidFill>
                <a:latin typeface="Times New Roman"/>
                <a:cs typeface="Times New Roman"/>
              </a:defRPr>
            </a:lvl1pPr>
          </a:lstStyle>
          <a:p>
            <a:r>
              <a:rPr lang="en-US"/>
              <a:t>Click to edit Master title style</a:t>
            </a:r>
            <a:endParaRPr lang="en-US" dirty="0"/>
          </a:p>
        </p:txBody>
      </p:sp>
      <p:sp>
        <p:nvSpPr>
          <p:cNvPr id="8" name="Text Placeholder 2"/>
          <p:cNvSpPr>
            <a:spLocks noGrp="1"/>
          </p:cNvSpPr>
          <p:nvPr>
            <p:ph type="body" sz="quarter" idx="10" hasCustomPrompt="1"/>
          </p:nvPr>
        </p:nvSpPr>
        <p:spPr>
          <a:xfrm>
            <a:off x="234963" y="3822172"/>
            <a:ext cx="11719983" cy="346249"/>
          </a:xfrm>
          <a:prstGeom prst="rect">
            <a:avLst/>
          </a:prstGeom>
        </p:spPr>
        <p:txBody>
          <a:bodyPr vert="horz" lIns="0" tIns="0" rIns="0" bIns="0">
            <a:noAutofit/>
          </a:bodyPr>
          <a:lstStyle>
            <a:lvl1pPr marL="0" indent="0">
              <a:lnSpc>
                <a:spcPts val="2000"/>
              </a:lnSpc>
              <a:spcBef>
                <a:spcPts val="0"/>
              </a:spcBef>
              <a:buNone/>
              <a:defRPr sz="1800" baseline="0">
                <a:solidFill>
                  <a:schemeClr val="bg1"/>
                </a:solidFill>
                <a:latin typeface="Times New Roman"/>
                <a:cs typeface="Times New Roman"/>
              </a:defRPr>
            </a:lvl1pPr>
          </a:lstStyle>
          <a:p>
            <a:r>
              <a:rPr lang="en-US" sz="2400" dirty="0">
                <a:solidFill>
                  <a:schemeClr val="bg1"/>
                </a:solidFill>
              </a:rPr>
              <a:t>Click to edit master title style</a:t>
            </a:r>
            <a:endParaRPr lang="en-US" sz="1867" dirty="0">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6:9 Arup Text Divider">
    <p:bg>
      <p:bgPr>
        <a:solidFill>
          <a:schemeClr val="accent2"/>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234965" y="190510"/>
            <a:ext cx="11719983" cy="5386089"/>
          </a:xfrm>
          <a:prstGeom prst="rect">
            <a:avLst/>
          </a:prstGeom>
        </p:spPr>
        <p:txBody>
          <a:bodyPr lIns="0" tIns="0" rIns="0" bIns="0">
            <a:noAutofit/>
          </a:bodyPr>
          <a:lstStyle>
            <a:lvl1pPr>
              <a:lnSpc>
                <a:spcPts val="6000"/>
              </a:lnSpc>
              <a:spcBef>
                <a:spcPts val="0"/>
              </a:spcBef>
              <a:defRPr sz="5200" baseline="0">
                <a:solidFill>
                  <a:schemeClr val="tx1"/>
                </a:solidFill>
                <a:latin typeface="Times New Roman"/>
                <a:cs typeface="Times New Roman"/>
              </a:defRPr>
            </a:lvl1pPr>
          </a:lstStyle>
          <a:p>
            <a:r>
              <a:rPr lang="en-US" dirty="0"/>
              <a:t>Insert a value statement here. You may pick out specific points within your value statement by highlighting the specific point with white text where appropriate. 40 words maximum word count, nisl
              sed
              facilisis present iusto
              augue
              vero
              nisl
              sed
              facilisi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6:9 Arup Bullet">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528001" y="1875374"/>
            <a:ext cx="11359200" cy="1758495"/>
          </a:xfrm>
          <a:prstGeom prst="rect">
            <a:avLst/>
          </a:prstGeom>
        </p:spPr>
        <p:txBody>
          <a:bodyPr lIns="0" tIns="0" rIns="0" bIns="0">
            <a:noAutofit/>
          </a:bodyPr>
          <a:lstStyle>
            <a:lvl1pPr>
              <a:lnSpc>
                <a:spcPts val="2600"/>
              </a:lnSpc>
              <a:buClr>
                <a:schemeClr val="accent2"/>
              </a:buClr>
              <a:defRPr sz="2400" baseline="0">
                <a:latin typeface="Times New Roman"/>
                <a:cs typeface="Times New Roman"/>
              </a:defRPr>
            </a:lvl1pPr>
            <a:lvl2pPr marL="473937" indent="-236969">
              <a:lnSpc>
                <a:spcPts val="2600"/>
              </a:lnSpc>
              <a:buClr>
                <a:schemeClr val="accent2"/>
              </a:buClr>
              <a:buFont typeface="Lucida Grande"/>
              <a:buChar char="-"/>
              <a:defRPr sz="2400" baseline="0">
                <a:latin typeface="Times New Roman"/>
                <a:cs typeface="Times New Roman"/>
              </a:defRPr>
            </a:lvl2pPr>
            <a:lvl3pPr marL="710906" indent="-236969">
              <a:lnSpc>
                <a:spcPts val="2400"/>
              </a:lnSpc>
              <a:buClr>
                <a:srgbClr val="28AAE1"/>
              </a:buClr>
              <a:buFont typeface="Lucida Grande"/>
              <a:buChar char="-"/>
              <a:defRPr sz="2200" baseline="0">
                <a:latin typeface="Times New Roman"/>
                <a:cs typeface="Times New Roman"/>
              </a:defRPr>
            </a:lvl3pPr>
            <a:lvl4pPr marL="721766" indent="-234945">
              <a:lnSpc>
                <a:spcPts val="2400"/>
              </a:lnSpc>
              <a:buClr>
                <a:srgbClr val="28AAE1"/>
              </a:buClr>
              <a:buFont typeface="Lucida Grande"/>
              <a:buChar char="-"/>
              <a:defRPr sz="2200" baseline="0">
                <a:latin typeface="Times New Roman"/>
                <a:cs typeface="Times New Roman"/>
              </a:defRPr>
            </a:lvl4pPr>
            <a:lvl5pPr marL="721766" indent="-234945">
              <a:lnSpc>
                <a:spcPts val="2400"/>
              </a:lnSpc>
              <a:buClr>
                <a:srgbClr val="28AAE1"/>
              </a:buClr>
              <a:buFont typeface="Lucida Grande"/>
              <a:buChar char="-"/>
              <a:defRPr sz="2200" baseline="0">
                <a:latin typeface="Times New Roman"/>
                <a:cs typeface="Times New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1"/>
          <p:cNvSpPr>
            <a:spLocks noGrp="1"/>
          </p:cNvSpPr>
          <p:nvPr>
            <p:ph type="title"/>
          </p:nvPr>
        </p:nvSpPr>
        <p:spPr>
          <a:xfrm>
            <a:off x="525881" y="190800"/>
            <a:ext cx="11361252" cy="581356"/>
          </a:xfrm>
          <a:prstGeom prst="rect">
            <a:avLst/>
          </a:prstGeom>
        </p:spPr>
        <p:txBody>
          <a:bodyPr lIns="0" tIns="0" rIns="0" bIns="0">
            <a:noAutofit/>
          </a:bodyPr>
          <a:lstStyle>
            <a:lvl1pPr>
              <a:lnSpc>
                <a:spcPts val="3400"/>
              </a:lnSpc>
              <a:spcBef>
                <a:spcPts val="0"/>
              </a:spcBef>
              <a:defRPr sz="3200" baseline="0">
                <a:solidFill>
                  <a:schemeClr val="accent2"/>
                </a:solidFill>
                <a:latin typeface="Times New Roman"/>
                <a:cs typeface="Times New Roman"/>
              </a:defRPr>
            </a:lvl1pPr>
          </a:lstStyle>
          <a:p>
            <a:r>
              <a:rPr lang="en-US"/>
              <a:t>Click to edit Master title style</a:t>
            </a:r>
            <a:endParaRPr lang="en-US" dirty="0"/>
          </a:p>
        </p:txBody>
      </p:sp>
      <p:sp>
        <p:nvSpPr>
          <p:cNvPr id="7"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9"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6:9 Arup Bullet+GreyIntro">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528001" y="1858441"/>
            <a:ext cx="11410000" cy="1939057"/>
          </a:xfrm>
          <a:prstGeom prst="rect">
            <a:avLst/>
          </a:prstGeom>
        </p:spPr>
        <p:txBody>
          <a:bodyPr wrap="square" lIns="0" tIns="0" rIns="0" bIns="0">
            <a:spAutoFit/>
          </a:bodyPr>
          <a:lstStyle>
            <a:lvl1pPr marL="0" indent="0">
              <a:lnSpc>
                <a:spcPts val="2600"/>
              </a:lnSpc>
              <a:spcBef>
                <a:spcPts val="1400"/>
              </a:spcBef>
              <a:spcAft>
                <a:spcPts val="1400"/>
              </a:spcAft>
              <a:buClr>
                <a:srgbClr val="F05023"/>
              </a:buClr>
              <a:buFontTx/>
              <a:buNone/>
              <a:defRPr sz="2400" baseline="0">
                <a:solidFill>
                  <a:srgbClr val="666666"/>
                </a:solidFill>
                <a:latin typeface="Times New Roman"/>
                <a:cs typeface="Times New Roman"/>
              </a:defRPr>
            </a:lvl1pPr>
            <a:lvl2pPr marL="237061" indent="-237061">
              <a:buClr>
                <a:srgbClr val="28AAE1"/>
              </a:buClr>
              <a:buFont typeface="Arial"/>
              <a:buChar char="•"/>
              <a:defRPr>
                <a:latin typeface="Times New Roman"/>
                <a:cs typeface="Times New Roman"/>
              </a:defRPr>
            </a:lvl2pPr>
            <a:lvl3pPr marL="482588" indent="-245527">
              <a:lnSpc>
                <a:spcPts val="2400"/>
              </a:lnSpc>
              <a:buClr>
                <a:schemeClr val="accent2"/>
              </a:buClr>
              <a:buFont typeface="Lucida Grande"/>
              <a:buChar char="-"/>
              <a:defRPr sz="2200" baseline="0">
                <a:latin typeface="Times New Roman"/>
                <a:cs typeface="Times New Roman"/>
              </a:defRPr>
            </a:lvl3pPr>
            <a:lvl4pPr marL="482588" indent="-245527">
              <a:lnSpc>
                <a:spcPts val="2400"/>
              </a:lnSpc>
              <a:buClr>
                <a:schemeClr val="accent2"/>
              </a:buClr>
              <a:buFont typeface="Lucida Grande"/>
              <a:buChar char="-"/>
              <a:defRPr sz="2200" baseline="0">
                <a:latin typeface="Times New Roman"/>
                <a:cs typeface="Times New Roman"/>
              </a:defRPr>
            </a:lvl4pPr>
            <a:lvl5pPr marL="482588" indent="-245527">
              <a:lnSpc>
                <a:spcPts val="2400"/>
              </a:lnSpc>
              <a:buClr>
                <a:schemeClr val="accent2"/>
              </a:buClr>
              <a:buFont typeface="Lucida Grande"/>
              <a:buChar char="-"/>
              <a:defRPr sz="2200" baseline="0">
                <a:latin typeface="Times New Roman"/>
                <a:cs typeface="Times New Roma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525881" y="190800"/>
            <a:ext cx="11412061" cy="581356"/>
          </a:xfrm>
          <a:prstGeom prst="rect">
            <a:avLst/>
          </a:prstGeom>
        </p:spPr>
        <p:txBody>
          <a:bodyPr lIns="0" tIns="0" rIns="0" bIns="0">
            <a:noAutofit/>
          </a:bodyPr>
          <a:lstStyle>
            <a:lvl1pPr>
              <a:lnSpc>
                <a:spcPts val="4533"/>
              </a:lnSpc>
              <a:spcBef>
                <a:spcPts val="0"/>
              </a:spcBef>
              <a:defRPr sz="3200" baseline="0">
                <a:solidFill>
                  <a:schemeClr val="accent2"/>
                </a:solidFill>
                <a:latin typeface="Times New Roman"/>
                <a:cs typeface="Times New Roman"/>
              </a:defRPr>
            </a:lvl1pPr>
          </a:lstStyle>
          <a:p>
            <a:r>
              <a:rPr lang="en-US"/>
              <a:t>Click to edit Master title style</a:t>
            </a:r>
            <a:endParaRPr lang="en-US" dirty="0"/>
          </a:p>
        </p:txBody>
      </p:sp>
      <p:sp>
        <p:nvSpPr>
          <p:cNvPr id="10"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8"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6:9 Arup Blank">
    <p:spTree>
      <p:nvGrpSpPr>
        <p:cNvPr id="1" name=""/>
        <p:cNvGrpSpPr/>
        <p:nvPr/>
      </p:nvGrpSpPr>
      <p:grpSpPr>
        <a:xfrm>
          <a:off x="0" y="0"/>
          <a:ext cx="0" cy="0"/>
          <a:chOff x="0" y="0"/>
          <a:chExt cx="0" cy="0"/>
        </a:xfrm>
      </p:grpSpPr>
      <p:sp>
        <p:nvSpPr>
          <p:cNvPr id="6" name="Slide Number Placeholder 14"/>
          <p:cNvSpPr txBox="1"/>
          <p:nvPr/>
        </p:nvSpPr>
        <p:spPr>
          <a:xfrm>
            <a:off x="1738716" y="3054600"/>
            <a:ext cx="383117" cy="748800"/>
          </a:xfrm>
          <a:prstGeom prst="rect">
            <a:avLst/>
          </a:prstGeom>
        </p:spPr>
        <p:txBody>
          <a:bodyPr lIns="0" tIns="0" rIns="0" bIns="264000" anchor="b" anchorCtr="0"/>
          <a:lstStyle>
            <a:defPPr>
              <a:defRPr lang="en-US"/>
            </a:defPPr>
            <a:lvl1pPr algn="ctr" rtl="0" eaLnBrk="0" fontAlgn="base" hangingPunct="0">
              <a:spcBef>
                <a:spcPct val="0"/>
              </a:spcBef>
              <a:spcAft>
                <a:spcPct val="0"/>
              </a:spcAft>
              <a:defRPr sz="2400" b="1" kern="1200">
                <a:solidFill>
                  <a:schemeClr val="tx1"/>
                </a:solidFill>
                <a:latin typeface="Arial" charset="0"/>
                <a:ea typeface="+mn-ea"/>
                <a:cs typeface="Arial" charset="0"/>
              </a:defRPr>
            </a:lvl1pPr>
            <a:lvl2pPr marL="457200" algn="ctr" rtl="0" eaLnBrk="0" fontAlgn="base" hangingPunct="0">
              <a:spcBef>
                <a:spcPct val="0"/>
              </a:spcBef>
              <a:spcAft>
                <a:spcPct val="0"/>
              </a:spcAft>
              <a:defRPr sz="2400" b="1" kern="1200">
                <a:solidFill>
                  <a:schemeClr val="tx1"/>
                </a:solidFill>
                <a:latin typeface="Arial" charset="0"/>
                <a:ea typeface="+mn-ea"/>
                <a:cs typeface="Arial" charset="0"/>
              </a:defRPr>
            </a:lvl2pPr>
            <a:lvl3pPr marL="914400" algn="ctr" rtl="0" eaLnBrk="0" fontAlgn="base" hangingPunct="0">
              <a:spcBef>
                <a:spcPct val="0"/>
              </a:spcBef>
              <a:spcAft>
                <a:spcPct val="0"/>
              </a:spcAft>
              <a:defRPr sz="2400" b="1" kern="1200">
                <a:solidFill>
                  <a:schemeClr val="tx1"/>
                </a:solidFill>
                <a:latin typeface="Arial" charset="0"/>
                <a:ea typeface="+mn-ea"/>
                <a:cs typeface="Arial" charset="0"/>
              </a:defRPr>
            </a:lvl3pPr>
            <a:lvl4pPr marL="1371600" algn="ctr" rtl="0" eaLnBrk="0" fontAlgn="base" hangingPunct="0">
              <a:spcBef>
                <a:spcPct val="0"/>
              </a:spcBef>
              <a:spcAft>
                <a:spcPct val="0"/>
              </a:spcAft>
              <a:defRPr sz="2400" b="1" kern="1200">
                <a:solidFill>
                  <a:schemeClr val="tx1"/>
                </a:solidFill>
                <a:latin typeface="Arial" charset="0"/>
                <a:ea typeface="+mn-ea"/>
                <a:cs typeface="Arial" charset="0"/>
              </a:defRPr>
            </a:lvl4pPr>
            <a:lvl5pPr marL="1828800" algn="ctr" rtl="0" eaLnBrk="0" fontAlgn="base" hangingPunct="0">
              <a:spcBef>
                <a:spcPct val="0"/>
              </a:spcBef>
              <a:spcAft>
                <a:spcPct val="0"/>
              </a:spcAft>
              <a:defRPr sz="2400" b="1" kern="1200">
                <a:solidFill>
                  <a:schemeClr val="tx1"/>
                </a:solidFill>
                <a:latin typeface="Arial" charset="0"/>
                <a:ea typeface="+mn-ea"/>
                <a:cs typeface="Arial" charset="0"/>
              </a:defRPr>
            </a:lvl5pPr>
            <a:lvl6pPr marL="2286000" algn="l" defTabSz="914400" rtl="0" eaLnBrk="1" latinLnBrk="0" hangingPunct="1">
              <a:defRPr sz="2400" b="1" kern="1200">
                <a:solidFill>
                  <a:schemeClr val="tx1"/>
                </a:solidFill>
                <a:latin typeface="Arial" charset="0"/>
                <a:ea typeface="+mn-ea"/>
                <a:cs typeface="Arial" charset="0"/>
              </a:defRPr>
            </a:lvl6pPr>
            <a:lvl7pPr marL="2743200" algn="l" defTabSz="914400" rtl="0" eaLnBrk="1" latinLnBrk="0" hangingPunct="1">
              <a:defRPr sz="2400" b="1" kern="1200">
                <a:solidFill>
                  <a:schemeClr val="tx1"/>
                </a:solidFill>
                <a:latin typeface="Arial" charset="0"/>
                <a:ea typeface="+mn-ea"/>
                <a:cs typeface="Arial" charset="0"/>
              </a:defRPr>
            </a:lvl7pPr>
            <a:lvl8pPr marL="3200400" algn="l" defTabSz="914400" rtl="0" eaLnBrk="1" latinLnBrk="0" hangingPunct="1">
              <a:defRPr sz="2400" b="1" kern="1200">
                <a:solidFill>
                  <a:schemeClr val="tx1"/>
                </a:solidFill>
                <a:latin typeface="Arial" charset="0"/>
                <a:ea typeface="+mn-ea"/>
                <a:cs typeface="Arial" charset="0"/>
              </a:defRPr>
            </a:lvl8pPr>
            <a:lvl9pPr marL="3657600" algn="l" defTabSz="914400" rtl="0" eaLnBrk="1" latinLnBrk="0" hangingPunct="1">
              <a:defRPr sz="2400" b="1" kern="1200">
                <a:solidFill>
                  <a:schemeClr val="tx1"/>
                </a:solidFill>
                <a:latin typeface="Arial" charset="0"/>
                <a:ea typeface="+mn-ea"/>
                <a:cs typeface="Arial" charset="0"/>
              </a:defRPr>
            </a:lvl9pPr>
          </a:lstStyle>
          <a:p>
            <a:pPr eaLnBrk="1" fontAlgn="auto" hangingPunct="1">
              <a:spcBef>
                <a:spcPts val="0"/>
              </a:spcBef>
              <a:spcAft>
                <a:spcPts val="0"/>
              </a:spcAft>
              <a:defRPr/>
            </a:pPr>
            <a:fld id="{84ADEA5E-D855-46E6-A607-27446C644854}" type="slidenum">
              <a:rPr lang="en-US" sz="3200" b="0" dirty="0">
                <a:solidFill>
                  <a:srgbClr val="FFFFFF"/>
                </a:solidFill>
                <a:latin typeface="Arial"/>
                <a:cs typeface="ＭＳ Ｐゴシック"/>
              </a:rPr>
              <a:pPr eaLnBrk="1" fontAlgn="auto" hangingPunct="1">
                <a:spcBef>
                  <a:spcPts val="0"/>
                </a:spcBef>
                <a:spcAft>
                  <a:spcPts val="0"/>
                </a:spcAft>
                <a:defRPr/>
              </a:pPr>
              <a:t>‹#›</a:t>
            </a:fld>
            <a:r>
              <a:rPr lang="en-US" sz="3200" b="0" i="1" dirty="0">
                <a:solidFill>
                  <a:srgbClr val="FFFFFF"/>
                </a:solidFill>
                <a:latin typeface="Arial"/>
                <a:cs typeface="ＭＳ Ｐゴシック"/>
              </a:rPr>
              <a:t>
              </a:t>
            </a:r>
          </a:p>
        </p:txBody>
      </p:sp>
      <p:sp>
        <p:nvSpPr>
          <p:cNvPr id="8"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7"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6:9 Arup Single Object">
    <p:spTree>
      <p:nvGrpSpPr>
        <p:cNvPr id="1" name=""/>
        <p:cNvGrpSpPr/>
        <p:nvPr/>
      </p:nvGrpSpPr>
      <p:grpSpPr>
        <a:xfrm>
          <a:off x="0" y="0"/>
          <a:ext cx="0" cy="0"/>
          <a:chOff x="0" y="0"/>
          <a:chExt cx="0" cy="0"/>
        </a:xfrm>
      </p:grpSpPr>
      <p:sp>
        <p:nvSpPr>
          <p:cNvPr id="7" name="Content Placeholder 7"/>
          <p:cNvSpPr>
            <a:spLocks noGrp="1"/>
          </p:cNvSpPr>
          <p:nvPr>
            <p:ph sz="quarter" idx="10" hasCustomPrompt="1"/>
          </p:nvPr>
        </p:nvSpPr>
        <p:spPr>
          <a:xfrm>
            <a:off x="460800" y="190508"/>
            <a:ext cx="11443333" cy="5590761"/>
          </a:xfrm>
          <a:prstGeom prst="rect">
            <a:avLst/>
          </a:prstGeom>
        </p:spPr>
        <p:txBody>
          <a:bodyPr lIns="0" tIns="0" rIns="0" bIns="0">
            <a:noAutofit/>
          </a:bodyPr>
          <a:lstStyle>
            <a:lvl1pPr marL="0" indent="0">
              <a:lnSpc>
                <a:spcPts val="3467"/>
              </a:lnSpc>
              <a:spcBef>
                <a:spcPts val="0"/>
              </a:spcBef>
              <a:buFontTx/>
              <a:buNone/>
              <a:defRPr baseline="0">
                <a:latin typeface="Times New Roman"/>
                <a:cs typeface="Times New Roman"/>
              </a:defRPr>
            </a:lvl1pPr>
          </a:lstStyle>
          <a:p>
            <a:pPr lvl="0"/>
            <a:r>
              <a:rPr lang="en-US" dirty="0"/>
              <a:t>Use this layout for tables, charts/graphs images and multimedia by clicking on the icons below.</a:t>
            </a:r>
          </a:p>
          <a:p>
            <a:pPr lvl="0"/>
            <a:r>
              <a:rPr lang="en-US" dirty="0"/>
              <a:t>For a bullet slide with text, from the ‘Home’ menu choose:</a:t>
            </a:r>
          </a:p>
          <a:p>
            <a:pPr lvl="0"/>
            <a:r>
              <a:rPr lang="en-US" dirty="0"/>
              <a:t>New slide | Arup Bullet Layout</a:t>
            </a:r>
          </a:p>
          <a:p>
            <a:pPr lvl="0"/>
            <a:r>
              <a:rPr lang="en-US" dirty="0"/>
              <a:t>Do not use this layout for text.</a:t>
            </a:r>
          </a:p>
        </p:txBody>
      </p:sp>
      <p:sp>
        <p:nvSpPr>
          <p:cNvPr id="6" name="Text Placeholder 2"/>
          <p:cNvSpPr>
            <a:spLocks noGrp="1"/>
          </p:cNvSpPr>
          <p:nvPr>
            <p:ph type="body" sz="quarter" idx="13" hasCustomPrompt="1"/>
          </p:nvPr>
        </p:nvSpPr>
        <p:spPr>
          <a:xfrm>
            <a:off x="463067" y="5781264"/>
            <a:ext cx="7794668" cy="268771"/>
          </a:xfrm>
          <a:prstGeom prst="rect">
            <a:avLst/>
          </a:prstGeom>
        </p:spPr>
        <p:txBody>
          <a:bodyPr vert="horz" wrap="square" lIns="0" tIns="36000" rIns="0" bIns="36000">
            <a:noAutofit/>
          </a:bodyPr>
          <a:lstStyle>
            <a:lvl1pPr marL="0" indent="0" algn="l">
              <a:lnSpc>
                <a:spcPts val="1600"/>
              </a:lnSpc>
              <a:spcBef>
                <a:spcPts val="0"/>
              </a:spcBef>
              <a:buNone/>
              <a:defRPr sz="1333">
                <a:latin typeface="Times New Roman"/>
                <a:cs typeface="Times New Roman"/>
              </a:defRPr>
            </a:lvl1pPr>
            <a:lvl2pPr>
              <a:defRPr sz="800"/>
            </a:lvl2pPr>
            <a:lvl3pPr>
              <a:defRPr sz="800"/>
            </a:lvl3pPr>
            <a:lvl4pPr>
              <a:defRPr sz="800"/>
            </a:lvl4pPr>
            <a:lvl5pPr>
              <a:defRPr sz="800"/>
            </a:lvl5pPr>
          </a:lstStyle>
          <a:p>
            <a:r>
              <a:rPr lang="en-US" sz="1333" dirty="0"/>
              <a:t>Caption</a:t>
            </a:r>
            <a:endParaRPr lang="en-US" sz="800" dirty="0"/>
          </a:p>
        </p:txBody>
      </p:sp>
      <p:sp>
        <p:nvSpPr>
          <p:cNvPr id="11" name="Text Placeholder 2"/>
          <p:cNvSpPr>
            <a:spLocks noGrp="1"/>
          </p:cNvSpPr>
          <p:nvPr>
            <p:ph type="body" sz="quarter" idx="17" hasCustomPrompt="1"/>
          </p:nvPr>
        </p:nvSpPr>
        <p:spPr>
          <a:xfrm>
            <a:off x="8626583" y="5810008"/>
            <a:ext cx="3277550" cy="240027"/>
          </a:xfrm>
          <a:prstGeom prst="rect">
            <a:avLst/>
          </a:prstGeom>
        </p:spPr>
        <p:txBody>
          <a:bodyPr vert="horz" lIns="0" rIns="0">
            <a:noAutofit/>
          </a:bodyPr>
          <a:lstStyle>
            <a:lvl1pPr marL="0" indent="0" algn="r">
              <a:lnSpc>
                <a:spcPts val="1067"/>
              </a:lnSpc>
              <a:spcBef>
                <a:spcPts val="0"/>
              </a:spcBef>
              <a:buNone/>
              <a:defRPr sz="800">
                <a:latin typeface="Times New Roman"/>
                <a:cs typeface="Times New Roman"/>
              </a:defRPr>
            </a:lvl1pPr>
            <a:lvl2pPr>
              <a:defRPr sz="800"/>
            </a:lvl2pPr>
            <a:lvl3pPr>
              <a:defRPr sz="800"/>
            </a:lvl3pPr>
            <a:lvl4pPr>
              <a:defRPr sz="800"/>
            </a:lvl4pPr>
            <a:lvl5pPr>
              <a:defRPr sz="800"/>
            </a:lvl5pPr>
          </a:lstStyle>
          <a:p>
            <a:r>
              <a:rPr lang="en-US" sz="800" dirty="0"/>
              <a:t>© Image Copyright</a:t>
            </a:r>
          </a:p>
        </p:txBody>
      </p:sp>
      <p:sp>
        <p:nvSpPr>
          <p:cNvPr id="9" name="Text Placeholder 3"/>
          <p:cNvSpPr>
            <a:spLocks noGrp="1"/>
          </p:cNvSpPr>
          <p:nvPr>
            <p:ph type="body" sz="quarter" idx="33" hasCustomPrompt="1"/>
          </p:nvPr>
        </p:nvSpPr>
        <p:spPr>
          <a:xfrm>
            <a:off x="528000" y="6258000"/>
            <a:ext cx="10080000" cy="600000"/>
          </a:xfrm>
          <a:prstGeom prst="rect">
            <a:avLst/>
          </a:prstGeom>
        </p:spPr>
        <p:txBody>
          <a:bodyPr vert="horz" wrap="square" lIns="0" tIns="93600" rIns="0" bIns="0">
            <a:noAutofit/>
          </a:bodyPr>
          <a:lstStyle>
            <a:lvl1pPr marL="0" marR="0" indent="0" algn="l" defTabSz="1197317" rtl="0" eaLnBrk="1" fontAlgn="auto" latinLnBrk="0" hangingPunct="1">
              <a:lnSpc>
                <a:spcPts val="2400"/>
              </a:lnSpc>
              <a:spcBef>
                <a:spcPts val="0"/>
              </a:spcBef>
              <a:spcAft>
                <a:spcPts val="0"/>
              </a:spcAft>
              <a:buClrTx/>
              <a:buSzTx/>
              <a:buFont typeface="Arial" pitchFamily="34" charset="0"/>
              <a:buNone/>
              <a:tabLst/>
              <a:defRPr sz="2133" b="0" i="0" baseline="0">
                <a:solidFill>
                  <a:schemeClr val="bg1"/>
                </a:solidFill>
                <a:latin typeface="Times New Roman"/>
                <a:cs typeface="Times New Roman"/>
              </a:defRPr>
            </a:lvl1pPr>
          </a:lstStyle>
          <a:p>
            <a:r>
              <a:rPr lang="en-US" sz="2133" baseline="0" dirty="0"/>
              <a:t>Footer title</a:t>
            </a:r>
            <a:endParaRPr lang="en-US" sz="2400" baseline="0" dirty="0"/>
          </a:p>
        </p:txBody>
      </p:sp>
      <p:sp>
        <p:nvSpPr>
          <p:cNvPr id="10" name="Slide Number Placeholder 14"/>
          <p:cNvSpPr txBox="1"/>
          <p:nvPr/>
        </p:nvSpPr>
        <p:spPr>
          <a:xfrm>
            <a:off x="0" y="6258000"/>
            <a:ext cx="383117" cy="600000"/>
          </a:xfrm>
          <a:prstGeom prst="rect">
            <a:avLst/>
          </a:prstGeom>
        </p:spPr>
        <p:txBody>
          <a:bodyPr lIns="0" tIns="93600" rIns="0" bIns="0" anchor="ctr" anchorCtr="0"/>
          <a:lstStyle>
            <a:defPPr>
              <a:defRPr lang="en-US"/>
            </a:defPPr>
            <a:lvl1pPr marL="0" algn="l" defTabSz="898010" rtl="0" eaLnBrk="1" latinLnBrk="0" hangingPunct="1">
              <a:defRPr sz="1800" kern="1200">
                <a:solidFill>
                  <a:schemeClr val="tx1"/>
                </a:solidFill>
                <a:latin typeface="+mn-lt"/>
                <a:ea typeface="+mn-ea"/>
                <a:cs typeface="+mn-cs"/>
              </a:defRPr>
            </a:lvl1pPr>
            <a:lvl2pPr marL="449005" algn="l" defTabSz="898010" rtl="0" eaLnBrk="1" latinLnBrk="0" hangingPunct="1">
              <a:defRPr sz="1800" kern="1200">
                <a:solidFill>
                  <a:schemeClr val="tx1"/>
                </a:solidFill>
                <a:latin typeface="+mn-lt"/>
                <a:ea typeface="+mn-ea"/>
                <a:cs typeface="+mn-cs"/>
              </a:defRPr>
            </a:lvl2pPr>
            <a:lvl3pPr marL="898010" algn="l" defTabSz="898010" rtl="0" eaLnBrk="1" latinLnBrk="0" hangingPunct="1">
              <a:defRPr sz="1800" kern="1200">
                <a:solidFill>
                  <a:schemeClr val="tx1"/>
                </a:solidFill>
                <a:latin typeface="+mn-lt"/>
                <a:ea typeface="+mn-ea"/>
                <a:cs typeface="+mn-cs"/>
              </a:defRPr>
            </a:lvl3pPr>
            <a:lvl4pPr marL="1347015" algn="l" defTabSz="898010" rtl="0" eaLnBrk="1" latinLnBrk="0" hangingPunct="1">
              <a:defRPr sz="1800" kern="1200">
                <a:solidFill>
                  <a:schemeClr val="tx1"/>
                </a:solidFill>
                <a:latin typeface="+mn-lt"/>
                <a:ea typeface="+mn-ea"/>
                <a:cs typeface="+mn-cs"/>
              </a:defRPr>
            </a:lvl4pPr>
            <a:lvl5pPr marL="1796019" algn="l" defTabSz="898010" rtl="0" eaLnBrk="1" latinLnBrk="0" hangingPunct="1">
              <a:defRPr sz="1800" kern="1200">
                <a:solidFill>
                  <a:schemeClr val="tx1"/>
                </a:solidFill>
                <a:latin typeface="+mn-lt"/>
                <a:ea typeface="+mn-ea"/>
                <a:cs typeface="+mn-cs"/>
              </a:defRPr>
            </a:lvl5pPr>
            <a:lvl6pPr marL="2245024" algn="l" defTabSz="898010" rtl="0" eaLnBrk="1" latinLnBrk="0" hangingPunct="1">
              <a:defRPr sz="1800" kern="1200">
                <a:solidFill>
                  <a:schemeClr val="tx1"/>
                </a:solidFill>
                <a:latin typeface="+mn-lt"/>
                <a:ea typeface="+mn-ea"/>
                <a:cs typeface="+mn-cs"/>
              </a:defRPr>
            </a:lvl6pPr>
            <a:lvl7pPr marL="2694029" algn="l" defTabSz="898010" rtl="0" eaLnBrk="1" latinLnBrk="0" hangingPunct="1">
              <a:defRPr sz="1800" kern="1200">
                <a:solidFill>
                  <a:schemeClr val="tx1"/>
                </a:solidFill>
                <a:latin typeface="+mn-lt"/>
                <a:ea typeface="+mn-ea"/>
                <a:cs typeface="+mn-cs"/>
              </a:defRPr>
            </a:lvl7pPr>
            <a:lvl8pPr marL="3143034" algn="l" defTabSz="898010" rtl="0" eaLnBrk="1" latinLnBrk="0" hangingPunct="1">
              <a:defRPr sz="1800" kern="1200">
                <a:solidFill>
                  <a:schemeClr val="tx1"/>
                </a:solidFill>
                <a:latin typeface="+mn-lt"/>
                <a:ea typeface="+mn-ea"/>
                <a:cs typeface="+mn-cs"/>
              </a:defRPr>
            </a:lvl8pPr>
            <a:lvl9pPr marL="3592038" algn="l" defTabSz="898010" rtl="0" eaLnBrk="1" latinLnBrk="0" hangingPunct="1">
              <a:defRPr sz="1800" kern="1200">
                <a:solidFill>
                  <a:schemeClr val="tx1"/>
                </a:solidFill>
                <a:latin typeface="+mn-lt"/>
                <a:ea typeface="+mn-ea"/>
                <a:cs typeface="+mn-cs"/>
              </a:defRPr>
            </a:lvl9pPr>
          </a:lstStyle>
          <a:p>
            <a:pPr algn="ctr" eaLnBrk="1" fontAlgn="auto" hangingPunct="1">
              <a:lnSpc>
                <a:spcPts val="1333"/>
              </a:lnSpc>
              <a:spcBef>
                <a:spcPts val="0"/>
              </a:spcBef>
              <a:spcAft>
                <a:spcPts val="0"/>
              </a:spcAft>
              <a:defRPr/>
            </a:pPr>
            <a:fld id="{84ADEA5E-D855-46E6-A607-27446C644854}" type="slidenum">
              <a:rPr lang="en-US" sz="1067" b="0" dirty="0">
                <a:solidFill>
                  <a:srgbClr val="FFFFFF"/>
                </a:solidFill>
                <a:latin typeface="Arial"/>
                <a:cs typeface="ＭＳ Ｐゴシック"/>
              </a:rPr>
              <a:pPr algn="ctr" eaLnBrk="1" fontAlgn="auto" hangingPunct="1">
                <a:lnSpc>
                  <a:spcPts val="1333"/>
                </a:lnSpc>
                <a:spcBef>
                  <a:spcPts val="0"/>
                </a:spcBef>
                <a:spcAft>
                  <a:spcPts val="0"/>
                </a:spcAft>
                <a:defRPr/>
              </a:pPr>
              <a:t>‹#›</a:t>
            </a:fld>
            <a:r>
              <a:rPr lang="en-US" sz="1067" b="0" dirty="0">
                <a:solidFill>
                  <a:srgbClr val="FFFFFF"/>
                </a:solidFill>
                <a:latin typeface="Arial"/>
                <a:cs typeface="ＭＳ Ｐゴシック"/>
              </a:rPr>
              <a:t>
              </a:t>
            </a:r>
            <a:endParaRPr lang="en-US" sz="1067" b="0" i="1" dirty="0">
              <a:solidFill>
                <a:srgbClr val="FFFFFF"/>
              </a:solidFill>
              <a:latin typeface="Arial"/>
              <a:cs typeface="ＭＳ Ｐゴシック"/>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p:nvSpPr>
        <p:spPr>
          <a:xfrm>
            <a:off x="-677" y="6246997"/>
            <a:ext cx="12192000" cy="624000"/>
          </a:xfrm>
          <a:prstGeom prst="rect">
            <a:avLst/>
          </a:prstGeom>
          <a:solidFill>
            <a:schemeClr val="accent2"/>
          </a:solidFill>
          <a:ln>
            <a:noFill/>
          </a:ln>
          <a:effectLst/>
        </p:spPr>
        <p:style>
          <a:lnRef idx="2">
            <a:schemeClr val="accent2">
              <a:shade val="50000"/>
            </a:schemeClr>
          </a:lnRef>
          <a:fillRef idx="1">
            <a:schemeClr val="accent2"/>
          </a:fillRef>
          <a:effectRef idx="0">
            <a:schemeClr val="accent2"/>
          </a:effectRef>
          <a:fontRef idx="minor">
            <a:schemeClr val="lt1"/>
          </a:fontRef>
        </p:style>
      </p:sp>
      <p:pic>
        <p:nvPicPr>
          <p:cNvPr id="3" name="Picture 2"/>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11092999" y="6405363"/>
            <a:ext cx="859663" cy="288000"/>
          </a:xfrm>
          <a:prstGeom prst="rect">
            <a:avLst/>
          </a:prstGeom>
        </p:spPr>
      </p:pic>
    </p:spTree>
  </p:cSld>
  <p:clrMap bg1="lt1" tx1="dk1" bg2="lt2" tx2="dk2" accent1="accent1" accent2="accent2" accent3="accent3" accent4="accent4" accent5="accent5" accent6="accent6" hlink="hlink" folHlink="folHlink"/>
  <p:sldLayoutIdLst>
    <p:sldLayoutId id="2147483681"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2" r:id="rId22"/>
    <p:sldLayoutId id="2147483683"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indent="0" algn="l" defTabSz="1197317" rtl="0" eaLnBrk="1" latinLnBrk="0" hangingPunct="1">
        <a:lnSpc>
          <a:spcPct val="85000"/>
        </a:lnSpc>
        <a:spcBef>
          <a:spcPts val="261"/>
        </a:spcBef>
        <a:buNone/>
        <a:defRPr sz="5200" kern="1200">
          <a:solidFill>
            <a:schemeClr val="tx1"/>
          </a:solidFill>
          <a:latin typeface="+mn-lt"/>
          <a:ea typeface="+mj-ea"/>
          <a:cs typeface="+mj-cs"/>
        </a:defRPr>
      </a:lvl1pPr>
    </p:titleStyle>
    <p:bodyStyle>
      <a:lvl1pPr marL="236969" indent="-236969" algn="l" defTabSz="1197317" rtl="0" eaLnBrk="1" latinLnBrk="0" hangingPunct="1">
        <a:lnSpc>
          <a:spcPct val="85000"/>
        </a:lnSpc>
        <a:spcBef>
          <a:spcPts val="261"/>
        </a:spcBef>
        <a:buFont typeface="Arial" pitchFamily="34" charset="0"/>
        <a:buChar char="•"/>
        <a:defRPr sz="3200" kern="1200">
          <a:solidFill>
            <a:schemeClr val="tx1"/>
          </a:solidFill>
          <a:latin typeface="+mj-lt"/>
          <a:ea typeface="+mn-ea"/>
          <a:cs typeface="+mn-cs"/>
        </a:defRPr>
      </a:lvl1pPr>
      <a:lvl2pPr marL="473937" indent="-236969" algn="l" defTabSz="1197317" rtl="0" eaLnBrk="1" latinLnBrk="0" hangingPunct="1">
        <a:lnSpc>
          <a:spcPct val="85000"/>
        </a:lnSpc>
        <a:spcBef>
          <a:spcPts val="261"/>
        </a:spcBef>
        <a:buFont typeface="Arial" pitchFamily="34" charset="0"/>
        <a:buChar char="•"/>
        <a:defRPr sz="2667" kern="1200">
          <a:solidFill>
            <a:schemeClr val="tx1"/>
          </a:solidFill>
          <a:latin typeface="+mj-lt"/>
          <a:ea typeface="+mn-ea"/>
          <a:cs typeface="+mn-cs"/>
        </a:defRPr>
      </a:lvl2pPr>
      <a:lvl3pPr marL="710906" indent="-236969" algn="l" defTabSz="1197317" rtl="0" eaLnBrk="1" latinLnBrk="0" hangingPunct="1">
        <a:lnSpc>
          <a:spcPct val="85000"/>
        </a:lnSpc>
        <a:spcBef>
          <a:spcPts val="261"/>
        </a:spcBef>
        <a:buFont typeface="Arial" pitchFamily="34" charset="0"/>
        <a:buChar char="•"/>
        <a:defRPr sz="2400" kern="1200">
          <a:solidFill>
            <a:schemeClr val="tx1"/>
          </a:solidFill>
          <a:latin typeface="+mj-lt"/>
          <a:ea typeface="+mn-ea"/>
          <a:cs typeface="+mn-cs"/>
        </a:defRPr>
      </a:lvl3pPr>
      <a:lvl4pPr marL="935403"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4pPr>
      <a:lvl5pPr marL="1172372"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5pPr>
      <a:lvl6pPr marL="3292619"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891277"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489936"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088594"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197317" rtl="0" eaLnBrk="1" latinLnBrk="0" hangingPunct="1">
        <a:defRPr sz="2400" kern="1200">
          <a:solidFill>
            <a:schemeClr val="tx1"/>
          </a:solidFill>
          <a:latin typeface="+mn-lt"/>
          <a:ea typeface="+mn-ea"/>
          <a:cs typeface="+mn-cs"/>
        </a:defRPr>
      </a:lvl1pPr>
      <a:lvl2pPr marL="598658" algn="l" defTabSz="1197317" rtl="0" eaLnBrk="1" latinLnBrk="0" hangingPunct="1">
        <a:defRPr sz="2400" kern="1200">
          <a:solidFill>
            <a:schemeClr val="tx1"/>
          </a:solidFill>
          <a:latin typeface="+mn-lt"/>
          <a:ea typeface="+mn-ea"/>
          <a:cs typeface="+mn-cs"/>
        </a:defRPr>
      </a:lvl2pPr>
      <a:lvl3pPr marL="1197317" algn="l" defTabSz="1197317" rtl="0" eaLnBrk="1" latinLnBrk="0" hangingPunct="1">
        <a:defRPr sz="2400" kern="1200">
          <a:solidFill>
            <a:schemeClr val="tx1"/>
          </a:solidFill>
          <a:latin typeface="+mn-lt"/>
          <a:ea typeface="+mn-ea"/>
          <a:cs typeface="+mn-cs"/>
        </a:defRPr>
      </a:lvl3pPr>
      <a:lvl4pPr marL="1795975" algn="l" defTabSz="1197317" rtl="0" eaLnBrk="1" latinLnBrk="0" hangingPunct="1">
        <a:defRPr sz="2400" kern="1200">
          <a:solidFill>
            <a:schemeClr val="tx1"/>
          </a:solidFill>
          <a:latin typeface="+mn-lt"/>
          <a:ea typeface="+mn-ea"/>
          <a:cs typeface="+mn-cs"/>
        </a:defRPr>
      </a:lvl4pPr>
      <a:lvl5pPr marL="2394632" algn="l" defTabSz="1197317" rtl="0" eaLnBrk="1" latinLnBrk="0" hangingPunct="1">
        <a:defRPr sz="2400" kern="1200">
          <a:solidFill>
            <a:schemeClr val="tx1"/>
          </a:solidFill>
          <a:latin typeface="+mn-lt"/>
          <a:ea typeface="+mn-ea"/>
          <a:cs typeface="+mn-cs"/>
        </a:defRPr>
      </a:lvl5pPr>
      <a:lvl6pPr marL="2993290" algn="l" defTabSz="1197317" rtl="0" eaLnBrk="1" latinLnBrk="0" hangingPunct="1">
        <a:defRPr sz="2400" kern="1200">
          <a:solidFill>
            <a:schemeClr val="tx1"/>
          </a:solidFill>
          <a:latin typeface="+mn-lt"/>
          <a:ea typeface="+mn-ea"/>
          <a:cs typeface="+mn-cs"/>
        </a:defRPr>
      </a:lvl6pPr>
      <a:lvl7pPr marL="3591949" algn="l" defTabSz="1197317" rtl="0" eaLnBrk="1" latinLnBrk="0" hangingPunct="1">
        <a:defRPr sz="2400" kern="1200">
          <a:solidFill>
            <a:schemeClr val="tx1"/>
          </a:solidFill>
          <a:latin typeface="+mn-lt"/>
          <a:ea typeface="+mn-ea"/>
          <a:cs typeface="+mn-cs"/>
        </a:defRPr>
      </a:lvl7pPr>
      <a:lvl8pPr marL="4190607" algn="l" defTabSz="1197317" rtl="0" eaLnBrk="1" latinLnBrk="0" hangingPunct="1">
        <a:defRPr sz="2400" kern="1200">
          <a:solidFill>
            <a:schemeClr val="tx1"/>
          </a:solidFill>
          <a:latin typeface="+mn-lt"/>
          <a:ea typeface="+mn-ea"/>
          <a:cs typeface="+mn-cs"/>
        </a:defRPr>
      </a:lvl8pPr>
      <a:lvl9pPr marL="4789264" algn="l" defTabSz="1197317"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4.png"/><Relationship Id="rId4" Type="http://schemas.microsoft.com/office/2007/relationships/hdphoto" Target="../media/hdphoto2.wdp"/></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39.tif"/><Relationship Id="rId3" Type="http://schemas.openxmlformats.org/officeDocument/2006/relationships/image" Target="../media/image34.jpeg"/><Relationship Id="rId7" Type="http://schemas.openxmlformats.org/officeDocument/2006/relationships/image" Target="../media/image38.tif"/><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37.tif"/><Relationship Id="rId5" Type="http://schemas.openxmlformats.org/officeDocument/2006/relationships/image" Target="../media/image36.jpg"/><Relationship Id="rId4" Type="http://schemas.openxmlformats.org/officeDocument/2006/relationships/image" Target="../media/image35.jpe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1.jpg"/><Relationship Id="rId5" Type="http://schemas.openxmlformats.org/officeDocument/2006/relationships/image" Target="../media/image10.jpg"/><Relationship Id="rId4" Type="http://schemas.openxmlformats.org/officeDocument/2006/relationships/image" Target="../media/image9.JPG"/></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1.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46.jp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14.xml"/><Relationship Id="rId3" Type="http://schemas.openxmlformats.org/officeDocument/2006/relationships/diagramData" Target="../diagrams/data13.xml"/><Relationship Id="rId7" Type="http://schemas.microsoft.com/office/2007/relationships/diagramDrawing" Target="../diagrams/drawing13.xml"/><Relationship Id="rId12" Type="http://schemas.microsoft.com/office/2007/relationships/diagramDrawing" Target="../diagrams/drawing14.xml"/><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diagramColors" Target="../diagrams/colors13.xml"/><Relationship Id="rId11" Type="http://schemas.openxmlformats.org/officeDocument/2006/relationships/diagramColors" Target="../diagrams/colors14.xml"/><Relationship Id="rId5" Type="http://schemas.openxmlformats.org/officeDocument/2006/relationships/diagramQuickStyle" Target="../diagrams/quickStyle13.xml"/><Relationship Id="rId10" Type="http://schemas.openxmlformats.org/officeDocument/2006/relationships/diagramQuickStyle" Target="../diagrams/quickStyle14.xml"/><Relationship Id="rId4" Type="http://schemas.openxmlformats.org/officeDocument/2006/relationships/diagramLayout" Target="../diagrams/layout13.xml"/><Relationship Id="rId9" Type="http://schemas.openxmlformats.org/officeDocument/2006/relationships/diagramLayout" Target="../diagrams/layout14.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7.xml"/><Relationship Id="rId1" Type="http://schemas.openxmlformats.org/officeDocument/2006/relationships/slideLayout" Target="../slideLayouts/slideLayout1.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29.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3.jpg"/></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20.xml"/><Relationship Id="rId3" Type="http://schemas.openxmlformats.org/officeDocument/2006/relationships/diagramLayout" Target="../diagrams/layout19.xml"/><Relationship Id="rId7" Type="http://schemas.openxmlformats.org/officeDocument/2006/relationships/diagramData" Target="../diagrams/data20.xml"/><Relationship Id="rId2" Type="http://schemas.openxmlformats.org/officeDocument/2006/relationships/diagramData" Target="../diagrams/data19.xml"/><Relationship Id="rId1" Type="http://schemas.openxmlformats.org/officeDocument/2006/relationships/slideLayout" Target="../slideLayouts/slideLayout1.xml"/><Relationship Id="rId6" Type="http://schemas.microsoft.com/office/2007/relationships/diagramDrawing" Target="../diagrams/drawing19.xml"/><Relationship Id="rId11" Type="http://schemas.microsoft.com/office/2007/relationships/diagramDrawing" Target="../diagrams/drawing20.xml"/><Relationship Id="rId5" Type="http://schemas.openxmlformats.org/officeDocument/2006/relationships/diagramColors" Target="../diagrams/colors19.xml"/><Relationship Id="rId10" Type="http://schemas.openxmlformats.org/officeDocument/2006/relationships/diagramColors" Target="../diagrams/colors20.xml"/><Relationship Id="rId4" Type="http://schemas.openxmlformats.org/officeDocument/2006/relationships/diagramQuickStyle" Target="../diagrams/quickStyle19.xml"/><Relationship Id="rId9" Type="http://schemas.openxmlformats.org/officeDocument/2006/relationships/diagramQuickStyle" Target="../diagrams/quickStyle20.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21.xml"/><Relationship Id="rId2" Type="http://schemas.openxmlformats.org/officeDocument/2006/relationships/diagramData" Target="../diagrams/data21.xml"/><Relationship Id="rId1" Type="http://schemas.openxmlformats.org/officeDocument/2006/relationships/slideLayout" Target="../slideLayouts/slideLayout1.xml"/><Relationship Id="rId6" Type="http://schemas.microsoft.com/office/2007/relationships/diagramDrawing" Target="../diagrams/drawing21.xml"/><Relationship Id="rId5" Type="http://schemas.openxmlformats.org/officeDocument/2006/relationships/diagramColors" Target="../diagrams/colors21.xml"/><Relationship Id="rId4" Type="http://schemas.openxmlformats.org/officeDocument/2006/relationships/diagramQuickStyle" Target="../diagrams/quickStyle21.xml"/></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3.xml"/><Relationship Id="rId1" Type="http://schemas.openxmlformats.org/officeDocument/2006/relationships/slideLayout" Target="../slideLayouts/slideLayout3.xml"/><Relationship Id="rId5" Type="http://schemas.openxmlformats.org/officeDocument/2006/relationships/image" Target="../media/image4.png"/><Relationship Id="rId4" Type="http://schemas.microsoft.com/office/2007/relationships/hdphoto" Target="../media/hdphoto2.wdp"/></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15"/>
          <p:cNvPicPr/>
          <p:nvPr/>
        </p:nvPicPr>
        <p:blipFill rotWithShape="1">
          <a:blip r:embed="rId3">
            <a:extLst>
              <a:ext uri="{BEBA8EAE-BF5A-486C-A8C5-ECC9F3942E4B}">
                <a14:imgProps xmlns:a14="http://schemas.microsoft.com/office/drawing/2010/main">
                  <a14:imgLayer r:embed="rId4">
                    <a14:imgEffect>
                      <a14:colorTemperature colorTemp="8000"/>
                    </a14:imgEffect>
                    <a14:imgEffect>
                      <a14:saturation sat="110000"/>
                    </a14:imgEffect>
                    <a14:imgEffect>
                      <a14:brightnessContrast bright="9000" contrast="14000"/>
                    </a14:imgEffect>
                  </a14:imgLayer>
                </a14:imgProps>
              </a:ext>
            </a:extLst>
          </a:blip>
          <a:srcRect l="1139" t="5938" r="-754" b="14148"/>
          <a:stretch/>
        </p:blipFill>
        <p:spPr>
          <a:xfrm>
            <a:off x="1" y="0"/>
            <a:ext cx="12279086" cy="6261464"/>
          </a:xfrm>
          <a:prstGeom prst="rect">
            <a:avLst/>
          </a:prstGeom>
        </p:spPr>
      </p:pic>
      <p:sp>
        <p:nvSpPr>
          <p:cNvPr id="2" name="Title 1"/>
          <p:cNvSpPr>
            <a:spLocks noGrp="1"/>
          </p:cNvSpPr>
          <p:nvPr>
            <p:ph type="title"/>
          </p:nvPr>
        </p:nvSpPr>
        <p:spPr>
          <a:xfrm>
            <a:off x="388962" y="248768"/>
            <a:ext cx="6898942" cy="1133618"/>
          </a:xfrm>
        </p:spPr>
        <p:txBody>
          <a:bodyPr/>
          <a:lstStyle/>
          <a:p>
            <a:r>
              <a:rPr lang="en-US" b="1" dirty="0">
                <a:solidFill>
                  <a:srgbClr val="002060"/>
                </a:solidFill>
              </a:rPr>
              <a:t>Incorporating Climate Risk into Performance-Based Contracting</a:t>
            </a:r>
          </a:p>
        </p:txBody>
      </p:sp>
      <p:sp>
        <p:nvSpPr>
          <p:cNvPr id="3" name="Text Placeholder 2"/>
          <p:cNvSpPr>
            <a:spLocks noGrp="1"/>
          </p:cNvSpPr>
          <p:nvPr>
            <p:ph type="body" sz="quarter" idx="10"/>
          </p:nvPr>
        </p:nvSpPr>
        <p:spPr>
          <a:xfrm>
            <a:off x="515583" y="5196497"/>
            <a:ext cx="11676417" cy="1064967"/>
          </a:xfrm>
        </p:spPr>
        <p:txBody>
          <a:bodyPr/>
          <a:lstStyle/>
          <a:p>
            <a:r>
              <a:rPr lang="en-GB" b="1" dirty="0" smtClean="0">
                <a:solidFill>
                  <a:srgbClr val="0070C0"/>
                </a:solidFill>
              </a:rPr>
              <a:t>Yana Waldman PE</a:t>
            </a:r>
            <a:endParaRPr lang="en-GB" b="1" dirty="0">
              <a:solidFill>
                <a:srgbClr val="0070C0"/>
              </a:solidFill>
            </a:endParaRPr>
          </a:p>
          <a:p>
            <a:r>
              <a:rPr lang="en-GB" b="1" dirty="0" smtClean="0">
                <a:solidFill>
                  <a:srgbClr val="0070C0"/>
                </a:solidFill>
              </a:rPr>
              <a:t>Resilient Engineering Consultant</a:t>
            </a:r>
          </a:p>
          <a:p>
            <a:r>
              <a:rPr lang="en-GB" b="1" dirty="0" smtClean="0">
                <a:solidFill>
                  <a:schemeClr val="accent2">
                    <a:lumMod val="50000"/>
                  </a:schemeClr>
                </a:solidFill>
              </a:rPr>
              <a:t>Infrastructure Advisory</a:t>
            </a:r>
            <a:endParaRPr lang="en-GB" b="1" dirty="0">
              <a:solidFill>
                <a:schemeClr val="accent2">
                  <a:lumMod val="50000"/>
                </a:schemeClr>
              </a:solidFill>
            </a:endParaRPr>
          </a:p>
        </p:txBody>
      </p:sp>
      <p:pic>
        <p:nvPicPr>
          <p:cNvPr id="4" name="Picture 3"/>
          <p:cNvPicPr>
            <a:picLocks noChangeAspect="1"/>
          </p:cNvPicPr>
          <p:nvPr/>
        </p:nvPicPr>
        <p:blipFill>
          <a:blip r:embed="rId5"/>
          <a:stretch>
            <a:fillRect/>
          </a:stretch>
        </p:blipFill>
        <p:spPr>
          <a:xfrm>
            <a:off x="8851207" y="6323014"/>
            <a:ext cx="2132572" cy="420052"/>
          </a:xfrm>
          <a:prstGeom prst="rect">
            <a:avLst/>
          </a:prstGeom>
        </p:spPr>
      </p:pic>
      <p:sp>
        <p:nvSpPr>
          <p:cNvPr id="8" name="TextBox 7"/>
          <p:cNvSpPr txBox="1"/>
          <p:nvPr/>
        </p:nvSpPr>
        <p:spPr>
          <a:xfrm>
            <a:off x="388962" y="6323014"/>
            <a:ext cx="2490716" cy="369332"/>
          </a:xfrm>
          <a:prstGeom prst="rect">
            <a:avLst/>
          </a:prstGeom>
          <a:noFill/>
        </p:spPr>
        <p:txBody>
          <a:bodyPr wrap="square" rtlCol="0">
            <a:spAutoFit/>
          </a:bodyPr>
          <a:lstStyle/>
          <a:p>
            <a:r>
              <a:rPr lang="en-US" b="1" dirty="0" smtClean="0">
                <a:solidFill>
                  <a:srgbClr val="002060"/>
                </a:solidFill>
              </a:rPr>
              <a:t>Houston TX, 2017</a:t>
            </a:r>
            <a:endParaRPr lang="en-US" b="1" dirty="0">
              <a:solidFill>
                <a:srgbClr val="002060"/>
              </a:solidFill>
            </a:endParaRPr>
          </a:p>
        </p:txBody>
      </p:sp>
    </p:spTree>
    <p:extLst>
      <p:ext uri="{BB962C8B-B14F-4D97-AF65-F5344CB8AC3E}">
        <p14:creationId xmlns:p14="http://schemas.microsoft.com/office/powerpoint/2010/main" val="165591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410877489"/>
              </p:ext>
            </p:extLst>
          </p:nvPr>
        </p:nvGraphicFramePr>
        <p:xfrm>
          <a:off x="4319954" y="1135064"/>
          <a:ext cx="7367639" cy="49259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dirty="0" smtClean="0"/>
              <a:t>Risk Identification </a:t>
            </a:r>
            <a:endParaRPr lang="en-US" dirty="0"/>
          </a:p>
        </p:txBody>
      </p:sp>
      <p:sp>
        <p:nvSpPr>
          <p:cNvPr id="4" name="Text Placeholder 3"/>
          <p:cNvSpPr>
            <a:spLocks noGrp="1"/>
          </p:cNvSpPr>
          <p:nvPr>
            <p:ph type="body" sz="quarter" idx="10"/>
          </p:nvPr>
        </p:nvSpPr>
        <p:spPr>
          <a:xfrm>
            <a:off x="468922" y="1238250"/>
            <a:ext cx="7100278" cy="4842510"/>
          </a:xfrm>
        </p:spPr>
        <p:txBody>
          <a:bodyPr/>
          <a:lstStyle/>
          <a:p>
            <a:pPr marL="0" indent="0">
              <a:buNone/>
            </a:pPr>
            <a:r>
              <a:rPr lang="en-US" b="1" dirty="0" smtClean="0"/>
              <a:t>1</a:t>
            </a:r>
            <a:r>
              <a:rPr lang="en-US" b="1" dirty="0"/>
              <a:t>. Criticality</a:t>
            </a:r>
          </a:p>
          <a:p>
            <a:pPr marL="342900" indent="-342900">
              <a:buFont typeface="+mj-lt"/>
              <a:buAutoNum type="arabicPeriod" startAt="2"/>
            </a:pPr>
            <a:endParaRPr lang="en-US" b="1" dirty="0"/>
          </a:p>
          <a:p>
            <a:pPr marL="0" indent="0">
              <a:buNone/>
            </a:pPr>
            <a:r>
              <a:rPr lang="en-US" dirty="0"/>
              <a:t>Determining the importance of the roadway based on usage and alternative pathways which may achieve the same desired result.</a:t>
            </a:r>
          </a:p>
          <a:p>
            <a:pPr marL="0" indent="0">
              <a:buNone/>
            </a:pPr>
            <a:r>
              <a:rPr lang="en-US" i="1" dirty="0"/>
              <a:t>Example: roadway is Vital as it links the only port in the country to all major </a:t>
            </a:r>
            <a:r>
              <a:rPr lang="en-US" i="1" dirty="0" smtClean="0"/>
              <a:t>cities</a:t>
            </a:r>
            <a:endParaRPr lang="en-US" b="1" dirty="0" smtClean="0"/>
          </a:p>
          <a:p>
            <a:pPr marL="0" indent="0">
              <a:buNone/>
            </a:pPr>
            <a:endParaRPr lang="en-US" b="1" dirty="0"/>
          </a:p>
          <a:p>
            <a:pPr marL="0" indent="0">
              <a:buNone/>
            </a:pPr>
            <a:r>
              <a:rPr lang="en-US" b="1" dirty="0" smtClean="0"/>
              <a:t>2.  Vulnerability</a:t>
            </a:r>
          </a:p>
          <a:p>
            <a:pPr marL="342900" indent="-342900">
              <a:buFont typeface="+mj-lt"/>
              <a:buAutoNum type="arabicPeriod"/>
            </a:pPr>
            <a:endParaRPr lang="en-US" b="1" dirty="0" smtClean="0"/>
          </a:p>
          <a:p>
            <a:pPr marL="0" indent="0">
              <a:buNone/>
            </a:pPr>
            <a:r>
              <a:rPr lang="en-US" dirty="0" smtClean="0"/>
              <a:t>Determining the susceptibility of the roadway to climate change in the future based on physical qualities and condition assets.</a:t>
            </a:r>
            <a:endParaRPr lang="en-US" b="1" dirty="0" smtClean="0"/>
          </a:p>
          <a:p>
            <a:pPr marL="0" indent="0">
              <a:buNone/>
            </a:pPr>
            <a:r>
              <a:rPr lang="en-US" i="1" dirty="0" smtClean="0"/>
              <a:t>Example: roadway is well constructed with proper drainage and set away from all water ways with significant buffer space</a:t>
            </a:r>
            <a:r>
              <a:rPr lang="en-US" i="1" dirty="0" smtClean="0">
                <a:solidFill>
                  <a:srgbClr val="FF0000"/>
                </a:solidFill>
              </a:rPr>
              <a:t>.</a:t>
            </a:r>
          </a:p>
          <a:p>
            <a:pPr marL="0" indent="0">
              <a:buNone/>
            </a:pPr>
            <a:endParaRPr lang="en-US" dirty="0" smtClean="0"/>
          </a:p>
          <a:p>
            <a:pPr marL="342900" indent="-342900">
              <a:buAutoNum type="arabicPeriod" startAt="3"/>
            </a:pPr>
            <a:r>
              <a:rPr lang="en-US" b="1" dirty="0" smtClean="0"/>
              <a:t>Threat</a:t>
            </a:r>
          </a:p>
          <a:p>
            <a:pPr marL="0" indent="0">
              <a:buNone/>
            </a:pPr>
            <a:endParaRPr lang="en-US" dirty="0"/>
          </a:p>
          <a:p>
            <a:pPr marL="0" indent="0">
              <a:buNone/>
            </a:pPr>
            <a:r>
              <a:rPr lang="en-US" dirty="0" smtClean="0"/>
              <a:t>Determine over what timespan the roadway will need to function and use an appropriate RCP based on this.</a:t>
            </a:r>
          </a:p>
          <a:p>
            <a:pPr marL="0" indent="0">
              <a:buNone/>
            </a:pPr>
            <a:r>
              <a:rPr lang="en-US" i="1" dirty="0"/>
              <a:t>Example: </a:t>
            </a:r>
            <a:r>
              <a:rPr lang="en-US" i="1" dirty="0" smtClean="0"/>
              <a:t>RCP 6 requires reasonable ROI as roadway </a:t>
            </a:r>
            <a:r>
              <a:rPr lang="en-US" i="1" dirty="0"/>
              <a:t>is </a:t>
            </a:r>
            <a:r>
              <a:rPr lang="en-US" i="1" dirty="0" smtClean="0"/>
              <a:t>“Significant” but will become a secondary route in 20 years</a:t>
            </a:r>
            <a:endParaRPr lang="en-US" i="1" dirty="0"/>
          </a:p>
          <a:p>
            <a:pPr marL="0" indent="0">
              <a:buNone/>
            </a:pPr>
            <a:endParaRPr lang="en-US" dirty="0"/>
          </a:p>
          <a:p>
            <a:pPr marL="0" indent="0">
              <a:buNone/>
            </a:pPr>
            <a:endParaRPr lang="en-US" b="1" dirty="0"/>
          </a:p>
          <a:p>
            <a:pPr marL="0" indent="0">
              <a:buNone/>
            </a:pPr>
            <a:endParaRPr lang="en-US" dirty="0"/>
          </a:p>
          <a:p>
            <a:endParaRPr lang="en-US" dirty="0"/>
          </a:p>
          <a:p>
            <a:endParaRPr lang="en-US" dirty="0"/>
          </a:p>
          <a:p>
            <a:endParaRPr lang="en-US" dirty="0"/>
          </a:p>
        </p:txBody>
      </p:sp>
      <p:sp>
        <p:nvSpPr>
          <p:cNvPr id="6" name="Text Placeholder 5"/>
          <p:cNvSpPr>
            <a:spLocks noGrp="1"/>
          </p:cNvSpPr>
          <p:nvPr>
            <p:ph type="body" sz="quarter" idx="12"/>
          </p:nvPr>
        </p:nvSpPr>
        <p:spPr/>
        <p:txBody>
          <a:bodyPr/>
          <a:lstStyle/>
          <a:p>
            <a:r>
              <a:rPr lang="en-US" dirty="0" smtClean="0"/>
              <a:t>Project Specific Factors</a:t>
            </a:r>
            <a:endParaRPr lang="en-US" dirty="0"/>
          </a:p>
        </p:txBody>
      </p:sp>
    </p:spTree>
    <p:extLst>
      <p:ext uri="{BB962C8B-B14F-4D97-AF65-F5344CB8AC3E}">
        <p14:creationId xmlns:p14="http://schemas.microsoft.com/office/powerpoint/2010/main" val="13243524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sk Identification</a:t>
            </a:r>
            <a:endParaRPr lang="en-US" dirty="0"/>
          </a:p>
        </p:txBody>
      </p:sp>
      <p:sp>
        <p:nvSpPr>
          <p:cNvPr id="4" name="Text Placeholder 3"/>
          <p:cNvSpPr>
            <a:spLocks noGrp="1"/>
          </p:cNvSpPr>
          <p:nvPr>
            <p:ph type="body" sz="quarter" idx="11"/>
          </p:nvPr>
        </p:nvSpPr>
        <p:spPr>
          <a:xfrm>
            <a:off x="641446" y="1250949"/>
            <a:ext cx="4926842" cy="4972429"/>
          </a:xfrm>
        </p:spPr>
        <p:txBody>
          <a:bodyPr/>
          <a:lstStyle/>
          <a:p>
            <a:pPr marL="0" indent="0">
              <a:buNone/>
            </a:pPr>
            <a:r>
              <a:rPr lang="en-US" b="1" dirty="0" smtClean="0"/>
              <a:t>Economic - </a:t>
            </a:r>
            <a:r>
              <a:rPr lang="en-US" dirty="0" smtClean="0"/>
              <a:t>Does </a:t>
            </a:r>
            <a:r>
              <a:rPr lang="en-US" dirty="0"/>
              <a:t>this </a:t>
            </a:r>
            <a:r>
              <a:rPr lang="en-US" dirty="0" smtClean="0"/>
              <a:t>road:</a:t>
            </a:r>
            <a:endParaRPr lang="en-US" dirty="0"/>
          </a:p>
          <a:p>
            <a:pPr lvl="2"/>
            <a:r>
              <a:rPr lang="en-US" dirty="0"/>
              <a:t>Connect commercial hubs?</a:t>
            </a:r>
          </a:p>
          <a:p>
            <a:pPr lvl="2"/>
            <a:r>
              <a:rPr lang="en-US" dirty="0"/>
              <a:t>Serve as a route for goods?</a:t>
            </a:r>
          </a:p>
          <a:p>
            <a:pPr lvl="2"/>
            <a:r>
              <a:rPr lang="en-US" dirty="0"/>
              <a:t>Provide access to employment</a:t>
            </a:r>
            <a:r>
              <a:rPr lang="en-US" dirty="0" smtClean="0"/>
              <a:t>?</a:t>
            </a:r>
          </a:p>
          <a:p>
            <a:pPr marL="0" indent="0">
              <a:buNone/>
            </a:pPr>
            <a:r>
              <a:rPr lang="en-US" b="1" dirty="0"/>
              <a:t>Social - </a:t>
            </a:r>
            <a:r>
              <a:rPr lang="en-US" dirty="0"/>
              <a:t>Does this road provide direct access to:</a:t>
            </a:r>
          </a:p>
          <a:p>
            <a:pPr marL="751319" indent="-342900"/>
            <a:r>
              <a:rPr lang="en-US" dirty="0"/>
              <a:t>Schools or daycares?</a:t>
            </a:r>
          </a:p>
          <a:p>
            <a:pPr marL="751319" indent="-342900"/>
            <a:r>
              <a:rPr lang="en-US" dirty="0"/>
              <a:t>Hospitals, eldercare or related facilities?</a:t>
            </a:r>
          </a:p>
          <a:p>
            <a:pPr marL="751319" indent="-342900"/>
            <a:r>
              <a:rPr lang="en-US" dirty="0" smtClean="0"/>
              <a:t>Emergency response, police </a:t>
            </a:r>
            <a:r>
              <a:rPr lang="en-US" dirty="0"/>
              <a:t>or fire stations?</a:t>
            </a:r>
          </a:p>
          <a:p>
            <a:pPr marL="0" indent="0">
              <a:buNone/>
            </a:pPr>
            <a:r>
              <a:rPr lang="en-US" b="1" dirty="0"/>
              <a:t>Infrastructure - </a:t>
            </a:r>
            <a:r>
              <a:rPr lang="en-US" dirty="0"/>
              <a:t>Does this road provide direct access </a:t>
            </a:r>
            <a:r>
              <a:rPr lang="en-US" dirty="0" smtClean="0"/>
              <a:t>to:</a:t>
            </a:r>
            <a:endParaRPr lang="en-US" dirty="0"/>
          </a:p>
          <a:p>
            <a:pPr marL="628650" lvl="1" indent="-171450"/>
            <a:r>
              <a:rPr lang="en-US" dirty="0"/>
              <a:t>energy utilities (e.g., substations)?</a:t>
            </a:r>
          </a:p>
          <a:p>
            <a:pPr marL="628650" lvl="1" indent="-171450"/>
            <a:r>
              <a:rPr lang="en-US" dirty="0"/>
              <a:t>telecomm utilities?</a:t>
            </a:r>
          </a:p>
          <a:p>
            <a:pPr marL="628650" lvl="1" indent="-171450"/>
            <a:r>
              <a:rPr lang="en-US" dirty="0"/>
              <a:t>water or wastewater utilities?</a:t>
            </a:r>
          </a:p>
          <a:p>
            <a:pPr marL="0" indent="0">
              <a:buNone/>
            </a:pPr>
            <a:r>
              <a:rPr lang="en-US" b="1" dirty="0" smtClean="0"/>
              <a:t>Redundancy</a:t>
            </a:r>
            <a:endParaRPr lang="en-US" b="1" dirty="0"/>
          </a:p>
          <a:p>
            <a:pPr lvl="2"/>
            <a:r>
              <a:rPr lang="en-US" dirty="0"/>
              <a:t>Is there another road/alternative route nearby?</a:t>
            </a:r>
          </a:p>
          <a:p>
            <a:pPr lvl="2"/>
            <a:r>
              <a:rPr lang="en-US" dirty="0"/>
              <a:t>Will any community or resource be isolated by road loss</a:t>
            </a:r>
            <a:r>
              <a:rPr lang="en-US" dirty="0" smtClean="0"/>
              <a:t>?</a:t>
            </a:r>
            <a:endParaRPr lang="en-US" b="1" dirty="0"/>
          </a:p>
          <a:p>
            <a:pPr marL="0" indent="0">
              <a:buNone/>
            </a:pPr>
            <a:r>
              <a:rPr lang="en-US" b="1" dirty="0"/>
              <a:t>Volume</a:t>
            </a:r>
          </a:p>
          <a:p>
            <a:pPr lvl="2"/>
            <a:r>
              <a:rPr lang="en-US" dirty="0" smtClean="0"/>
              <a:t>Average </a:t>
            </a:r>
            <a:r>
              <a:rPr lang="en-US" dirty="0"/>
              <a:t>Daily Trips</a:t>
            </a:r>
          </a:p>
          <a:p>
            <a:pPr lvl="2"/>
            <a:r>
              <a:rPr lang="en-US" dirty="0"/>
              <a:t>Level Of </a:t>
            </a:r>
            <a:r>
              <a:rPr lang="en-US" dirty="0" smtClean="0"/>
              <a:t>Service</a:t>
            </a:r>
            <a:endParaRPr lang="en-US" b="1" dirty="0" smtClean="0"/>
          </a:p>
        </p:txBody>
      </p:sp>
      <p:sp>
        <p:nvSpPr>
          <p:cNvPr id="6" name="Text Placeholder 5"/>
          <p:cNvSpPr>
            <a:spLocks noGrp="1"/>
          </p:cNvSpPr>
          <p:nvPr>
            <p:ph type="body" sz="quarter" idx="12"/>
          </p:nvPr>
        </p:nvSpPr>
        <p:spPr/>
        <p:txBody>
          <a:bodyPr/>
          <a:lstStyle/>
          <a:p>
            <a:r>
              <a:rPr lang="en-US" dirty="0" smtClean="0"/>
              <a:t>Understanding Asset Criticality Factors</a:t>
            </a:r>
            <a:endParaRPr lang="en-US" dirty="0"/>
          </a:p>
        </p:txBody>
      </p:sp>
      <p:pic>
        <p:nvPicPr>
          <p:cNvPr id="9" name="Imagen 4"/>
          <p:cNvPicPr/>
          <p:nvPr/>
        </p:nvPicPr>
        <p:blipFill rotWithShape="1">
          <a:blip r:embed="rId3"/>
          <a:srcRect t="5849"/>
          <a:stretch/>
        </p:blipFill>
        <p:spPr bwMode="auto">
          <a:xfrm>
            <a:off x="6965071" y="1250949"/>
            <a:ext cx="4937760" cy="496125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4686886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isk Identification</a:t>
            </a:r>
            <a:endParaRPr lang="en-US" dirty="0"/>
          </a:p>
        </p:txBody>
      </p:sp>
      <p:sp>
        <p:nvSpPr>
          <p:cNvPr id="6" name="Text Placeholder 5"/>
          <p:cNvSpPr>
            <a:spLocks noGrp="1"/>
          </p:cNvSpPr>
          <p:nvPr>
            <p:ph type="body" sz="quarter" idx="12"/>
          </p:nvPr>
        </p:nvSpPr>
        <p:spPr/>
        <p:txBody>
          <a:bodyPr/>
          <a:lstStyle/>
          <a:p>
            <a:r>
              <a:rPr lang="en-US" dirty="0" smtClean="0"/>
              <a:t>Criticality Ranking</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418714189"/>
              </p:ext>
            </p:extLst>
          </p:nvPr>
        </p:nvGraphicFramePr>
        <p:xfrm>
          <a:off x="991125" y="1250950"/>
          <a:ext cx="10049914" cy="4957814"/>
        </p:xfrm>
        <a:graphic>
          <a:graphicData uri="http://schemas.openxmlformats.org/drawingml/2006/table">
            <a:tbl>
              <a:tblPr firstRow="1" firstCol="1" bandRow="1">
                <a:tableStyleId>{21E4AEA4-8DFA-4A89-87EB-49C32662AFE0}</a:tableStyleId>
              </a:tblPr>
              <a:tblGrid>
                <a:gridCol w="1997735"/>
                <a:gridCol w="8052179"/>
              </a:tblGrid>
              <a:tr h="500539">
                <a:tc>
                  <a:txBody>
                    <a:bodyPr/>
                    <a:lstStyle/>
                    <a:p>
                      <a:pPr marL="0" marR="0">
                        <a:lnSpc>
                          <a:spcPct val="100000"/>
                        </a:lnSpc>
                        <a:spcBef>
                          <a:spcPts val="285"/>
                        </a:spcBef>
                        <a:spcAft>
                          <a:spcPts val="285"/>
                        </a:spcAft>
                      </a:pPr>
                      <a:r>
                        <a:rPr lang="en-US" sz="1600" dirty="0">
                          <a:effectLst/>
                        </a:rPr>
                        <a:t>Criticality Scale</a:t>
                      </a:r>
                      <a:endParaRPr lang="en-US"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solidFill>
                      <a:schemeClr val="accent2">
                        <a:lumMod val="50000"/>
                      </a:schemeClr>
                    </a:solidFill>
                  </a:tcPr>
                </a:tc>
                <a:tc>
                  <a:txBody>
                    <a:bodyPr/>
                    <a:lstStyle/>
                    <a:p>
                      <a:pPr marL="0" marR="0">
                        <a:lnSpc>
                          <a:spcPct val="100000"/>
                        </a:lnSpc>
                        <a:spcBef>
                          <a:spcPts val="285"/>
                        </a:spcBef>
                        <a:spcAft>
                          <a:spcPts val="285"/>
                        </a:spcAft>
                      </a:pPr>
                      <a:r>
                        <a:rPr lang="en-US" sz="1600" dirty="0">
                          <a:effectLst/>
                        </a:rPr>
                        <a:t>Description</a:t>
                      </a:r>
                      <a:endParaRPr lang="en-US"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solidFill>
                      <a:schemeClr val="accent2">
                        <a:lumMod val="50000"/>
                      </a:schemeClr>
                    </a:solidFill>
                  </a:tcPr>
                </a:tc>
              </a:tr>
              <a:tr h="1050886">
                <a:tc>
                  <a:txBody>
                    <a:bodyPr/>
                    <a:lstStyle/>
                    <a:p>
                      <a:pPr marL="0" marR="0">
                        <a:lnSpc>
                          <a:spcPct val="100000"/>
                        </a:lnSpc>
                        <a:spcBef>
                          <a:spcPts val="285"/>
                        </a:spcBef>
                        <a:spcAft>
                          <a:spcPts val="285"/>
                        </a:spcAft>
                      </a:pPr>
                      <a:r>
                        <a:rPr lang="en-US" sz="1400" dirty="0">
                          <a:effectLst/>
                        </a:rPr>
                        <a:t>Criticality 1 </a:t>
                      </a:r>
                      <a:endParaRPr lang="en-US" sz="1400" dirty="0" smtClean="0">
                        <a:effectLst/>
                      </a:endParaRPr>
                    </a:p>
                    <a:p>
                      <a:pPr marL="0" marR="0">
                        <a:lnSpc>
                          <a:spcPct val="100000"/>
                        </a:lnSpc>
                        <a:spcBef>
                          <a:spcPts val="285"/>
                        </a:spcBef>
                        <a:spcAft>
                          <a:spcPts val="285"/>
                        </a:spcAft>
                      </a:pPr>
                      <a:r>
                        <a:rPr lang="en-US" sz="1400" dirty="0" smtClean="0">
                          <a:effectLst/>
                        </a:rPr>
                        <a:t>(</a:t>
                      </a:r>
                      <a:r>
                        <a:rPr lang="en-US" sz="1400" dirty="0">
                          <a:effectLst/>
                        </a:rPr>
                        <a:t>Vital)</a:t>
                      </a:r>
                      <a:endParaRPr lang="en-US" sz="14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US" sz="1400" dirty="0">
                          <a:effectLst/>
                          <a:latin typeface="Arial" panose="020B0604020202020204" pitchFamily="34" charset="0"/>
                          <a:cs typeface="Arial" panose="020B0604020202020204" pitchFamily="34" charset="0"/>
                        </a:rPr>
                        <a:t>A vital route or section of road whose failure would have a nationally significant economic or social impact, or is a nationally significant lifeline, ensuring access or continuity of supply of essential services during an unforeseen event.</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1069577">
                <a:tc>
                  <a:txBody>
                    <a:bodyPr/>
                    <a:lstStyle/>
                    <a:p>
                      <a:pPr marL="0" marR="0">
                        <a:lnSpc>
                          <a:spcPct val="100000"/>
                        </a:lnSpc>
                        <a:spcBef>
                          <a:spcPts val="285"/>
                        </a:spcBef>
                        <a:spcAft>
                          <a:spcPts val="285"/>
                        </a:spcAft>
                      </a:pPr>
                      <a:r>
                        <a:rPr lang="en-US" sz="1400" dirty="0">
                          <a:effectLst/>
                        </a:rPr>
                        <a:t>Criticality 2 </a:t>
                      </a:r>
                      <a:endParaRPr lang="en-US" sz="1400" dirty="0" smtClean="0">
                        <a:effectLst/>
                      </a:endParaRPr>
                    </a:p>
                    <a:p>
                      <a:pPr marL="0" marR="0">
                        <a:lnSpc>
                          <a:spcPct val="100000"/>
                        </a:lnSpc>
                        <a:spcBef>
                          <a:spcPts val="285"/>
                        </a:spcBef>
                        <a:spcAft>
                          <a:spcPts val="285"/>
                        </a:spcAft>
                      </a:pPr>
                      <a:r>
                        <a:rPr lang="en-US" sz="1400" dirty="0" smtClean="0">
                          <a:effectLst/>
                        </a:rPr>
                        <a:t>(</a:t>
                      </a:r>
                      <a:r>
                        <a:rPr lang="en-US" sz="1400" dirty="0">
                          <a:effectLst/>
                        </a:rPr>
                        <a:t>Major)</a:t>
                      </a:r>
                      <a:endParaRPr lang="en-US" sz="14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US" sz="1400" dirty="0">
                          <a:effectLst/>
                          <a:latin typeface="Arial" panose="020B0604020202020204" pitchFamily="34" charset="0"/>
                          <a:cs typeface="Arial" panose="020B0604020202020204" pitchFamily="34" charset="0"/>
                        </a:rPr>
                        <a:t>A major route or section of road whose failure would have a significant economic or social impact to more than one region, or is a regionally significant lifeline, ensuring access or continuity of supply of essential services during an unforeseen event.</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1094686">
                <a:tc>
                  <a:txBody>
                    <a:bodyPr/>
                    <a:lstStyle/>
                    <a:p>
                      <a:pPr marL="0" marR="0">
                        <a:lnSpc>
                          <a:spcPct val="100000"/>
                        </a:lnSpc>
                        <a:spcBef>
                          <a:spcPts val="285"/>
                        </a:spcBef>
                        <a:spcAft>
                          <a:spcPts val="285"/>
                        </a:spcAft>
                      </a:pPr>
                      <a:r>
                        <a:rPr lang="en-US" sz="1400" dirty="0">
                          <a:effectLst/>
                        </a:rPr>
                        <a:t>Criticality 3 </a:t>
                      </a:r>
                      <a:endParaRPr lang="en-US" sz="1400" dirty="0" smtClean="0">
                        <a:effectLst/>
                      </a:endParaRPr>
                    </a:p>
                    <a:p>
                      <a:pPr marL="0" marR="0">
                        <a:lnSpc>
                          <a:spcPct val="100000"/>
                        </a:lnSpc>
                        <a:spcBef>
                          <a:spcPts val="285"/>
                        </a:spcBef>
                        <a:spcAft>
                          <a:spcPts val="285"/>
                        </a:spcAft>
                      </a:pPr>
                      <a:r>
                        <a:rPr lang="en-US" sz="1400" dirty="0" smtClean="0">
                          <a:effectLst/>
                        </a:rPr>
                        <a:t>(</a:t>
                      </a:r>
                      <a:r>
                        <a:rPr lang="en-US" sz="1400" dirty="0">
                          <a:effectLst/>
                        </a:rPr>
                        <a:t>Significant)</a:t>
                      </a:r>
                      <a:endParaRPr lang="en-US" sz="14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US" sz="1400" dirty="0">
                          <a:effectLst/>
                          <a:latin typeface="Arial" panose="020B0604020202020204" pitchFamily="34" charset="0"/>
                          <a:cs typeface="Arial" panose="020B0604020202020204" pitchFamily="34" charset="0"/>
                        </a:rPr>
                        <a:t>An important route or section of road whose failure would have a significant economic or social impact to a region, or is a significant lifeline, ensuring access or continuity of supply of essential services during an unforeseen event.</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1242126">
                <a:tc>
                  <a:txBody>
                    <a:bodyPr/>
                    <a:lstStyle/>
                    <a:p>
                      <a:pPr marL="0" marR="0">
                        <a:lnSpc>
                          <a:spcPct val="100000"/>
                        </a:lnSpc>
                        <a:spcBef>
                          <a:spcPts val="285"/>
                        </a:spcBef>
                        <a:spcAft>
                          <a:spcPts val="285"/>
                        </a:spcAft>
                      </a:pPr>
                      <a:r>
                        <a:rPr lang="en-US" sz="1400" dirty="0">
                          <a:effectLst/>
                        </a:rPr>
                        <a:t>Criticality 4 </a:t>
                      </a:r>
                      <a:endParaRPr lang="en-US" sz="1400" dirty="0" smtClean="0">
                        <a:effectLst/>
                      </a:endParaRPr>
                    </a:p>
                    <a:p>
                      <a:pPr marL="0" marR="0">
                        <a:lnSpc>
                          <a:spcPct val="100000"/>
                        </a:lnSpc>
                        <a:spcBef>
                          <a:spcPts val="285"/>
                        </a:spcBef>
                        <a:spcAft>
                          <a:spcPts val="285"/>
                        </a:spcAft>
                      </a:pPr>
                      <a:r>
                        <a:rPr lang="en-US" sz="1400" dirty="0" smtClean="0">
                          <a:effectLst/>
                        </a:rPr>
                        <a:t>(</a:t>
                      </a:r>
                      <a:r>
                        <a:rPr lang="en-US" sz="1400" dirty="0">
                          <a:effectLst/>
                        </a:rPr>
                        <a:t>Local)</a:t>
                      </a:r>
                      <a:endParaRPr lang="en-US" sz="14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US" sz="1400" dirty="0">
                          <a:effectLst/>
                          <a:latin typeface="Arial" panose="020B0604020202020204" pitchFamily="34" charset="0"/>
                          <a:cs typeface="Arial" panose="020B0604020202020204" pitchFamily="34" charset="0"/>
                        </a:rPr>
                        <a:t>A local route or section of road whose failure would have a serious local economic or social impact, or is a locally important lifeline, ensuing access or continuity of supply of essential services during an unforeseen event.</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58484070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Management Framework</a:t>
            </a:r>
            <a:endParaRPr lang="en-US" dirty="0"/>
          </a:p>
        </p:txBody>
      </p:sp>
      <p:sp>
        <p:nvSpPr>
          <p:cNvPr id="6" name="Text Placeholder 5"/>
          <p:cNvSpPr>
            <a:spLocks noGrp="1"/>
          </p:cNvSpPr>
          <p:nvPr>
            <p:ph type="body" sz="quarter" idx="12"/>
          </p:nvPr>
        </p:nvSpPr>
        <p:spPr/>
        <p:txBody>
          <a:bodyPr/>
          <a:lstStyle/>
          <a:p>
            <a:r>
              <a:rPr lang="en-US" dirty="0" smtClean="0"/>
              <a:t>Step 1: Asset Criticality</a:t>
            </a:r>
            <a:endParaRPr lang="en-US" dirty="0"/>
          </a:p>
        </p:txBody>
      </p:sp>
      <p:graphicFrame>
        <p:nvGraphicFramePr>
          <p:cNvPr id="8" name="Diagram 7"/>
          <p:cNvGraphicFramePr/>
          <p:nvPr>
            <p:extLst>
              <p:ext uri="{D42A27DB-BD31-4B8C-83A1-F6EECF244321}">
                <p14:modId xmlns:p14="http://schemas.microsoft.com/office/powerpoint/2010/main" val="142918189"/>
              </p:ext>
            </p:extLst>
          </p:nvPr>
        </p:nvGraphicFramePr>
        <p:xfrm>
          <a:off x="322385" y="1135063"/>
          <a:ext cx="7788682" cy="49778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extLst>
              <p:ext uri="{D42A27DB-BD31-4B8C-83A1-F6EECF244321}">
                <p14:modId xmlns:p14="http://schemas.microsoft.com/office/powerpoint/2010/main" val="3551555402"/>
              </p:ext>
            </p:extLst>
          </p:nvPr>
        </p:nvGraphicFramePr>
        <p:xfrm>
          <a:off x="8183212" y="922867"/>
          <a:ext cx="3719619" cy="53424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304850672"/>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Image result for hydroplane car"/>
          <p:cNvPicPr>
            <a:picLocks noChangeAspect="1" noChangeArrowheads="1"/>
          </p:cNvPicPr>
          <p:nvPr/>
        </p:nvPicPr>
        <p:blipFill rotWithShape="1">
          <a:blip r:embed="rId3">
            <a:extLst>
              <a:ext uri="{28A0092B-C50C-407E-A947-70E740481C1C}">
                <a14:useLocalDpi xmlns:a14="http://schemas.microsoft.com/office/drawing/2010/main" val="0"/>
              </a:ext>
            </a:extLst>
          </a:blip>
          <a:srcRect t="25532" b="10254"/>
          <a:stretch/>
        </p:blipFill>
        <p:spPr bwMode="auto">
          <a:xfrm>
            <a:off x="468920" y="2732629"/>
            <a:ext cx="2424405" cy="1556808"/>
          </a:xfrm>
          <a:prstGeom prst="rect">
            <a:avLst/>
          </a:prstGeom>
          <a:noFill/>
          <a:extLst>
            <a:ext uri="{909E8E84-426E-40DD-AFC4-6F175D3DCCD1}">
              <a14:hiddenFill xmlns:a14="http://schemas.microsoft.com/office/drawing/2010/main">
                <a:solidFill>
                  <a:srgbClr val="FFFFFF"/>
                </a:solidFill>
              </a14:hiddenFill>
            </a:ext>
          </a:extLst>
        </p:spPr>
      </p:pic>
      <p:pic>
        <p:nvPicPr>
          <p:cNvPr id="4098" name="Picture 2" descr="Image result for hydroplane ca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921" y="4289437"/>
            <a:ext cx="2424404" cy="181830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Risk Identification</a:t>
            </a:r>
            <a:endParaRPr lang="en-US" dirty="0"/>
          </a:p>
        </p:txBody>
      </p:sp>
      <p:sp>
        <p:nvSpPr>
          <p:cNvPr id="6" name="Text Placeholder 5"/>
          <p:cNvSpPr>
            <a:spLocks noGrp="1"/>
          </p:cNvSpPr>
          <p:nvPr>
            <p:ph type="body" sz="quarter" idx="12"/>
          </p:nvPr>
        </p:nvSpPr>
        <p:spPr/>
        <p:txBody>
          <a:bodyPr/>
          <a:lstStyle/>
          <a:p>
            <a:r>
              <a:rPr lang="en-US" dirty="0" smtClean="0"/>
              <a:t>Design Standard Failure</a:t>
            </a:r>
            <a:endParaRPr lang="en-US" dirty="0"/>
          </a:p>
        </p:txBody>
      </p:sp>
      <p:pic>
        <p:nvPicPr>
          <p:cNvPr id="7" name="Picture 6"/>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8920" y="1280578"/>
            <a:ext cx="2424405" cy="1452051"/>
          </a:xfrm>
          <a:prstGeom prst="rect">
            <a:avLst/>
          </a:prstGeom>
        </p:spPr>
      </p:pic>
      <p:pic>
        <p:nvPicPr>
          <p:cNvPr id="8" name="Picture 7"/>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93325" y="1279976"/>
            <a:ext cx="6585101" cy="1327274"/>
          </a:xfrm>
          <a:prstGeom prst="rect">
            <a:avLst/>
          </a:prstGeom>
        </p:spPr>
      </p:pic>
      <p:pic>
        <p:nvPicPr>
          <p:cNvPr id="9" name="Picture 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893324" y="3001625"/>
            <a:ext cx="6585101" cy="1327273"/>
          </a:xfrm>
          <a:prstGeom prst="rect">
            <a:avLst/>
          </a:prstGeom>
        </p:spPr>
      </p:pic>
      <p:pic>
        <p:nvPicPr>
          <p:cNvPr id="10" name="Picture 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93324" y="4776377"/>
            <a:ext cx="6605391" cy="1331363"/>
          </a:xfrm>
          <a:prstGeom prst="rect">
            <a:avLst/>
          </a:prstGeom>
        </p:spPr>
      </p:pic>
      <p:sp>
        <p:nvSpPr>
          <p:cNvPr id="11" name="Oval 10"/>
          <p:cNvSpPr/>
          <p:nvPr/>
        </p:nvSpPr>
        <p:spPr>
          <a:xfrm>
            <a:off x="5891411" y="5280548"/>
            <a:ext cx="220980" cy="220980"/>
          </a:xfrm>
          <a:prstGeom prst="ellipse">
            <a:avLst/>
          </a:prstGeom>
          <a:solidFill>
            <a:srgbClr val="FFFF00">
              <a:alpha val="50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4"/>
          <p:cNvSpPr txBox="1">
            <a:spLocks/>
          </p:cNvSpPr>
          <p:nvPr/>
        </p:nvSpPr>
        <p:spPr>
          <a:xfrm>
            <a:off x="7041652" y="5818663"/>
            <a:ext cx="1572959" cy="289078"/>
          </a:xfrm>
          <a:prstGeom prst="rect">
            <a:avLst/>
          </a:prstGeom>
          <a:solidFill>
            <a:schemeClr val="bg1"/>
          </a:solidFill>
          <a:ln>
            <a:noFill/>
          </a:ln>
        </p:spPr>
        <p:txBody>
          <a:bodyPr vert="horz" lIns="0" tIns="0" rIns="0" bIns="0">
            <a:noAutofit/>
          </a:bodyPr>
          <a:lstStyle>
            <a:lvl1pPr marL="0" indent="0" algn="l" defTabSz="1197317" rtl="0" eaLnBrk="1" latinLnBrk="0" hangingPunct="1">
              <a:lnSpc>
                <a:spcPts val="2000"/>
              </a:lnSpc>
              <a:spcBef>
                <a:spcPts val="0"/>
              </a:spcBef>
              <a:buFont typeface="Arial" pitchFamily="34" charset="0"/>
              <a:buNone/>
              <a:defRPr sz="1800" kern="1200" baseline="0">
                <a:solidFill>
                  <a:schemeClr val="tx1"/>
                </a:solidFill>
                <a:latin typeface="Times New Roman"/>
                <a:ea typeface="+mn-ea"/>
                <a:cs typeface="Times New Roman"/>
              </a:defRPr>
            </a:lvl1pPr>
            <a:lvl2pPr marL="473937" indent="-236969" algn="l" defTabSz="1197317" rtl="0" eaLnBrk="1" latinLnBrk="0" hangingPunct="1">
              <a:lnSpc>
                <a:spcPct val="85000"/>
              </a:lnSpc>
              <a:spcBef>
                <a:spcPts val="261"/>
              </a:spcBef>
              <a:buFont typeface="Arial" pitchFamily="34" charset="0"/>
              <a:buChar char="•"/>
              <a:defRPr sz="2667" kern="1200">
                <a:solidFill>
                  <a:schemeClr val="tx1"/>
                </a:solidFill>
                <a:latin typeface="+mj-lt"/>
                <a:ea typeface="+mn-ea"/>
                <a:cs typeface="+mn-cs"/>
              </a:defRPr>
            </a:lvl2pPr>
            <a:lvl3pPr marL="710906" indent="-236969" algn="l" defTabSz="1197317" rtl="0" eaLnBrk="1" latinLnBrk="0" hangingPunct="1">
              <a:lnSpc>
                <a:spcPct val="85000"/>
              </a:lnSpc>
              <a:spcBef>
                <a:spcPts val="261"/>
              </a:spcBef>
              <a:buFont typeface="Arial" pitchFamily="34" charset="0"/>
              <a:buChar char="•"/>
              <a:defRPr sz="2400" kern="1200">
                <a:solidFill>
                  <a:schemeClr val="tx1"/>
                </a:solidFill>
                <a:latin typeface="+mj-lt"/>
                <a:ea typeface="+mn-ea"/>
                <a:cs typeface="+mn-cs"/>
              </a:defRPr>
            </a:lvl3pPr>
            <a:lvl4pPr marL="935403"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4pPr>
            <a:lvl5pPr marL="1172372"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5pPr>
            <a:lvl6pPr marL="3292619"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891277"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489936"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088594"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dirty="0">
                <a:solidFill>
                  <a:srgbClr val="FF0000"/>
                </a:solidFill>
                <a:latin typeface="Arial" panose="020B0604020202020204" pitchFamily="34" charset="0"/>
                <a:cs typeface="Arial" panose="020B0604020202020204" pitchFamily="34" charset="0"/>
              </a:rPr>
              <a:t>New drain </a:t>
            </a:r>
            <a:r>
              <a:rPr lang="en-US" dirty="0" smtClean="0">
                <a:solidFill>
                  <a:srgbClr val="FF0000"/>
                </a:solidFill>
                <a:latin typeface="Arial" panose="020B0604020202020204" pitchFamily="34" charset="0"/>
                <a:cs typeface="Arial" panose="020B0604020202020204" pitchFamily="34" charset="0"/>
              </a:rPr>
              <a:t>inlet</a:t>
            </a:r>
            <a:endParaRPr lang="en-US" dirty="0">
              <a:solidFill>
                <a:srgbClr val="FF0000"/>
              </a:solidFill>
              <a:latin typeface="Arial" panose="020B0604020202020204" pitchFamily="34" charset="0"/>
              <a:cs typeface="Arial" panose="020B0604020202020204" pitchFamily="34" charset="0"/>
            </a:endParaRPr>
          </a:p>
        </p:txBody>
      </p:sp>
      <p:cxnSp>
        <p:nvCxnSpPr>
          <p:cNvPr id="13" name="Straight Arrow Connector 12"/>
          <p:cNvCxnSpPr>
            <a:endCxn id="11" idx="6"/>
          </p:cNvCxnSpPr>
          <p:nvPr/>
        </p:nvCxnSpPr>
        <p:spPr>
          <a:xfrm flipH="1" flipV="1">
            <a:off x="6112391" y="5391038"/>
            <a:ext cx="929261" cy="572164"/>
          </a:xfrm>
          <a:prstGeom prst="straightConnector1">
            <a:avLst/>
          </a:prstGeom>
          <a:ln w="12700">
            <a:solidFill>
              <a:srgbClr val="FF0000"/>
            </a:solidFill>
            <a:headEnd w="med" len="lg"/>
            <a:tailEnd type="triangle" w="med" len="lg"/>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9478426" y="1280578"/>
            <a:ext cx="2424405" cy="4801314"/>
          </a:xfrm>
          <a:prstGeom prst="rect">
            <a:avLst/>
          </a:prstGeom>
          <a:solidFill>
            <a:srgbClr val="0070C0"/>
          </a:solidFill>
        </p:spPr>
        <p:txBody>
          <a:bodyPr wrap="square" rtlCol="0">
            <a:spAutoFit/>
          </a:bodyPr>
          <a:lstStyle/>
          <a:p>
            <a:r>
              <a:rPr lang="en-US" sz="1600" b="1" dirty="0" smtClean="0">
                <a:solidFill>
                  <a:schemeClr val="bg1"/>
                </a:solidFill>
              </a:rPr>
              <a:t>Design Standard</a:t>
            </a:r>
          </a:p>
          <a:p>
            <a:pPr marL="285750" indent="-285750">
              <a:buFont typeface="Arial" panose="020B0604020202020204" pitchFamily="34" charset="0"/>
              <a:buChar char="•"/>
            </a:pPr>
            <a:r>
              <a:rPr lang="en-US" sz="1400" dirty="0">
                <a:solidFill>
                  <a:schemeClr val="bg1"/>
                </a:solidFill>
              </a:rPr>
              <a:t>50 year </a:t>
            </a:r>
            <a:r>
              <a:rPr lang="en-US" sz="1400" dirty="0" smtClean="0">
                <a:solidFill>
                  <a:schemeClr val="bg1"/>
                </a:solidFill>
              </a:rPr>
              <a:t>storm code</a:t>
            </a:r>
          </a:p>
          <a:p>
            <a:pPr marL="285750" indent="-285750">
              <a:buFont typeface="Arial" panose="020B0604020202020204" pitchFamily="34" charset="0"/>
              <a:buChar char="•"/>
            </a:pPr>
            <a:r>
              <a:rPr lang="en-US" sz="1400" dirty="0" smtClean="0">
                <a:solidFill>
                  <a:schemeClr val="bg1"/>
                </a:solidFill>
              </a:rPr>
              <a:t>Flow remains in shoulders</a:t>
            </a:r>
          </a:p>
          <a:p>
            <a:endParaRPr lang="en-US" sz="1600" dirty="0" smtClean="0">
              <a:solidFill>
                <a:schemeClr val="bg1"/>
              </a:solidFill>
            </a:endParaRPr>
          </a:p>
          <a:p>
            <a:r>
              <a:rPr lang="en-US" sz="1600" b="1" dirty="0">
                <a:solidFill>
                  <a:schemeClr val="bg1"/>
                </a:solidFill>
              </a:rPr>
              <a:t>RCP 8.5 2081-2099 </a:t>
            </a:r>
            <a:endParaRPr lang="en-US" sz="1600" b="1" dirty="0" smtClean="0">
              <a:solidFill>
                <a:schemeClr val="bg1"/>
              </a:solidFill>
            </a:endParaRPr>
          </a:p>
          <a:p>
            <a:r>
              <a:rPr lang="en-US" sz="1400" dirty="0" smtClean="0">
                <a:solidFill>
                  <a:schemeClr val="bg1"/>
                </a:solidFill>
              </a:rPr>
              <a:t>(</a:t>
            </a:r>
            <a:r>
              <a:rPr lang="en-US" sz="1400" dirty="0">
                <a:solidFill>
                  <a:schemeClr val="bg1"/>
                </a:solidFill>
              </a:rPr>
              <a:t>50</a:t>
            </a:r>
            <a:r>
              <a:rPr lang="en-US" sz="1400" baseline="30000" dirty="0">
                <a:solidFill>
                  <a:schemeClr val="bg1"/>
                </a:solidFill>
              </a:rPr>
              <a:t>th</a:t>
            </a:r>
            <a:r>
              <a:rPr lang="en-US" sz="1400" dirty="0">
                <a:solidFill>
                  <a:schemeClr val="bg1"/>
                </a:solidFill>
              </a:rPr>
              <a:t> Percentile</a:t>
            </a:r>
            <a:r>
              <a:rPr lang="en-US" sz="1400" dirty="0" smtClean="0">
                <a:solidFill>
                  <a:schemeClr val="bg1"/>
                </a:solidFill>
              </a:rPr>
              <a:t>)</a:t>
            </a:r>
          </a:p>
          <a:p>
            <a:pPr marL="285750" indent="-285750">
              <a:buFont typeface="Wingdings" panose="05000000000000000000" pitchFamily="2" charset="2"/>
              <a:buChar char="§"/>
            </a:pPr>
            <a:r>
              <a:rPr lang="en-US" sz="1400" dirty="0">
                <a:solidFill>
                  <a:schemeClr val="bg1"/>
                </a:solidFill>
              </a:rPr>
              <a:t>0.33 </a:t>
            </a:r>
            <a:r>
              <a:rPr lang="en-US" sz="1400" dirty="0" err="1">
                <a:solidFill>
                  <a:schemeClr val="bg1"/>
                </a:solidFill>
              </a:rPr>
              <a:t>cfs</a:t>
            </a:r>
            <a:r>
              <a:rPr lang="en-US" sz="1400" dirty="0">
                <a:solidFill>
                  <a:schemeClr val="bg1"/>
                </a:solidFill>
              </a:rPr>
              <a:t> bypass</a:t>
            </a:r>
          </a:p>
          <a:p>
            <a:pPr lvl="1"/>
            <a:r>
              <a:rPr lang="en-US" sz="1400" dirty="0">
                <a:solidFill>
                  <a:schemeClr val="bg1"/>
                </a:solidFill>
              </a:rPr>
              <a:t>(230% </a:t>
            </a:r>
            <a:r>
              <a:rPr lang="en-US" sz="1400" dirty="0" err="1">
                <a:solidFill>
                  <a:schemeClr val="bg1"/>
                </a:solidFill>
              </a:rPr>
              <a:t>exceedance</a:t>
            </a:r>
            <a:r>
              <a:rPr lang="en-US" sz="1400" dirty="0" smtClean="0">
                <a:solidFill>
                  <a:schemeClr val="bg1"/>
                </a:solidFill>
              </a:rPr>
              <a:t>)</a:t>
            </a:r>
          </a:p>
          <a:p>
            <a:pPr marL="285750" indent="-285750">
              <a:buFont typeface="Wingdings" panose="05000000000000000000" pitchFamily="2" charset="2"/>
              <a:buChar char="§"/>
            </a:pPr>
            <a:r>
              <a:rPr lang="en-US" sz="1400" dirty="0">
                <a:solidFill>
                  <a:schemeClr val="bg1"/>
                </a:solidFill>
              </a:rPr>
              <a:t>3.6-ft shoulder </a:t>
            </a:r>
            <a:r>
              <a:rPr lang="en-US" sz="1400" dirty="0" err="1">
                <a:solidFill>
                  <a:schemeClr val="bg1"/>
                </a:solidFill>
              </a:rPr>
              <a:t>exceedance</a:t>
            </a:r>
            <a:endParaRPr lang="en-US" sz="1400" dirty="0">
              <a:solidFill>
                <a:schemeClr val="bg1"/>
              </a:solidFill>
            </a:endParaRPr>
          </a:p>
          <a:p>
            <a:pPr lvl="1"/>
            <a:r>
              <a:rPr lang="en-US" sz="1400" dirty="0">
                <a:solidFill>
                  <a:schemeClr val="bg1"/>
                </a:solidFill>
              </a:rPr>
              <a:t>(30% of Lane 1</a:t>
            </a:r>
            <a:r>
              <a:rPr lang="en-US" sz="1400" dirty="0" smtClean="0">
                <a:solidFill>
                  <a:schemeClr val="bg1"/>
                </a:solidFill>
              </a:rPr>
              <a:t>)</a:t>
            </a:r>
          </a:p>
          <a:p>
            <a:endParaRPr lang="en-US" sz="1400" dirty="0" smtClean="0">
              <a:solidFill>
                <a:schemeClr val="bg1"/>
              </a:solidFill>
            </a:endParaRPr>
          </a:p>
          <a:p>
            <a:r>
              <a:rPr lang="en-US" sz="1600" b="1" dirty="0" smtClean="0">
                <a:solidFill>
                  <a:schemeClr val="bg1"/>
                </a:solidFill>
              </a:rPr>
              <a:t>RCP </a:t>
            </a:r>
            <a:r>
              <a:rPr lang="en-US" sz="1600" b="1" dirty="0">
                <a:solidFill>
                  <a:schemeClr val="bg1"/>
                </a:solidFill>
              </a:rPr>
              <a:t>8.5 2081-2099 </a:t>
            </a:r>
            <a:endParaRPr lang="en-US" sz="1600" b="1" dirty="0" smtClean="0">
              <a:solidFill>
                <a:schemeClr val="bg1"/>
              </a:solidFill>
            </a:endParaRPr>
          </a:p>
          <a:p>
            <a:r>
              <a:rPr lang="en-US" sz="1400" dirty="0" smtClean="0">
                <a:solidFill>
                  <a:schemeClr val="bg1"/>
                </a:solidFill>
              </a:rPr>
              <a:t>(</a:t>
            </a:r>
            <a:r>
              <a:rPr lang="en-US" sz="1400" b="1" dirty="0">
                <a:solidFill>
                  <a:schemeClr val="bg1"/>
                </a:solidFill>
              </a:rPr>
              <a:t>90</a:t>
            </a:r>
            <a:r>
              <a:rPr lang="en-US" sz="1400" b="1" baseline="30000" dirty="0">
                <a:solidFill>
                  <a:schemeClr val="bg1"/>
                </a:solidFill>
              </a:rPr>
              <a:t>th</a:t>
            </a:r>
            <a:r>
              <a:rPr lang="en-US" sz="1400" b="1" dirty="0">
                <a:solidFill>
                  <a:schemeClr val="bg1"/>
                </a:solidFill>
              </a:rPr>
              <a:t> Percentile</a:t>
            </a:r>
            <a:r>
              <a:rPr lang="en-US" sz="1400" dirty="0" smtClean="0">
                <a:solidFill>
                  <a:schemeClr val="bg1"/>
                </a:solidFill>
              </a:rPr>
              <a:t>)</a:t>
            </a:r>
          </a:p>
          <a:p>
            <a:pPr marL="285750" indent="-285750">
              <a:buFont typeface="Arial" panose="020B0604020202020204" pitchFamily="34" charset="0"/>
              <a:buChar char="•"/>
            </a:pPr>
            <a:r>
              <a:rPr lang="en-US" sz="1400" dirty="0">
                <a:solidFill>
                  <a:schemeClr val="bg1"/>
                </a:solidFill>
              </a:rPr>
              <a:t>0.51 </a:t>
            </a:r>
            <a:r>
              <a:rPr lang="en-US" sz="1400" dirty="0" err="1">
                <a:solidFill>
                  <a:schemeClr val="bg1"/>
                </a:solidFill>
              </a:rPr>
              <a:t>cfs</a:t>
            </a:r>
            <a:r>
              <a:rPr lang="en-US" sz="1400" dirty="0">
                <a:solidFill>
                  <a:schemeClr val="bg1"/>
                </a:solidFill>
              </a:rPr>
              <a:t> bypass</a:t>
            </a:r>
          </a:p>
          <a:p>
            <a:pPr lvl="1"/>
            <a:r>
              <a:rPr lang="en-US" sz="1400" dirty="0">
                <a:solidFill>
                  <a:schemeClr val="bg1"/>
                </a:solidFill>
              </a:rPr>
              <a:t>(410% </a:t>
            </a:r>
            <a:r>
              <a:rPr lang="en-US" sz="1400" dirty="0" err="1">
                <a:solidFill>
                  <a:schemeClr val="bg1"/>
                </a:solidFill>
              </a:rPr>
              <a:t>exceedance</a:t>
            </a:r>
            <a:r>
              <a:rPr lang="en-US" sz="1400" dirty="0" smtClean="0">
                <a:solidFill>
                  <a:schemeClr val="bg1"/>
                </a:solidFill>
              </a:rPr>
              <a:t>)</a:t>
            </a:r>
          </a:p>
          <a:p>
            <a:pPr marL="285750" indent="-285750">
              <a:buFont typeface="Arial" panose="020B0604020202020204" pitchFamily="34" charset="0"/>
              <a:buChar char="•"/>
            </a:pPr>
            <a:r>
              <a:rPr lang="en-US" sz="1400" dirty="0">
                <a:solidFill>
                  <a:schemeClr val="bg1"/>
                </a:solidFill>
              </a:rPr>
              <a:t>6.1-ft shoulder </a:t>
            </a:r>
            <a:r>
              <a:rPr lang="en-US" sz="1400" dirty="0" err="1">
                <a:solidFill>
                  <a:schemeClr val="bg1"/>
                </a:solidFill>
              </a:rPr>
              <a:t>exceedance</a:t>
            </a:r>
            <a:endParaRPr lang="en-US" sz="1400" dirty="0">
              <a:solidFill>
                <a:schemeClr val="bg1"/>
              </a:solidFill>
            </a:endParaRPr>
          </a:p>
          <a:p>
            <a:pPr lvl="1"/>
            <a:r>
              <a:rPr lang="en-US" sz="1400" dirty="0">
                <a:solidFill>
                  <a:schemeClr val="bg1"/>
                </a:solidFill>
              </a:rPr>
              <a:t>(51% of Lane 1)</a:t>
            </a:r>
          </a:p>
          <a:p>
            <a:pPr lvl="1"/>
            <a:endParaRPr lang="en-US" sz="1400" dirty="0">
              <a:solidFill>
                <a:schemeClr val="bg1"/>
              </a:solidFill>
            </a:endParaRPr>
          </a:p>
          <a:p>
            <a:r>
              <a:rPr lang="en-US" sz="1600" b="1" dirty="0" smtClean="0">
                <a:solidFill>
                  <a:schemeClr val="bg1"/>
                </a:solidFill>
              </a:rPr>
              <a:t>Performance Standard</a:t>
            </a:r>
          </a:p>
          <a:p>
            <a:pPr marL="285750" indent="-285750">
              <a:buFont typeface="Wingdings" panose="05000000000000000000" pitchFamily="2" charset="2"/>
              <a:buChar char="§"/>
            </a:pPr>
            <a:r>
              <a:rPr lang="en-US" sz="1400" dirty="0" smtClean="0">
                <a:solidFill>
                  <a:schemeClr val="bg1"/>
                </a:solidFill>
              </a:rPr>
              <a:t>Install new drain inlets or</a:t>
            </a:r>
          </a:p>
          <a:p>
            <a:pPr marL="285750" indent="-285750">
              <a:buFont typeface="Wingdings" panose="05000000000000000000" pitchFamily="2" charset="2"/>
              <a:buChar char="§"/>
            </a:pPr>
            <a:r>
              <a:rPr lang="en-US" sz="1400" dirty="0">
                <a:solidFill>
                  <a:schemeClr val="bg1"/>
                </a:solidFill>
              </a:rPr>
              <a:t>F</a:t>
            </a:r>
            <a:r>
              <a:rPr lang="en-US" sz="1400" dirty="0" smtClean="0">
                <a:solidFill>
                  <a:schemeClr val="bg1"/>
                </a:solidFill>
              </a:rPr>
              <a:t>ail performance indicator</a:t>
            </a:r>
          </a:p>
        </p:txBody>
      </p:sp>
      <p:cxnSp>
        <p:nvCxnSpPr>
          <p:cNvPr id="19" name="Straight Arrow Connector 18"/>
          <p:cNvCxnSpPr/>
          <p:nvPr/>
        </p:nvCxnSpPr>
        <p:spPr>
          <a:xfrm flipH="1">
            <a:off x="6112391" y="2812065"/>
            <a:ext cx="745609" cy="889424"/>
          </a:xfrm>
          <a:prstGeom prst="straightConnector1">
            <a:avLst/>
          </a:prstGeom>
          <a:ln w="12700">
            <a:solidFill>
              <a:srgbClr val="FF0000"/>
            </a:solidFill>
            <a:headEnd w="med" len="lg"/>
            <a:tailEnd type="triangle" w="med" len="lg"/>
          </a:ln>
        </p:spPr>
        <p:style>
          <a:lnRef idx="1">
            <a:schemeClr val="accent1"/>
          </a:lnRef>
          <a:fillRef idx="0">
            <a:schemeClr val="accent1"/>
          </a:fillRef>
          <a:effectRef idx="0">
            <a:schemeClr val="accent1"/>
          </a:effectRef>
          <a:fontRef idx="minor">
            <a:schemeClr val="tx1"/>
          </a:fontRef>
        </p:style>
      </p:cxnSp>
      <p:sp>
        <p:nvSpPr>
          <p:cNvPr id="21" name="Content Placeholder 4"/>
          <p:cNvSpPr txBox="1">
            <a:spLocks/>
          </p:cNvSpPr>
          <p:nvPr/>
        </p:nvSpPr>
        <p:spPr>
          <a:xfrm>
            <a:off x="7041652" y="2667526"/>
            <a:ext cx="1822622" cy="289078"/>
          </a:xfrm>
          <a:prstGeom prst="rect">
            <a:avLst/>
          </a:prstGeom>
          <a:solidFill>
            <a:schemeClr val="bg1"/>
          </a:solidFill>
          <a:ln>
            <a:noFill/>
          </a:ln>
        </p:spPr>
        <p:txBody>
          <a:bodyPr vert="horz" lIns="0" tIns="0" rIns="0" bIns="0">
            <a:noAutofit/>
          </a:bodyPr>
          <a:lstStyle>
            <a:lvl1pPr marL="0" indent="0" algn="l" defTabSz="1197317" rtl="0" eaLnBrk="1" latinLnBrk="0" hangingPunct="1">
              <a:lnSpc>
                <a:spcPts val="2000"/>
              </a:lnSpc>
              <a:spcBef>
                <a:spcPts val="0"/>
              </a:spcBef>
              <a:buFont typeface="Arial" pitchFamily="34" charset="0"/>
              <a:buNone/>
              <a:defRPr sz="1800" kern="1200" baseline="0">
                <a:solidFill>
                  <a:schemeClr val="tx1"/>
                </a:solidFill>
                <a:latin typeface="Times New Roman"/>
                <a:ea typeface="+mn-ea"/>
                <a:cs typeface="Times New Roman"/>
              </a:defRPr>
            </a:lvl1pPr>
            <a:lvl2pPr marL="473937" indent="-236969" algn="l" defTabSz="1197317" rtl="0" eaLnBrk="1" latinLnBrk="0" hangingPunct="1">
              <a:lnSpc>
                <a:spcPct val="85000"/>
              </a:lnSpc>
              <a:spcBef>
                <a:spcPts val="261"/>
              </a:spcBef>
              <a:buFont typeface="Arial" pitchFamily="34" charset="0"/>
              <a:buChar char="•"/>
              <a:defRPr sz="2667" kern="1200">
                <a:solidFill>
                  <a:schemeClr val="tx1"/>
                </a:solidFill>
                <a:latin typeface="+mj-lt"/>
                <a:ea typeface="+mn-ea"/>
                <a:cs typeface="+mn-cs"/>
              </a:defRPr>
            </a:lvl2pPr>
            <a:lvl3pPr marL="710906" indent="-236969" algn="l" defTabSz="1197317" rtl="0" eaLnBrk="1" latinLnBrk="0" hangingPunct="1">
              <a:lnSpc>
                <a:spcPct val="85000"/>
              </a:lnSpc>
              <a:spcBef>
                <a:spcPts val="261"/>
              </a:spcBef>
              <a:buFont typeface="Arial" pitchFamily="34" charset="0"/>
              <a:buChar char="•"/>
              <a:defRPr sz="2400" kern="1200">
                <a:solidFill>
                  <a:schemeClr val="tx1"/>
                </a:solidFill>
                <a:latin typeface="+mj-lt"/>
                <a:ea typeface="+mn-ea"/>
                <a:cs typeface="+mn-cs"/>
              </a:defRPr>
            </a:lvl3pPr>
            <a:lvl4pPr marL="935403"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4pPr>
            <a:lvl5pPr marL="1172372"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5pPr>
            <a:lvl6pPr marL="3292619"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891277"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489936"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088594"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dirty="0" smtClean="0">
                <a:solidFill>
                  <a:srgbClr val="FF0000"/>
                </a:solidFill>
                <a:latin typeface="Arial" panose="020B0604020202020204" pitchFamily="34" charset="0"/>
                <a:cs typeface="Arial" panose="020B0604020202020204" pitchFamily="34" charset="0"/>
              </a:rPr>
              <a:t>Bypass</a:t>
            </a:r>
            <a:endParaRPr lang="en-US" dirty="0">
              <a:solidFill>
                <a:srgbClr val="FF0000"/>
              </a:solidFill>
              <a:latin typeface="Arial" panose="020B0604020202020204" pitchFamily="34" charset="0"/>
              <a:cs typeface="Arial" panose="020B0604020202020204" pitchFamily="34" charset="0"/>
            </a:endParaRPr>
          </a:p>
        </p:txBody>
      </p:sp>
      <p:cxnSp>
        <p:nvCxnSpPr>
          <p:cNvPr id="22" name="Straight Arrow Connector 21"/>
          <p:cNvCxnSpPr/>
          <p:nvPr/>
        </p:nvCxnSpPr>
        <p:spPr>
          <a:xfrm flipH="1" flipV="1">
            <a:off x="7238953" y="3703536"/>
            <a:ext cx="556456" cy="814922"/>
          </a:xfrm>
          <a:prstGeom prst="straightConnector1">
            <a:avLst/>
          </a:prstGeom>
          <a:ln w="12700">
            <a:solidFill>
              <a:srgbClr val="FF0000"/>
            </a:solidFill>
            <a:headEnd w="med" len="lg"/>
            <a:tailEnd type="triangle" w="med" len="lg"/>
          </a:ln>
        </p:spPr>
        <p:style>
          <a:lnRef idx="1">
            <a:schemeClr val="accent1"/>
          </a:lnRef>
          <a:fillRef idx="0">
            <a:schemeClr val="accent1"/>
          </a:fillRef>
          <a:effectRef idx="0">
            <a:schemeClr val="accent1"/>
          </a:effectRef>
          <a:fontRef idx="minor">
            <a:schemeClr val="tx1"/>
          </a:fontRef>
        </p:style>
      </p:cxnSp>
      <p:sp>
        <p:nvSpPr>
          <p:cNvPr id="24" name="Content Placeholder 4"/>
          <p:cNvSpPr txBox="1">
            <a:spLocks/>
          </p:cNvSpPr>
          <p:nvPr/>
        </p:nvSpPr>
        <p:spPr>
          <a:xfrm>
            <a:off x="7844166" y="4408098"/>
            <a:ext cx="1634259" cy="289078"/>
          </a:xfrm>
          <a:prstGeom prst="rect">
            <a:avLst/>
          </a:prstGeom>
          <a:solidFill>
            <a:schemeClr val="bg1"/>
          </a:solidFill>
          <a:ln>
            <a:noFill/>
          </a:ln>
        </p:spPr>
        <p:txBody>
          <a:bodyPr vert="horz" lIns="0" tIns="0" rIns="0" bIns="0">
            <a:noAutofit/>
          </a:bodyPr>
          <a:lstStyle>
            <a:lvl1pPr marL="0" indent="0" algn="l" defTabSz="1197317" rtl="0" eaLnBrk="1" latinLnBrk="0" hangingPunct="1">
              <a:lnSpc>
                <a:spcPts val="2000"/>
              </a:lnSpc>
              <a:spcBef>
                <a:spcPts val="0"/>
              </a:spcBef>
              <a:buFont typeface="Arial" pitchFamily="34" charset="0"/>
              <a:buNone/>
              <a:defRPr sz="1800" kern="1200" baseline="0">
                <a:solidFill>
                  <a:schemeClr val="tx1"/>
                </a:solidFill>
                <a:latin typeface="Times New Roman"/>
                <a:ea typeface="+mn-ea"/>
                <a:cs typeface="Times New Roman"/>
              </a:defRPr>
            </a:lvl1pPr>
            <a:lvl2pPr marL="473937" indent="-236969" algn="l" defTabSz="1197317" rtl="0" eaLnBrk="1" latinLnBrk="0" hangingPunct="1">
              <a:lnSpc>
                <a:spcPct val="85000"/>
              </a:lnSpc>
              <a:spcBef>
                <a:spcPts val="261"/>
              </a:spcBef>
              <a:buFont typeface="Arial" pitchFamily="34" charset="0"/>
              <a:buChar char="•"/>
              <a:defRPr sz="2667" kern="1200">
                <a:solidFill>
                  <a:schemeClr val="tx1"/>
                </a:solidFill>
                <a:latin typeface="+mj-lt"/>
                <a:ea typeface="+mn-ea"/>
                <a:cs typeface="+mn-cs"/>
              </a:defRPr>
            </a:lvl2pPr>
            <a:lvl3pPr marL="710906" indent="-236969" algn="l" defTabSz="1197317" rtl="0" eaLnBrk="1" latinLnBrk="0" hangingPunct="1">
              <a:lnSpc>
                <a:spcPct val="85000"/>
              </a:lnSpc>
              <a:spcBef>
                <a:spcPts val="261"/>
              </a:spcBef>
              <a:buFont typeface="Arial" pitchFamily="34" charset="0"/>
              <a:buChar char="•"/>
              <a:defRPr sz="2400" kern="1200">
                <a:solidFill>
                  <a:schemeClr val="tx1"/>
                </a:solidFill>
                <a:latin typeface="+mj-lt"/>
                <a:ea typeface="+mn-ea"/>
                <a:cs typeface="+mn-cs"/>
              </a:defRPr>
            </a:lvl3pPr>
            <a:lvl4pPr marL="935403"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4pPr>
            <a:lvl5pPr marL="1172372"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5pPr>
            <a:lvl6pPr marL="3292619"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891277"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489936"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088594"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r>
              <a:rPr lang="en-US" dirty="0" smtClean="0">
                <a:solidFill>
                  <a:srgbClr val="FF0000"/>
                </a:solidFill>
                <a:latin typeface="Arial" panose="020B0604020202020204" pitchFamily="34" charset="0"/>
                <a:cs typeface="Arial" panose="020B0604020202020204" pitchFamily="34" charset="0"/>
              </a:rPr>
              <a:t>Shoulder</a:t>
            </a:r>
            <a:endParaRPr lang="en-US"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603843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a:graphicFrameLocks/>
          </p:cNvGraphicFramePr>
          <p:nvPr>
            <p:extLst>
              <p:ext uri="{D42A27DB-BD31-4B8C-83A1-F6EECF244321}">
                <p14:modId xmlns:p14="http://schemas.microsoft.com/office/powerpoint/2010/main" val="1848427718"/>
              </p:ext>
            </p:extLst>
          </p:nvPr>
        </p:nvGraphicFramePr>
        <p:xfrm>
          <a:off x="5537579" y="1093470"/>
          <a:ext cx="6322329" cy="4352926"/>
        </p:xfrm>
        <a:graphic>
          <a:graphicData uri="http://schemas.openxmlformats.org/drawingml/2006/chart">
            <c:chart xmlns:c="http://schemas.openxmlformats.org/drawingml/2006/chart" xmlns:r="http://schemas.openxmlformats.org/officeDocument/2006/relationships" r:id="rId3"/>
          </a:graphicData>
        </a:graphic>
      </p:graphicFrame>
      <p:sp>
        <p:nvSpPr>
          <p:cNvPr id="131" name="Freeform 130"/>
          <p:cNvSpPr/>
          <p:nvPr/>
        </p:nvSpPr>
        <p:spPr>
          <a:xfrm rot="10800000">
            <a:off x="6924767" y="1236086"/>
            <a:ext cx="3870251" cy="1452393"/>
          </a:xfrm>
          <a:custGeom>
            <a:avLst/>
            <a:gdLst>
              <a:gd name="connsiteX0" fmla="*/ 0 w 3870251"/>
              <a:gd name="connsiteY0" fmla="*/ 2158409 h 2158409"/>
              <a:gd name="connsiteX1" fmla="*/ 3870251 w 3870251"/>
              <a:gd name="connsiteY1" fmla="*/ 2158409 h 2158409"/>
              <a:gd name="connsiteX2" fmla="*/ 3870251 w 3870251"/>
              <a:gd name="connsiteY2" fmla="*/ 0 h 2158409"/>
              <a:gd name="connsiteX3" fmla="*/ 10632 w 3870251"/>
              <a:gd name="connsiteY3" fmla="*/ 318976 h 2158409"/>
              <a:gd name="connsiteX4" fmla="*/ 0 w 3870251"/>
              <a:gd name="connsiteY4" fmla="*/ 2158409 h 2158409"/>
              <a:gd name="connsiteX0" fmla="*/ 0 w 3870251"/>
              <a:gd name="connsiteY0" fmla="*/ 2158409 h 2158409"/>
              <a:gd name="connsiteX1" fmla="*/ 3870251 w 3870251"/>
              <a:gd name="connsiteY1" fmla="*/ 2158409 h 2158409"/>
              <a:gd name="connsiteX2" fmla="*/ 3870251 w 3870251"/>
              <a:gd name="connsiteY2" fmla="*/ 0 h 2158409"/>
              <a:gd name="connsiteX3" fmla="*/ 14442 w 3870251"/>
              <a:gd name="connsiteY3" fmla="*/ 322786 h 2158409"/>
              <a:gd name="connsiteX4" fmla="*/ 0 w 3870251"/>
              <a:gd name="connsiteY4" fmla="*/ 2158409 h 2158409"/>
              <a:gd name="connsiteX0" fmla="*/ 0 w 3870251"/>
              <a:gd name="connsiteY0" fmla="*/ 2166029 h 2166029"/>
              <a:gd name="connsiteX1" fmla="*/ 3870251 w 3870251"/>
              <a:gd name="connsiteY1" fmla="*/ 2166029 h 2166029"/>
              <a:gd name="connsiteX2" fmla="*/ 3870251 w 3870251"/>
              <a:gd name="connsiteY2" fmla="*/ 0 h 2166029"/>
              <a:gd name="connsiteX3" fmla="*/ 14442 w 3870251"/>
              <a:gd name="connsiteY3" fmla="*/ 330406 h 2166029"/>
              <a:gd name="connsiteX4" fmla="*/ 0 w 3870251"/>
              <a:gd name="connsiteY4" fmla="*/ 2166029 h 2166029"/>
              <a:gd name="connsiteX0" fmla="*/ 0 w 3870251"/>
              <a:gd name="connsiteY0" fmla="*/ 2166029 h 2166029"/>
              <a:gd name="connsiteX1" fmla="*/ 3870251 w 3870251"/>
              <a:gd name="connsiteY1" fmla="*/ 2166029 h 2166029"/>
              <a:gd name="connsiteX2" fmla="*/ 3870251 w 3870251"/>
              <a:gd name="connsiteY2" fmla="*/ 0 h 2166029"/>
              <a:gd name="connsiteX3" fmla="*/ 6822 w 3870251"/>
              <a:gd name="connsiteY3" fmla="*/ 322786 h 2166029"/>
              <a:gd name="connsiteX4" fmla="*/ 0 w 3870251"/>
              <a:gd name="connsiteY4" fmla="*/ 2166029 h 216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251" h="2166029">
                <a:moveTo>
                  <a:pt x="0" y="2166029"/>
                </a:moveTo>
                <a:lnTo>
                  <a:pt x="3870251" y="2166029"/>
                </a:lnTo>
                <a:lnTo>
                  <a:pt x="3870251" y="0"/>
                </a:lnTo>
                <a:lnTo>
                  <a:pt x="6822" y="322786"/>
                </a:lnTo>
                <a:lnTo>
                  <a:pt x="0" y="2166029"/>
                </a:lnTo>
                <a:close/>
              </a:path>
            </a:pathLst>
          </a:custGeom>
          <a:solidFill>
            <a:srgbClr val="48B9E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30" name="Freeform 129"/>
          <p:cNvSpPr/>
          <p:nvPr/>
        </p:nvSpPr>
        <p:spPr>
          <a:xfrm>
            <a:off x="6923902" y="1854710"/>
            <a:ext cx="3873161" cy="1452393"/>
          </a:xfrm>
          <a:custGeom>
            <a:avLst/>
            <a:gdLst>
              <a:gd name="connsiteX0" fmla="*/ 0 w 3870251"/>
              <a:gd name="connsiteY0" fmla="*/ 2158409 h 2158409"/>
              <a:gd name="connsiteX1" fmla="*/ 3870251 w 3870251"/>
              <a:gd name="connsiteY1" fmla="*/ 2158409 h 2158409"/>
              <a:gd name="connsiteX2" fmla="*/ 3870251 w 3870251"/>
              <a:gd name="connsiteY2" fmla="*/ 0 h 2158409"/>
              <a:gd name="connsiteX3" fmla="*/ 10632 w 3870251"/>
              <a:gd name="connsiteY3" fmla="*/ 318976 h 2158409"/>
              <a:gd name="connsiteX4" fmla="*/ 0 w 3870251"/>
              <a:gd name="connsiteY4" fmla="*/ 2158409 h 2158409"/>
              <a:gd name="connsiteX0" fmla="*/ 0 w 3870251"/>
              <a:gd name="connsiteY0" fmla="*/ 2158409 h 2158409"/>
              <a:gd name="connsiteX1" fmla="*/ 3870251 w 3870251"/>
              <a:gd name="connsiteY1" fmla="*/ 2158409 h 2158409"/>
              <a:gd name="connsiteX2" fmla="*/ 3870251 w 3870251"/>
              <a:gd name="connsiteY2" fmla="*/ 0 h 2158409"/>
              <a:gd name="connsiteX3" fmla="*/ 14442 w 3870251"/>
              <a:gd name="connsiteY3" fmla="*/ 322786 h 2158409"/>
              <a:gd name="connsiteX4" fmla="*/ 0 w 3870251"/>
              <a:gd name="connsiteY4" fmla="*/ 2158409 h 2158409"/>
              <a:gd name="connsiteX0" fmla="*/ 0 w 3870251"/>
              <a:gd name="connsiteY0" fmla="*/ 2166029 h 2166029"/>
              <a:gd name="connsiteX1" fmla="*/ 3870251 w 3870251"/>
              <a:gd name="connsiteY1" fmla="*/ 2166029 h 2166029"/>
              <a:gd name="connsiteX2" fmla="*/ 3870251 w 3870251"/>
              <a:gd name="connsiteY2" fmla="*/ 0 h 2166029"/>
              <a:gd name="connsiteX3" fmla="*/ 14442 w 3870251"/>
              <a:gd name="connsiteY3" fmla="*/ 330406 h 2166029"/>
              <a:gd name="connsiteX4" fmla="*/ 0 w 3870251"/>
              <a:gd name="connsiteY4" fmla="*/ 2166029 h 2166029"/>
              <a:gd name="connsiteX0" fmla="*/ 0 w 3870251"/>
              <a:gd name="connsiteY0" fmla="*/ 2166029 h 2166029"/>
              <a:gd name="connsiteX1" fmla="*/ 3870251 w 3870251"/>
              <a:gd name="connsiteY1" fmla="*/ 2166029 h 2166029"/>
              <a:gd name="connsiteX2" fmla="*/ 3870251 w 3870251"/>
              <a:gd name="connsiteY2" fmla="*/ 0 h 2166029"/>
              <a:gd name="connsiteX3" fmla="*/ 6822 w 3870251"/>
              <a:gd name="connsiteY3" fmla="*/ 322786 h 2166029"/>
              <a:gd name="connsiteX4" fmla="*/ 0 w 3870251"/>
              <a:gd name="connsiteY4" fmla="*/ 2166029 h 216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251" h="2166029">
                <a:moveTo>
                  <a:pt x="0" y="2166029"/>
                </a:moveTo>
                <a:lnTo>
                  <a:pt x="3870251" y="2166029"/>
                </a:lnTo>
                <a:lnTo>
                  <a:pt x="3870251" y="0"/>
                </a:lnTo>
                <a:lnTo>
                  <a:pt x="6822" y="322786"/>
                </a:lnTo>
                <a:lnTo>
                  <a:pt x="0" y="2166029"/>
                </a:lnTo>
                <a:close/>
              </a:path>
            </a:pathLst>
          </a:custGeom>
          <a:solidFill>
            <a:srgbClr val="81CFEB"/>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9" name="Freeform 128"/>
          <p:cNvSpPr/>
          <p:nvPr/>
        </p:nvSpPr>
        <p:spPr>
          <a:xfrm>
            <a:off x="6915752" y="2130978"/>
            <a:ext cx="3879646" cy="1452393"/>
          </a:xfrm>
          <a:custGeom>
            <a:avLst/>
            <a:gdLst>
              <a:gd name="connsiteX0" fmla="*/ 0 w 3870251"/>
              <a:gd name="connsiteY0" fmla="*/ 2158409 h 2158409"/>
              <a:gd name="connsiteX1" fmla="*/ 3870251 w 3870251"/>
              <a:gd name="connsiteY1" fmla="*/ 2158409 h 2158409"/>
              <a:gd name="connsiteX2" fmla="*/ 3870251 w 3870251"/>
              <a:gd name="connsiteY2" fmla="*/ 0 h 2158409"/>
              <a:gd name="connsiteX3" fmla="*/ 10632 w 3870251"/>
              <a:gd name="connsiteY3" fmla="*/ 318976 h 2158409"/>
              <a:gd name="connsiteX4" fmla="*/ 0 w 3870251"/>
              <a:gd name="connsiteY4" fmla="*/ 2158409 h 2158409"/>
              <a:gd name="connsiteX0" fmla="*/ 0 w 3870251"/>
              <a:gd name="connsiteY0" fmla="*/ 2158409 h 2158409"/>
              <a:gd name="connsiteX1" fmla="*/ 3870251 w 3870251"/>
              <a:gd name="connsiteY1" fmla="*/ 2158409 h 2158409"/>
              <a:gd name="connsiteX2" fmla="*/ 3870251 w 3870251"/>
              <a:gd name="connsiteY2" fmla="*/ 0 h 2158409"/>
              <a:gd name="connsiteX3" fmla="*/ 14442 w 3870251"/>
              <a:gd name="connsiteY3" fmla="*/ 322786 h 2158409"/>
              <a:gd name="connsiteX4" fmla="*/ 0 w 3870251"/>
              <a:gd name="connsiteY4" fmla="*/ 2158409 h 2158409"/>
              <a:gd name="connsiteX0" fmla="*/ 0 w 3870251"/>
              <a:gd name="connsiteY0" fmla="*/ 2166029 h 2166029"/>
              <a:gd name="connsiteX1" fmla="*/ 3870251 w 3870251"/>
              <a:gd name="connsiteY1" fmla="*/ 2166029 h 2166029"/>
              <a:gd name="connsiteX2" fmla="*/ 3870251 w 3870251"/>
              <a:gd name="connsiteY2" fmla="*/ 0 h 2166029"/>
              <a:gd name="connsiteX3" fmla="*/ 14442 w 3870251"/>
              <a:gd name="connsiteY3" fmla="*/ 330406 h 2166029"/>
              <a:gd name="connsiteX4" fmla="*/ 0 w 3870251"/>
              <a:gd name="connsiteY4" fmla="*/ 2166029 h 2166029"/>
              <a:gd name="connsiteX0" fmla="*/ 0 w 3870251"/>
              <a:gd name="connsiteY0" fmla="*/ 2166029 h 2166029"/>
              <a:gd name="connsiteX1" fmla="*/ 3870251 w 3870251"/>
              <a:gd name="connsiteY1" fmla="*/ 2166029 h 2166029"/>
              <a:gd name="connsiteX2" fmla="*/ 3870251 w 3870251"/>
              <a:gd name="connsiteY2" fmla="*/ 0 h 2166029"/>
              <a:gd name="connsiteX3" fmla="*/ 6822 w 3870251"/>
              <a:gd name="connsiteY3" fmla="*/ 322786 h 2166029"/>
              <a:gd name="connsiteX4" fmla="*/ 0 w 3870251"/>
              <a:gd name="connsiteY4" fmla="*/ 2166029 h 216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251" h="2166029">
                <a:moveTo>
                  <a:pt x="0" y="2166029"/>
                </a:moveTo>
                <a:lnTo>
                  <a:pt x="3870251" y="2166029"/>
                </a:lnTo>
                <a:lnTo>
                  <a:pt x="3870251" y="0"/>
                </a:lnTo>
                <a:lnTo>
                  <a:pt x="6822" y="322786"/>
                </a:lnTo>
                <a:lnTo>
                  <a:pt x="0" y="2166029"/>
                </a:lnTo>
                <a:close/>
              </a:path>
            </a:pathLst>
          </a:custGeom>
          <a:solidFill>
            <a:srgbClr val="95E7D9"/>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8" name="Freeform 127"/>
          <p:cNvSpPr/>
          <p:nvPr/>
        </p:nvSpPr>
        <p:spPr>
          <a:xfrm>
            <a:off x="6916515" y="2372649"/>
            <a:ext cx="3886653" cy="1452393"/>
          </a:xfrm>
          <a:custGeom>
            <a:avLst/>
            <a:gdLst>
              <a:gd name="connsiteX0" fmla="*/ 0 w 3870251"/>
              <a:gd name="connsiteY0" fmla="*/ 2158409 h 2158409"/>
              <a:gd name="connsiteX1" fmla="*/ 3870251 w 3870251"/>
              <a:gd name="connsiteY1" fmla="*/ 2158409 h 2158409"/>
              <a:gd name="connsiteX2" fmla="*/ 3870251 w 3870251"/>
              <a:gd name="connsiteY2" fmla="*/ 0 h 2158409"/>
              <a:gd name="connsiteX3" fmla="*/ 10632 w 3870251"/>
              <a:gd name="connsiteY3" fmla="*/ 318976 h 2158409"/>
              <a:gd name="connsiteX4" fmla="*/ 0 w 3870251"/>
              <a:gd name="connsiteY4" fmla="*/ 2158409 h 2158409"/>
              <a:gd name="connsiteX0" fmla="*/ 0 w 3870251"/>
              <a:gd name="connsiteY0" fmla="*/ 2158409 h 2158409"/>
              <a:gd name="connsiteX1" fmla="*/ 3870251 w 3870251"/>
              <a:gd name="connsiteY1" fmla="*/ 2158409 h 2158409"/>
              <a:gd name="connsiteX2" fmla="*/ 3870251 w 3870251"/>
              <a:gd name="connsiteY2" fmla="*/ 0 h 2158409"/>
              <a:gd name="connsiteX3" fmla="*/ 14442 w 3870251"/>
              <a:gd name="connsiteY3" fmla="*/ 322786 h 2158409"/>
              <a:gd name="connsiteX4" fmla="*/ 0 w 3870251"/>
              <a:gd name="connsiteY4" fmla="*/ 2158409 h 2158409"/>
              <a:gd name="connsiteX0" fmla="*/ 0 w 3870251"/>
              <a:gd name="connsiteY0" fmla="*/ 2166029 h 2166029"/>
              <a:gd name="connsiteX1" fmla="*/ 3870251 w 3870251"/>
              <a:gd name="connsiteY1" fmla="*/ 2166029 h 2166029"/>
              <a:gd name="connsiteX2" fmla="*/ 3870251 w 3870251"/>
              <a:gd name="connsiteY2" fmla="*/ 0 h 2166029"/>
              <a:gd name="connsiteX3" fmla="*/ 14442 w 3870251"/>
              <a:gd name="connsiteY3" fmla="*/ 330406 h 2166029"/>
              <a:gd name="connsiteX4" fmla="*/ 0 w 3870251"/>
              <a:gd name="connsiteY4" fmla="*/ 2166029 h 2166029"/>
              <a:gd name="connsiteX0" fmla="*/ 0 w 3870251"/>
              <a:gd name="connsiteY0" fmla="*/ 2166029 h 2166029"/>
              <a:gd name="connsiteX1" fmla="*/ 3870251 w 3870251"/>
              <a:gd name="connsiteY1" fmla="*/ 2166029 h 2166029"/>
              <a:gd name="connsiteX2" fmla="*/ 3870251 w 3870251"/>
              <a:gd name="connsiteY2" fmla="*/ 0 h 2166029"/>
              <a:gd name="connsiteX3" fmla="*/ 6822 w 3870251"/>
              <a:gd name="connsiteY3" fmla="*/ 322786 h 2166029"/>
              <a:gd name="connsiteX4" fmla="*/ 0 w 3870251"/>
              <a:gd name="connsiteY4" fmla="*/ 2166029 h 216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251" h="2166029">
                <a:moveTo>
                  <a:pt x="0" y="2166029"/>
                </a:moveTo>
                <a:lnTo>
                  <a:pt x="3870251" y="2166029"/>
                </a:lnTo>
                <a:lnTo>
                  <a:pt x="3870251" y="0"/>
                </a:lnTo>
                <a:lnTo>
                  <a:pt x="6822" y="322786"/>
                </a:lnTo>
                <a:lnTo>
                  <a:pt x="0" y="2166029"/>
                </a:lnTo>
                <a:close/>
              </a:path>
            </a:pathLst>
          </a:custGeom>
          <a:solidFill>
            <a:srgbClr val="D2F4C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7" name="Freeform 126"/>
          <p:cNvSpPr/>
          <p:nvPr/>
        </p:nvSpPr>
        <p:spPr>
          <a:xfrm>
            <a:off x="6913827" y="2630908"/>
            <a:ext cx="3889722" cy="1452393"/>
          </a:xfrm>
          <a:custGeom>
            <a:avLst/>
            <a:gdLst>
              <a:gd name="connsiteX0" fmla="*/ 0 w 3870251"/>
              <a:gd name="connsiteY0" fmla="*/ 2158409 h 2158409"/>
              <a:gd name="connsiteX1" fmla="*/ 3870251 w 3870251"/>
              <a:gd name="connsiteY1" fmla="*/ 2158409 h 2158409"/>
              <a:gd name="connsiteX2" fmla="*/ 3870251 w 3870251"/>
              <a:gd name="connsiteY2" fmla="*/ 0 h 2158409"/>
              <a:gd name="connsiteX3" fmla="*/ 10632 w 3870251"/>
              <a:gd name="connsiteY3" fmla="*/ 318976 h 2158409"/>
              <a:gd name="connsiteX4" fmla="*/ 0 w 3870251"/>
              <a:gd name="connsiteY4" fmla="*/ 2158409 h 2158409"/>
              <a:gd name="connsiteX0" fmla="*/ 0 w 3870251"/>
              <a:gd name="connsiteY0" fmla="*/ 2158409 h 2158409"/>
              <a:gd name="connsiteX1" fmla="*/ 3870251 w 3870251"/>
              <a:gd name="connsiteY1" fmla="*/ 2158409 h 2158409"/>
              <a:gd name="connsiteX2" fmla="*/ 3870251 w 3870251"/>
              <a:gd name="connsiteY2" fmla="*/ 0 h 2158409"/>
              <a:gd name="connsiteX3" fmla="*/ 14442 w 3870251"/>
              <a:gd name="connsiteY3" fmla="*/ 322786 h 2158409"/>
              <a:gd name="connsiteX4" fmla="*/ 0 w 3870251"/>
              <a:gd name="connsiteY4" fmla="*/ 2158409 h 2158409"/>
              <a:gd name="connsiteX0" fmla="*/ 0 w 3870251"/>
              <a:gd name="connsiteY0" fmla="*/ 2166029 h 2166029"/>
              <a:gd name="connsiteX1" fmla="*/ 3870251 w 3870251"/>
              <a:gd name="connsiteY1" fmla="*/ 2166029 h 2166029"/>
              <a:gd name="connsiteX2" fmla="*/ 3870251 w 3870251"/>
              <a:gd name="connsiteY2" fmla="*/ 0 h 2166029"/>
              <a:gd name="connsiteX3" fmla="*/ 14442 w 3870251"/>
              <a:gd name="connsiteY3" fmla="*/ 330406 h 2166029"/>
              <a:gd name="connsiteX4" fmla="*/ 0 w 3870251"/>
              <a:gd name="connsiteY4" fmla="*/ 2166029 h 2166029"/>
              <a:gd name="connsiteX0" fmla="*/ 0 w 3870251"/>
              <a:gd name="connsiteY0" fmla="*/ 2166029 h 2166029"/>
              <a:gd name="connsiteX1" fmla="*/ 3870251 w 3870251"/>
              <a:gd name="connsiteY1" fmla="*/ 2166029 h 2166029"/>
              <a:gd name="connsiteX2" fmla="*/ 3870251 w 3870251"/>
              <a:gd name="connsiteY2" fmla="*/ 0 h 2166029"/>
              <a:gd name="connsiteX3" fmla="*/ 6822 w 3870251"/>
              <a:gd name="connsiteY3" fmla="*/ 322786 h 2166029"/>
              <a:gd name="connsiteX4" fmla="*/ 0 w 3870251"/>
              <a:gd name="connsiteY4" fmla="*/ 2166029 h 216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251" h="2166029">
                <a:moveTo>
                  <a:pt x="0" y="2166029"/>
                </a:moveTo>
                <a:lnTo>
                  <a:pt x="3870251" y="2166029"/>
                </a:lnTo>
                <a:lnTo>
                  <a:pt x="3870251" y="0"/>
                </a:lnTo>
                <a:lnTo>
                  <a:pt x="6822" y="322786"/>
                </a:lnTo>
                <a:lnTo>
                  <a:pt x="0" y="2166029"/>
                </a:lnTo>
                <a:close/>
              </a:path>
            </a:pathLst>
          </a:custGeom>
          <a:solidFill>
            <a:srgbClr val="FBF4BD"/>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5" name="Freeform 124"/>
          <p:cNvSpPr/>
          <p:nvPr/>
        </p:nvSpPr>
        <p:spPr>
          <a:xfrm>
            <a:off x="6927073" y="2825470"/>
            <a:ext cx="3870251" cy="1452393"/>
          </a:xfrm>
          <a:custGeom>
            <a:avLst/>
            <a:gdLst>
              <a:gd name="connsiteX0" fmla="*/ 0 w 3870251"/>
              <a:gd name="connsiteY0" fmla="*/ 2158409 h 2158409"/>
              <a:gd name="connsiteX1" fmla="*/ 3870251 w 3870251"/>
              <a:gd name="connsiteY1" fmla="*/ 2158409 h 2158409"/>
              <a:gd name="connsiteX2" fmla="*/ 3870251 w 3870251"/>
              <a:gd name="connsiteY2" fmla="*/ 0 h 2158409"/>
              <a:gd name="connsiteX3" fmla="*/ 10632 w 3870251"/>
              <a:gd name="connsiteY3" fmla="*/ 318976 h 2158409"/>
              <a:gd name="connsiteX4" fmla="*/ 0 w 3870251"/>
              <a:gd name="connsiteY4" fmla="*/ 2158409 h 2158409"/>
              <a:gd name="connsiteX0" fmla="*/ 0 w 3870251"/>
              <a:gd name="connsiteY0" fmla="*/ 2158409 h 2158409"/>
              <a:gd name="connsiteX1" fmla="*/ 3870251 w 3870251"/>
              <a:gd name="connsiteY1" fmla="*/ 2158409 h 2158409"/>
              <a:gd name="connsiteX2" fmla="*/ 3870251 w 3870251"/>
              <a:gd name="connsiteY2" fmla="*/ 0 h 2158409"/>
              <a:gd name="connsiteX3" fmla="*/ 14442 w 3870251"/>
              <a:gd name="connsiteY3" fmla="*/ 322786 h 2158409"/>
              <a:gd name="connsiteX4" fmla="*/ 0 w 3870251"/>
              <a:gd name="connsiteY4" fmla="*/ 2158409 h 2158409"/>
              <a:gd name="connsiteX0" fmla="*/ 0 w 3870251"/>
              <a:gd name="connsiteY0" fmla="*/ 2166029 h 2166029"/>
              <a:gd name="connsiteX1" fmla="*/ 3870251 w 3870251"/>
              <a:gd name="connsiteY1" fmla="*/ 2166029 h 2166029"/>
              <a:gd name="connsiteX2" fmla="*/ 3870251 w 3870251"/>
              <a:gd name="connsiteY2" fmla="*/ 0 h 2166029"/>
              <a:gd name="connsiteX3" fmla="*/ 14442 w 3870251"/>
              <a:gd name="connsiteY3" fmla="*/ 330406 h 2166029"/>
              <a:gd name="connsiteX4" fmla="*/ 0 w 3870251"/>
              <a:gd name="connsiteY4" fmla="*/ 2166029 h 2166029"/>
              <a:gd name="connsiteX0" fmla="*/ 0 w 3870251"/>
              <a:gd name="connsiteY0" fmla="*/ 2166029 h 2166029"/>
              <a:gd name="connsiteX1" fmla="*/ 3870251 w 3870251"/>
              <a:gd name="connsiteY1" fmla="*/ 2166029 h 2166029"/>
              <a:gd name="connsiteX2" fmla="*/ 3870251 w 3870251"/>
              <a:gd name="connsiteY2" fmla="*/ 0 h 2166029"/>
              <a:gd name="connsiteX3" fmla="*/ 6822 w 3870251"/>
              <a:gd name="connsiteY3" fmla="*/ 322786 h 2166029"/>
              <a:gd name="connsiteX4" fmla="*/ 0 w 3870251"/>
              <a:gd name="connsiteY4" fmla="*/ 2166029 h 216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251" h="2166029">
                <a:moveTo>
                  <a:pt x="0" y="2166029"/>
                </a:moveTo>
                <a:lnTo>
                  <a:pt x="3870251" y="2166029"/>
                </a:lnTo>
                <a:lnTo>
                  <a:pt x="3870251" y="0"/>
                </a:lnTo>
                <a:lnTo>
                  <a:pt x="6822" y="322786"/>
                </a:lnTo>
                <a:lnTo>
                  <a:pt x="0" y="2166029"/>
                </a:lnTo>
                <a:close/>
              </a:path>
            </a:pathLst>
          </a:custGeom>
          <a:solidFill>
            <a:srgbClr val="FBF4BD"/>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4" name="Freeform 123"/>
          <p:cNvSpPr/>
          <p:nvPr/>
        </p:nvSpPr>
        <p:spPr>
          <a:xfrm>
            <a:off x="6927073" y="3033341"/>
            <a:ext cx="3870251" cy="1452393"/>
          </a:xfrm>
          <a:custGeom>
            <a:avLst/>
            <a:gdLst>
              <a:gd name="connsiteX0" fmla="*/ 0 w 3870251"/>
              <a:gd name="connsiteY0" fmla="*/ 2158409 h 2158409"/>
              <a:gd name="connsiteX1" fmla="*/ 3870251 w 3870251"/>
              <a:gd name="connsiteY1" fmla="*/ 2158409 h 2158409"/>
              <a:gd name="connsiteX2" fmla="*/ 3870251 w 3870251"/>
              <a:gd name="connsiteY2" fmla="*/ 0 h 2158409"/>
              <a:gd name="connsiteX3" fmla="*/ 10632 w 3870251"/>
              <a:gd name="connsiteY3" fmla="*/ 318976 h 2158409"/>
              <a:gd name="connsiteX4" fmla="*/ 0 w 3870251"/>
              <a:gd name="connsiteY4" fmla="*/ 2158409 h 2158409"/>
              <a:gd name="connsiteX0" fmla="*/ 0 w 3870251"/>
              <a:gd name="connsiteY0" fmla="*/ 2158409 h 2158409"/>
              <a:gd name="connsiteX1" fmla="*/ 3870251 w 3870251"/>
              <a:gd name="connsiteY1" fmla="*/ 2158409 h 2158409"/>
              <a:gd name="connsiteX2" fmla="*/ 3870251 w 3870251"/>
              <a:gd name="connsiteY2" fmla="*/ 0 h 2158409"/>
              <a:gd name="connsiteX3" fmla="*/ 14442 w 3870251"/>
              <a:gd name="connsiteY3" fmla="*/ 322786 h 2158409"/>
              <a:gd name="connsiteX4" fmla="*/ 0 w 3870251"/>
              <a:gd name="connsiteY4" fmla="*/ 2158409 h 2158409"/>
              <a:gd name="connsiteX0" fmla="*/ 0 w 3870251"/>
              <a:gd name="connsiteY0" fmla="*/ 2166029 h 2166029"/>
              <a:gd name="connsiteX1" fmla="*/ 3870251 w 3870251"/>
              <a:gd name="connsiteY1" fmla="*/ 2166029 h 2166029"/>
              <a:gd name="connsiteX2" fmla="*/ 3870251 w 3870251"/>
              <a:gd name="connsiteY2" fmla="*/ 0 h 2166029"/>
              <a:gd name="connsiteX3" fmla="*/ 14442 w 3870251"/>
              <a:gd name="connsiteY3" fmla="*/ 330406 h 2166029"/>
              <a:gd name="connsiteX4" fmla="*/ 0 w 3870251"/>
              <a:gd name="connsiteY4" fmla="*/ 2166029 h 2166029"/>
              <a:gd name="connsiteX0" fmla="*/ 0 w 3870251"/>
              <a:gd name="connsiteY0" fmla="*/ 2166029 h 2166029"/>
              <a:gd name="connsiteX1" fmla="*/ 3870251 w 3870251"/>
              <a:gd name="connsiteY1" fmla="*/ 2166029 h 2166029"/>
              <a:gd name="connsiteX2" fmla="*/ 3870251 w 3870251"/>
              <a:gd name="connsiteY2" fmla="*/ 0 h 2166029"/>
              <a:gd name="connsiteX3" fmla="*/ 6822 w 3870251"/>
              <a:gd name="connsiteY3" fmla="*/ 322786 h 2166029"/>
              <a:gd name="connsiteX4" fmla="*/ 0 w 3870251"/>
              <a:gd name="connsiteY4" fmla="*/ 2166029 h 216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251" h="2166029">
                <a:moveTo>
                  <a:pt x="0" y="2166029"/>
                </a:moveTo>
                <a:lnTo>
                  <a:pt x="3870251" y="2166029"/>
                </a:lnTo>
                <a:lnTo>
                  <a:pt x="3870251" y="0"/>
                </a:lnTo>
                <a:lnTo>
                  <a:pt x="6822" y="322786"/>
                </a:lnTo>
                <a:lnTo>
                  <a:pt x="0" y="2166029"/>
                </a:lnTo>
                <a:close/>
              </a:path>
            </a:pathLst>
          </a:custGeom>
          <a:solidFill>
            <a:srgbClr val="F6E56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3" name="Freeform 122"/>
          <p:cNvSpPr/>
          <p:nvPr/>
        </p:nvSpPr>
        <p:spPr>
          <a:xfrm>
            <a:off x="6927073" y="3241831"/>
            <a:ext cx="3870251" cy="1452393"/>
          </a:xfrm>
          <a:custGeom>
            <a:avLst/>
            <a:gdLst>
              <a:gd name="connsiteX0" fmla="*/ 0 w 3870251"/>
              <a:gd name="connsiteY0" fmla="*/ 2158409 h 2158409"/>
              <a:gd name="connsiteX1" fmla="*/ 3870251 w 3870251"/>
              <a:gd name="connsiteY1" fmla="*/ 2158409 h 2158409"/>
              <a:gd name="connsiteX2" fmla="*/ 3870251 w 3870251"/>
              <a:gd name="connsiteY2" fmla="*/ 0 h 2158409"/>
              <a:gd name="connsiteX3" fmla="*/ 10632 w 3870251"/>
              <a:gd name="connsiteY3" fmla="*/ 318976 h 2158409"/>
              <a:gd name="connsiteX4" fmla="*/ 0 w 3870251"/>
              <a:gd name="connsiteY4" fmla="*/ 2158409 h 2158409"/>
              <a:gd name="connsiteX0" fmla="*/ 0 w 3870251"/>
              <a:gd name="connsiteY0" fmla="*/ 2158409 h 2158409"/>
              <a:gd name="connsiteX1" fmla="*/ 3870251 w 3870251"/>
              <a:gd name="connsiteY1" fmla="*/ 2158409 h 2158409"/>
              <a:gd name="connsiteX2" fmla="*/ 3870251 w 3870251"/>
              <a:gd name="connsiteY2" fmla="*/ 0 h 2158409"/>
              <a:gd name="connsiteX3" fmla="*/ 14442 w 3870251"/>
              <a:gd name="connsiteY3" fmla="*/ 322786 h 2158409"/>
              <a:gd name="connsiteX4" fmla="*/ 0 w 3870251"/>
              <a:gd name="connsiteY4" fmla="*/ 2158409 h 2158409"/>
              <a:gd name="connsiteX0" fmla="*/ 0 w 3870251"/>
              <a:gd name="connsiteY0" fmla="*/ 2166029 h 2166029"/>
              <a:gd name="connsiteX1" fmla="*/ 3870251 w 3870251"/>
              <a:gd name="connsiteY1" fmla="*/ 2166029 h 2166029"/>
              <a:gd name="connsiteX2" fmla="*/ 3870251 w 3870251"/>
              <a:gd name="connsiteY2" fmla="*/ 0 h 2166029"/>
              <a:gd name="connsiteX3" fmla="*/ 14442 w 3870251"/>
              <a:gd name="connsiteY3" fmla="*/ 330406 h 2166029"/>
              <a:gd name="connsiteX4" fmla="*/ 0 w 3870251"/>
              <a:gd name="connsiteY4" fmla="*/ 2166029 h 2166029"/>
              <a:gd name="connsiteX0" fmla="*/ 0 w 3870251"/>
              <a:gd name="connsiteY0" fmla="*/ 2166029 h 2166029"/>
              <a:gd name="connsiteX1" fmla="*/ 3870251 w 3870251"/>
              <a:gd name="connsiteY1" fmla="*/ 2166029 h 2166029"/>
              <a:gd name="connsiteX2" fmla="*/ 3870251 w 3870251"/>
              <a:gd name="connsiteY2" fmla="*/ 0 h 2166029"/>
              <a:gd name="connsiteX3" fmla="*/ 6822 w 3870251"/>
              <a:gd name="connsiteY3" fmla="*/ 322786 h 2166029"/>
              <a:gd name="connsiteX4" fmla="*/ 0 w 3870251"/>
              <a:gd name="connsiteY4" fmla="*/ 2166029 h 216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251" h="2166029">
                <a:moveTo>
                  <a:pt x="0" y="2166029"/>
                </a:moveTo>
                <a:lnTo>
                  <a:pt x="3870251" y="2166029"/>
                </a:lnTo>
                <a:lnTo>
                  <a:pt x="3870251" y="0"/>
                </a:lnTo>
                <a:lnTo>
                  <a:pt x="6822" y="322786"/>
                </a:lnTo>
                <a:lnTo>
                  <a:pt x="0" y="2166029"/>
                </a:lnTo>
                <a:close/>
              </a:path>
            </a:pathLst>
          </a:custGeom>
          <a:solidFill>
            <a:srgbClr val="FCBB6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 name="Freeform 2"/>
          <p:cNvSpPr/>
          <p:nvPr/>
        </p:nvSpPr>
        <p:spPr>
          <a:xfrm>
            <a:off x="6917305" y="3449240"/>
            <a:ext cx="3870251" cy="1452393"/>
          </a:xfrm>
          <a:custGeom>
            <a:avLst/>
            <a:gdLst>
              <a:gd name="connsiteX0" fmla="*/ 0 w 3870251"/>
              <a:gd name="connsiteY0" fmla="*/ 2158409 h 2158409"/>
              <a:gd name="connsiteX1" fmla="*/ 3870251 w 3870251"/>
              <a:gd name="connsiteY1" fmla="*/ 2158409 h 2158409"/>
              <a:gd name="connsiteX2" fmla="*/ 3870251 w 3870251"/>
              <a:gd name="connsiteY2" fmla="*/ 0 h 2158409"/>
              <a:gd name="connsiteX3" fmla="*/ 10632 w 3870251"/>
              <a:gd name="connsiteY3" fmla="*/ 318976 h 2158409"/>
              <a:gd name="connsiteX4" fmla="*/ 0 w 3870251"/>
              <a:gd name="connsiteY4" fmla="*/ 2158409 h 2158409"/>
              <a:gd name="connsiteX0" fmla="*/ 0 w 3870251"/>
              <a:gd name="connsiteY0" fmla="*/ 2158409 h 2158409"/>
              <a:gd name="connsiteX1" fmla="*/ 3870251 w 3870251"/>
              <a:gd name="connsiteY1" fmla="*/ 2158409 h 2158409"/>
              <a:gd name="connsiteX2" fmla="*/ 3870251 w 3870251"/>
              <a:gd name="connsiteY2" fmla="*/ 0 h 2158409"/>
              <a:gd name="connsiteX3" fmla="*/ 14442 w 3870251"/>
              <a:gd name="connsiteY3" fmla="*/ 322786 h 2158409"/>
              <a:gd name="connsiteX4" fmla="*/ 0 w 3870251"/>
              <a:gd name="connsiteY4" fmla="*/ 2158409 h 2158409"/>
              <a:gd name="connsiteX0" fmla="*/ 0 w 3870251"/>
              <a:gd name="connsiteY0" fmla="*/ 2166029 h 2166029"/>
              <a:gd name="connsiteX1" fmla="*/ 3870251 w 3870251"/>
              <a:gd name="connsiteY1" fmla="*/ 2166029 h 2166029"/>
              <a:gd name="connsiteX2" fmla="*/ 3870251 w 3870251"/>
              <a:gd name="connsiteY2" fmla="*/ 0 h 2166029"/>
              <a:gd name="connsiteX3" fmla="*/ 14442 w 3870251"/>
              <a:gd name="connsiteY3" fmla="*/ 330406 h 2166029"/>
              <a:gd name="connsiteX4" fmla="*/ 0 w 3870251"/>
              <a:gd name="connsiteY4" fmla="*/ 2166029 h 2166029"/>
              <a:gd name="connsiteX0" fmla="*/ 0 w 3870251"/>
              <a:gd name="connsiteY0" fmla="*/ 2166029 h 2166029"/>
              <a:gd name="connsiteX1" fmla="*/ 3870251 w 3870251"/>
              <a:gd name="connsiteY1" fmla="*/ 2166029 h 2166029"/>
              <a:gd name="connsiteX2" fmla="*/ 3870251 w 3870251"/>
              <a:gd name="connsiteY2" fmla="*/ 0 h 2166029"/>
              <a:gd name="connsiteX3" fmla="*/ 6822 w 3870251"/>
              <a:gd name="connsiteY3" fmla="*/ 322786 h 2166029"/>
              <a:gd name="connsiteX4" fmla="*/ 0 w 3870251"/>
              <a:gd name="connsiteY4" fmla="*/ 2166029 h 216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0251" h="2166029">
                <a:moveTo>
                  <a:pt x="0" y="2166029"/>
                </a:moveTo>
                <a:lnTo>
                  <a:pt x="3870251" y="2166029"/>
                </a:lnTo>
                <a:lnTo>
                  <a:pt x="3870251" y="0"/>
                </a:lnTo>
                <a:lnTo>
                  <a:pt x="6822" y="322786"/>
                </a:lnTo>
                <a:lnTo>
                  <a:pt x="0" y="2166029"/>
                </a:lnTo>
                <a:close/>
              </a:path>
            </a:pathLst>
          </a:custGeom>
          <a:solidFill>
            <a:srgbClr val="FD515D"/>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22385" y="103032"/>
            <a:ext cx="11580446" cy="424022"/>
          </a:xfrm>
        </p:spPr>
        <p:txBody>
          <a:bodyPr/>
          <a:lstStyle/>
          <a:p>
            <a:pPr>
              <a:lnSpc>
                <a:spcPct val="100000"/>
              </a:lnSpc>
            </a:pPr>
            <a:r>
              <a:rPr lang="en-US" dirty="0" smtClean="0"/>
              <a:t>Risk Identification</a:t>
            </a:r>
            <a:endParaRPr lang="en-US" dirty="0"/>
          </a:p>
        </p:txBody>
      </p:sp>
      <p:sp>
        <p:nvSpPr>
          <p:cNvPr id="9" name="Text Placeholder 8"/>
          <p:cNvSpPr>
            <a:spLocks noGrp="1"/>
          </p:cNvSpPr>
          <p:nvPr>
            <p:ph type="body" sz="quarter" idx="12"/>
          </p:nvPr>
        </p:nvSpPr>
        <p:spPr>
          <a:xfrm>
            <a:off x="322385" y="642939"/>
            <a:ext cx="11580446" cy="716078"/>
          </a:xfrm>
        </p:spPr>
        <p:txBody>
          <a:bodyPr/>
          <a:lstStyle/>
          <a:p>
            <a:r>
              <a:rPr lang="en-US" dirty="0" smtClean="0"/>
              <a:t>Shifting Design Standards</a:t>
            </a:r>
            <a:endParaRPr lang="en-US" sz="1000" dirty="0"/>
          </a:p>
        </p:txBody>
      </p:sp>
      <p:sp>
        <p:nvSpPr>
          <p:cNvPr id="10" name="TextBox 9"/>
          <p:cNvSpPr txBox="1"/>
          <p:nvPr/>
        </p:nvSpPr>
        <p:spPr>
          <a:xfrm>
            <a:off x="6071827" y="5466598"/>
            <a:ext cx="5617943" cy="707886"/>
          </a:xfrm>
          <a:prstGeom prst="rect">
            <a:avLst/>
          </a:prstGeom>
          <a:noFill/>
        </p:spPr>
        <p:txBody>
          <a:bodyPr wrap="square" rtlCol="0">
            <a:spAutoFit/>
          </a:bodyPr>
          <a:lstStyle/>
          <a:p>
            <a:r>
              <a:rPr lang="en-US" sz="1000" dirty="0"/>
              <a:t>Source: Ray, Patrick A., and Casey M. Brown. 2015. </a:t>
            </a:r>
            <a:r>
              <a:rPr lang="en-US" sz="1000" i="1" dirty="0"/>
              <a:t>Confronting</a:t>
            </a:r>
          </a:p>
          <a:p>
            <a:r>
              <a:rPr lang="en-US" sz="1000" i="1" dirty="0"/>
              <a:t>Climate Uncertainty in Water Resources Planning and Project Design: The Decision Tree Framework.</a:t>
            </a:r>
          </a:p>
          <a:p>
            <a:r>
              <a:rPr lang="en-US" sz="1000" dirty="0"/>
              <a:t>Washington, DC: World Bank. doi:10.1596/978-1-4648-0477-9. License: Creative Commons</a:t>
            </a:r>
          </a:p>
          <a:p>
            <a:r>
              <a:rPr lang="en-US" sz="1000" dirty="0"/>
              <a:t>Attribution CC BY 3.0 IGO</a:t>
            </a:r>
          </a:p>
        </p:txBody>
      </p:sp>
      <p:sp>
        <p:nvSpPr>
          <p:cNvPr id="39" name="Text Placeholder 2"/>
          <p:cNvSpPr>
            <a:spLocks noGrp="1"/>
          </p:cNvSpPr>
          <p:nvPr>
            <p:ph type="body" sz="quarter" idx="10"/>
          </p:nvPr>
        </p:nvSpPr>
        <p:spPr>
          <a:xfrm>
            <a:off x="468922" y="1250950"/>
            <a:ext cx="4840057" cy="5020882"/>
          </a:xfrm>
        </p:spPr>
        <p:txBody>
          <a:bodyPr/>
          <a:lstStyle/>
          <a:p>
            <a:pPr marL="0" indent="0">
              <a:buNone/>
            </a:pPr>
            <a:r>
              <a:rPr lang="en-GB" b="1" dirty="0" smtClean="0"/>
              <a:t>Acceptability Thresholds</a:t>
            </a:r>
            <a:endParaRPr lang="en-GB" b="1" dirty="0"/>
          </a:p>
          <a:p>
            <a:pPr marL="0" indent="0">
              <a:buNone/>
            </a:pPr>
            <a:r>
              <a:rPr lang="en-GB" dirty="0"/>
              <a:t>Downscaled GCMs can produce average values for climate parameters over set planning periods, for example 2020 to 2050. </a:t>
            </a:r>
          </a:p>
          <a:p>
            <a:r>
              <a:rPr lang="en-GB" dirty="0"/>
              <a:t>Climate Response Map indicates the climate sensitivity of a roadway project</a:t>
            </a:r>
          </a:p>
          <a:p>
            <a:r>
              <a:rPr lang="en-GB" dirty="0"/>
              <a:t>Climate response functions can be used to identify changes in performance with varying climate conditions</a:t>
            </a:r>
          </a:p>
          <a:p>
            <a:r>
              <a:rPr lang="en-GB" dirty="0"/>
              <a:t>Example (right) shows a hypothetical performance threshold mapped to climatic parameters </a:t>
            </a:r>
          </a:p>
          <a:p>
            <a:endParaRPr lang="en-GB" dirty="0"/>
          </a:p>
          <a:p>
            <a:pPr marL="0" indent="0">
              <a:buNone/>
            </a:pPr>
            <a:r>
              <a:rPr lang="en-GB" b="1" dirty="0"/>
              <a:t>Roadway Design Standards</a:t>
            </a:r>
          </a:p>
          <a:p>
            <a:pPr marL="0" indent="0">
              <a:buNone/>
            </a:pPr>
            <a:endParaRPr lang="en-US" dirty="0"/>
          </a:p>
        </p:txBody>
      </p:sp>
      <p:sp>
        <p:nvSpPr>
          <p:cNvPr id="16" name="5-Point Star 15"/>
          <p:cNvSpPr/>
          <p:nvPr/>
        </p:nvSpPr>
        <p:spPr>
          <a:xfrm>
            <a:off x="8187655" y="3582099"/>
            <a:ext cx="109057" cy="109057"/>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0" name="5-Point Star 19"/>
          <p:cNvSpPr/>
          <p:nvPr/>
        </p:nvSpPr>
        <p:spPr>
          <a:xfrm>
            <a:off x="10851770" y="3422050"/>
            <a:ext cx="73878" cy="73878"/>
          </a:xfrm>
          <a:prstGeom prst="star5">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9" name="TextBox 18"/>
          <p:cNvSpPr txBox="1"/>
          <p:nvPr/>
        </p:nvSpPr>
        <p:spPr>
          <a:xfrm>
            <a:off x="10888709" y="3335878"/>
            <a:ext cx="718782" cy="246221"/>
          </a:xfrm>
          <a:prstGeom prst="rect">
            <a:avLst/>
          </a:prstGeom>
          <a:noFill/>
        </p:spPr>
        <p:txBody>
          <a:bodyPr wrap="square" rtlCol="0">
            <a:spAutoFit/>
          </a:bodyPr>
          <a:lstStyle/>
          <a:p>
            <a:r>
              <a:rPr lang="en-US" sz="1000" dirty="0">
                <a:solidFill>
                  <a:schemeClr val="bg2">
                    <a:lumMod val="75000"/>
                  </a:schemeClr>
                </a:solidFill>
              </a:rPr>
              <a:t>Present</a:t>
            </a:r>
          </a:p>
        </p:txBody>
      </p:sp>
      <p:sp>
        <p:nvSpPr>
          <p:cNvPr id="21" name="Isosceles Triangle 20"/>
          <p:cNvSpPr/>
          <p:nvPr/>
        </p:nvSpPr>
        <p:spPr>
          <a:xfrm>
            <a:off x="10854503" y="3030420"/>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p:cNvSpPr/>
          <p:nvPr/>
        </p:nvSpPr>
        <p:spPr>
          <a:xfrm>
            <a:off x="8648672" y="3444533"/>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Isosceles Triangle 24"/>
          <p:cNvSpPr/>
          <p:nvPr/>
        </p:nvSpPr>
        <p:spPr>
          <a:xfrm>
            <a:off x="8722550" y="311127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Isosceles Triangle 25"/>
          <p:cNvSpPr/>
          <p:nvPr/>
        </p:nvSpPr>
        <p:spPr>
          <a:xfrm>
            <a:off x="9061049" y="3280545"/>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Isosceles Triangle 26"/>
          <p:cNvSpPr/>
          <p:nvPr/>
        </p:nvSpPr>
        <p:spPr>
          <a:xfrm>
            <a:off x="9228882" y="3021873"/>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Isosceles Triangle 27"/>
          <p:cNvSpPr/>
          <p:nvPr/>
        </p:nvSpPr>
        <p:spPr>
          <a:xfrm>
            <a:off x="8945425" y="2906742"/>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Isosceles Triangle 28"/>
          <p:cNvSpPr/>
          <p:nvPr/>
        </p:nvSpPr>
        <p:spPr>
          <a:xfrm>
            <a:off x="9097825" y="3059142"/>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Isosceles Triangle 29"/>
          <p:cNvSpPr/>
          <p:nvPr/>
        </p:nvSpPr>
        <p:spPr>
          <a:xfrm>
            <a:off x="9250225" y="3211542"/>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Isosceles Triangle 30"/>
          <p:cNvSpPr/>
          <p:nvPr/>
        </p:nvSpPr>
        <p:spPr>
          <a:xfrm>
            <a:off x="8871547" y="3400150"/>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Isosceles Triangle 31"/>
          <p:cNvSpPr/>
          <p:nvPr/>
        </p:nvSpPr>
        <p:spPr>
          <a:xfrm>
            <a:off x="8945425" y="3066896"/>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Isosceles Triangle 32"/>
          <p:cNvSpPr/>
          <p:nvPr/>
        </p:nvSpPr>
        <p:spPr>
          <a:xfrm>
            <a:off x="9283924" y="3236162"/>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Isosceles Triangle 33"/>
          <p:cNvSpPr/>
          <p:nvPr/>
        </p:nvSpPr>
        <p:spPr>
          <a:xfrm>
            <a:off x="9168300" y="286235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Isosceles Triangle 34"/>
          <p:cNvSpPr/>
          <p:nvPr/>
        </p:nvSpPr>
        <p:spPr>
          <a:xfrm>
            <a:off x="9320700" y="301475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Isosceles Triangle 35"/>
          <p:cNvSpPr/>
          <p:nvPr/>
        </p:nvSpPr>
        <p:spPr>
          <a:xfrm>
            <a:off x="9473100" y="316715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Isosceles Triangle 36"/>
          <p:cNvSpPr/>
          <p:nvPr/>
        </p:nvSpPr>
        <p:spPr>
          <a:xfrm>
            <a:off x="8449137" y="3190740"/>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Isosceles Triangle 37"/>
          <p:cNvSpPr/>
          <p:nvPr/>
        </p:nvSpPr>
        <p:spPr>
          <a:xfrm>
            <a:off x="8523015" y="2857486"/>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Isosceles Triangle 39"/>
          <p:cNvSpPr/>
          <p:nvPr/>
        </p:nvSpPr>
        <p:spPr>
          <a:xfrm>
            <a:off x="8861514" y="3026752"/>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Isosceles Triangle 40"/>
          <p:cNvSpPr/>
          <p:nvPr/>
        </p:nvSpPr>
        <p:spPr>
          <a:xfrm>
            <a:off x="8745890" y="265294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Isosceles Triangle 41"/>
          <p:cNvSpPr/>
          <p:nvPr/>
        </p:nvSpPr>
        <p:spPr>
          <a:xfrm>
            <a:off x="8898290" y="280534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Isosceles Triangle 42"/>
          <p:cNvSpPr/>
          <p:nvPr/>
        </p:nvSpPr>
        <p:spPr>
          <a:xfrm>
            <a:off x="9050690" y="295774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Isosceles Triangle 43"/>
          <p:cNvSpPr/>
          <p:nvPr/>
        </p:nvSpPr>
        <p:spPr>
          <a:xfrm>
            <a:off x="8899890" y="3109608"/>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Isosceles Triangle 44"/>
          <p:cNvSpPr/>
          <p:nvPr/>
        </p:nvSpPr>
        <p:spPr>
          <a:xfrm>
            <a:off x="8973768" y="2776354"/>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sosceles Triangle 45"/>
          <p:cNvSpPr/>
          <p:nvPr/>
        </p:nvSpPr>
        <p:spPr>
          <a:xfrm>
            <a:off x="9312267" y="2945620"/>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Isosceles Triangle 46"/>
          <p:cNvSpPr/>
          <p:nvPr/>
        </p:nvSpPr>
        <p:spPr>
          <a:xfrm>
            <a:off x="9196643" y="2571817"/>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Isosceles Triangle 47"/>
          <p:cNvSpPr/>
          <p:nvPr/>
        </p:nvSpPr>
        <p:spPr>
          <a:xfrm>
            <a:off x="9349043" y="2724217"/>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Isosceles Triangle 48"/>
          <p:cNvSpPr/>
          <p:nvPr/>
        </p:nvSpPr>
        <p:spPr>
          <a:xfrm>
            <a:off x="9501443" y="2876617"/>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Isosceles Triangle 49"/>
          <p:cNvSpPr/>
          <p:nvPr/>
        </p:nvSpPr>
        <p:spPr>
          <a:xfrm>
            <a:off x="8581804" y="3739140"/>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Isosceles Triangle 50"/>
          <p:cNvSpPr/>
          <p:nvPr/>
        </p:nvSpPr>
        <p:spPr>
          <a:xfrm>
            <a:off x="8655682" y="3405886"/>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Isosceles Triangle 51"/>
          <p:cNvSpPr/>
          <p:nvPr/>
        </p:nvSpPr>
        <p:spPr>
          <a:xfrm>
            <a:off x="8994181" y="3575152"/>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Isosceles Triangle 52"/>
          <p:cNvSpPr/>
          <p:nvPr/>
        </p:nvSpPr>
        <p:spPr>
          <a:xfrm>
            <a:off x="8878557" y="320134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Isosceles Triangle 53"/>
          <p:cNvSpPr/>
          <p:nvPr/>
        </p:nvSpPr>
        <p:spPr>
          <a:xfrm>
            <a:off x="9030957" y="335374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Isosceles Triangle 54"/>
          <p:cNvSpPr/>
          <p:nvPr/>
        </p:nvSpPr>
        <p:spPr>
          <a:xfrm>
            <a:off x="9183357" y="3506149"/>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Isosceles Triangle 55"/>
          <p:cNvSpPr/>
          <p:nvPr/>
        </p:nvSpPr>
        <p:spPr>
          <a:xfrm>
            <a:off x="8112941" y="3447655"/>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p:cNvSpPr/>
          <p:nvPr/>
        </p:nvSpPr>
        <p:spPr>
          <a:xfrm>
            <a:off x="8186819" y="3114401"/>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Isosceles Triangle 57"/>
          <p:cNvSpPr/>
          <p:nvPr/>
        </p:nvSpPr>
        <p:spPr>
          <a:xfrm>
            <a:off x="8525318" y="3283667"/>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p:cNvSpPr/>
          <p:nvPr/>
        </p:nvSpPr>
        <p:spPr>
          <a:xfrm>
            <a:off x="8409694" y="2909864"/>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Isosceles Triangle 59"/>
          <p:cNvSpPr/>
          <p:nvPr/>
        </p:nvSpPr>
        <p:spPr>
          <a:xfrm>
            <a:off x="8562094" y="3062264"/>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Isosceles Triangle 60"/>
          <p:cNvSpPr/>
          <p:nvPr/>
        </p:nvSpPr>
        <p:spPr>
          <a:xfrm>
            <a:off x="8714494" y="3214664"/>
            <a:ext cx="73878" cy="63688"/>
          </a:xfrm>
          <a:prstGeom prst="triangl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p:cNvSpPr/>
          <p:nvPr/>
        </p:nvSpPr>
        <p:spPr>
          <a:xfrm>
            <a:off x="10841601" y="322258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p:cNvSpPr/>
          <p:nvPr/>
        </p:nvSpPr>
        <p:spPr>
          <a:xfrm>
            <a:off x="9394294" y="2633631"/>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nvSpPr>
        <p:spPr>
          <a:xfrm>
            <a:off x="9637014" y="2702618"/>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Oval 63"/>
          <p:cNvSpPr/>
          <p:nvPr/>
        </p:nvSpPr>
        <p:spPr>
          <a:xfrm>
            <a:off x="9546694" y="2786031"/>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Oval 64"/>
          <p:cNvSpPr/>
          <p:nvPr/>
        </p:nvSpPr>
        <p:spPr>
          <a:xfrm>
            <a:off x="9789414" y="2855018"/>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nvSpPr>
        <p:spPr>
          <a:xfrm>
            <a:off x="9699094" y="2938431"/>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p:cNvSpPr/>
          <p:nvPr/>
        </p:nvSpPr>
        <p:spPr>
          <a:xfrm>
            <a:off x="10024541" y="2747398"/>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Oval 67"/>
          <p:cNvSpPr/>
          <p:nvPr/>
        </p:nvSpPr>
        <p:spPr>
          <a:xfrm>
            <a:off x="9907791" y="276749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p:cNvSpPr/>
          <p:nvPr/>
        </p:nvSpPr>
        <p:spPr>
          <a:xfrm>
            <a:off x="9651912" y="3096171"/>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p:cNvSpPr/>
          <p:nvPr/>
        </p:nvSpPr>
        <p:spPr>
          <a:xfrm>
            <a:off x="9824175" y="2585348"/>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val 70"/>
          <p:cNvSpPr/>
          <p:nvPr/>
        </p:nvSpPr>
        <p:spPr>
          <a:xfrm>
            <a:off x="9985057" y="2915081"/>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p:cNvSpPr/>
          <p:nvPr/>
        </p:nvSpPr>
        <p:spPr>
          <a:xfrm>
            <a:off x="10195125" y="2916008"/>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p:cNvSpPr/>
          <p:nvPr/>
        </p:nvSpPr>
        <p:spPr>
          <a:xfrm>
            <a:off x="9921531" y="3353888"/>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p:cNvSpPr/>
          <p:nvPr/>
        </p:nvSpPr>
        <p:spPr>
          <a:xfrm>
            <a:off x="8880290" y="251265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p:cNvSpPr/>
          <p:nvPr/>
        </p:nvSpPr>
        <p:spPr>
          <a:xfrm>
            <a:off x="9123010" y="258164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p:cNvSpPr/>
          <p:nvPr/>
        </p:nvSpPr>
        <p:spPr>
          <a:xfrm>
            <a:off x="9032690" y="266505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p:cNvSpPr/>
          <p:nvPr/>
        </p:nvSpPr>
        <p:spPr>
          <a:xfrm>
            <a:off x="9275410" y="273404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p:cNvSpPr/>
          <p:nvPr/>
        </p:nvSpPr>
        <p:spPr>
          <a:xfrm>
            <a:off x="9185090" y="281745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p:cNvSpPr/>
          <p:nvPr/>
        </p:nvSpPr>
        <p:spPr>
          <a:xfrm>
            <a:off x="9510537" y="262642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Oval 79"/>
          <p:cNvSpPr/>
          <p:nvPr/>
        </p:nvSpPr>
        <p:spPr>
          <a:xfrm>
            <a:off x="9393787" y="2646523"/>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p:cNvSpPr/>
          <p:nvPr/>
        </p:nvSpPr>
        <p:spPr>
          <a:xfrm>
            <a:off x="9137908" y="297519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p:cNvSpPr/>
          <p:nvPr/>
        </p:nvSpPr>
        <p:spPr>
          <a:xfrm>
            <a:off x="9310171" y="246437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Oval 82"/>
          <p:cNvSpPr/>
          <p:nvPr/>
        </p:nvSpPr>
        <p:spPr>
          <a:xfrm>
            <a:off x="9471053" y="279410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Oval 83"/>
          <p:cNvSpPr/>
          <p:nvPr/>
        </p:nvSpPr>
        <p:spPr>
          <a:xfrm>
            <a:off x="9681121" y="279503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p:cNvSpPr/>
          <p:nvPr/>
        </p:nvSpPr>
        <p:spPr>
          <a:xfrm>
            <a:off x="9407527" y="323291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p:cNvSpPr/>
          <p:nvPr/>
        </p:nvSpPr>
        <p:spPr>
          <a:xfrm>
            <a:off x="8962757" y="3034006"/>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p:cNvSpPr/>
          <p:nvPr/>
        </p:nvSpPr>
        <p:spPr>
          <a:xfrm>
            <a:off x="9205477" y="3102993"/>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p:cNvSpPr/>
          <p:nvPr/>
        </p:nvSpPr>
        <p:spPr>
          <a:xfrm>
            <a:off x="9115157" y="3186406"/>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p:cNvSpPr/>
          <p:nvPr/>
        </p:nvSpPr>
        <p:spPr>
          <a:xfrm>
            <a:off x="9357877" y="3255393"/>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p:cNvSpPr/>
          <p:nvPr/>
        </p:nvSpPr>
        <p:spPr>
          <a:xfrm>
            <a:off x="9267557" y="3338806"/>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p:cNvSpPr/>
          <p:nvPr/>
        </p:nvSpPr>
        <p:spPr>
          <a:xfrm>
            <a:off x="9593004" y="3147773"/>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p:cNvSpPr/>
          <p:nvPr/>
        </p:nvSpPr>
        <p:spPr>
          <a:xfrm>
            <a:off x="9476254" y="3167872"/>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p:cNvSpPr/>
          <p:nvPr/>
        </p:nvSpPr>
        <p:spPr>
          <a:xfrm>
            <a:off x="9220375" y="3496546"/>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p:cNvSpPr/>
          <p:nvPr/>
        </p:nvSpPr>
        <p:spPr>
          <a:xfrm>
            <a:off x="9392638" y="2985723"/>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p:cNvSpPr/>
          <p:nvPr/>
        </p:nvSpPr>
        <p:spPr>
          <a:xfrm>
            <a:off x="9553520" y="3315456"/>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p:cNvSpPr/>
          <p:nvPr/>
        </p:nvSpPr>
        <p:spPr>
          <a:xfrm>
            <a:off x="9763588" y="3316383"/>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p:cNvSpPr/>
          <p:nvPr/>
        </p:nvSpPr>
        <p:spPr>
          <a:xfrm>
            <a:off x="9489994" y="3754263"/>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p:cNvSpPr/>
          <p:nvPr/>
        </p:nvSpPr>
        <p:spPr>
          <a:xfrm>
            <a:off x="9335189" y="2306495"/>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p:cNvSpPr/>
          <p:nvPr/>
        </p:nvSpPr>
        <p:spPr>
          <a:xfrm>
            <a:off x="9577909" y="2375482"/>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p:cNvSpPr/>
          <p:nvPr/>
        </p:nvSpPr>
        <p:spPr>
          <a:xfrm>
            <a:off x="9487589" y="2458895"/>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p:cNvSpPr/>
          <p:nvPr/>
        </p:nvSpPr>
        <p:spPr>
          <a:xfrm>
            <a:off x="9730309" y="2527882"/>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p:cNvSpPr/>
          <p:nvPr/>
        </p:nvSpPr>
        <p:spPr>
          <a:xfrm>
            <a:off x="9639989" y="2611295"/>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p:cNvSpPr/>
          <p:nvPr/>
        </p:nvSpPr>
        <p:spPr>
          <a:xfrm>
            <a:off x="9965436" y="2420262"/>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Oval 103"/>
          <p:cNvSpPr/>
          <p:nvPr/>
        </p:nvSpPr>
        <p:spPr>
          <a:xfrm>
            <a:off x="9848686" y="2440361"/>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Oval 104"/>
          <p:cNvSpPr/>
          <p:nvPr/>
        </p:nvSpPr>
        <p:spPr>
          <a:xfrm>
            <a:off x="9592807" y="2769035"/>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Oval 105"/>
          <p:cNvSpPr/>
          <p:nvPr/>
        </p:nvSpPr>
        <p:spPr>
          <a:xfrm>
            <a:off x="9765070" y="2258212"/>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Oval 106"/>
          <p:cNvSpPr/>
          <p:nvPr/>
        </p:nvSpPr>
        <p:spPr>
          <a:xfrm>
            <a:off x="9925952" y="2587945"/>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Oval 107"/>
          <p:cNvSpPr/>
          <p:nvPr/>
        </p:nvSpPr>
        <p:spPr>
          <a:xfrm>
            <a:off x="10136020" y="2588872"/>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p:cNvSpPr/>
          <p:nvPr/>
        </p:nvSpPr>
        <p:spPr>
          <a:xfrm>
            <a:off x="9862426" y="3026752"/>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Oval 109"/>
          <p:cNvSpPr/>
          <p:nvPr/>
        </p:nvSpPr>
        <p:spPr>
          <a:xfrm>
            <a:off x="9197892" y="268776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p:cNvSpPr/>
          <p:nvPr/>
        </p:nvSpPr>
        <p:spPr>
          <a:xfrm>
            <a:off x="9440612" y="275675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p:cNvSpPr/>
          <p:nvPr/>
        </p:nvSpPr>
        <p:spPr>
          <a:xfrm>
            <a:off x="9350292" y="284016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p:cNvSpPr/>
          <p:nvPr/>
        </p:nvSpPr>
        <p:spPr>
          <a:xfrm>
            <a:off x="9593012" y="290915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p:cNvSpPr/>
          <p:nvPr/>
        </p:nvSpPr>
        <p:spPr>
          <a:xfrm>
            <a:off x="9502692" y="299256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p:cNvSpPr/>
          <p:nvPr/>
        </p:nvSpPr>
        <p:spPr>
          <a:xfrm>
            <a:off x="9828139" y="280153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p:cNvSpPr/>
          <p:nvPr/>
        </p:nvSpPr>
        <p:spPr>
          <a:xfrm>
            <a:off x="9711389" y="2821633"/>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p:cNvSpPr/>
          <p:nvPr/>
        </p:nvSpPr>
        <p:spPr>
          <a:xfrm>
            <a:off x="9455510" y="315030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p:cNvSpPr/>
          <p:nvPr/>
        </p:nvSpPr>
        <p:spPr>
          <a:xfrm>
            <a:off x="9627773" y="263948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p:cNvSpPr/>
          <p:nvPr/>
        </p:nvSpPr>
        <p:spPr>
          <a:xfrm>
            <a:off x="9788655" y="2969217"/>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p:cNvSpPr/>
          <p:nvPr/>
        </p:nvSpPr>
        <p:spPr>
          <a:xfrm>
            <a:off x="9998723" y="297014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p:cNvSpPr/>
          <p:nvPr/>
        </p:nvSpPr>
        <p:spPr>
          <a:xfrm>
            <a:off x="9725129" y="3408024"/>
            <a:ext cx="77266" cy="77266"/>
          </a:xfrm>
          <a:prstGeom prst="ellipse">
            <a:avLst/>
          </a:prstGeom>
          <a:noFill/>
          <a:ln w="952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TextBox 121"/>
          <p:cNvSpPr txBox="1"/>
          <p:nvPr/>
        </p:nvSpPr>
        <p:spPr>
          <a:xfrm>
            <a:off x="11106475" y="2948533"/>
            <a:ext cx="718782" cy="246221"/>
          </a:xfrm>
          <a:prstGeom prst="rect">
            <a:avLst/>
          </a:prstGeom>
          <a:noFill/>
        </p:spPr>
        <p:txBody>
          <a:bodyPr wrap="square" rtlCol="0">
            <a:spAutoFit/>
          </a:bodyPr>
          <a:lstStyle/>
          <a:p>
            <a:r>
              <a:rPr lang="en-US" sz="1000" dirty="0">
                <a:solidFill>
                  <a:schemeClr val="bg2">
                    <a:lumMod val="75000"/>
                  </a:schemeClr>
                </a:solidFill>
              </a:rPr>
              <a:t>RCP 4.5</a:t>
            </a:r>
          </a:p>
        </p:txBody>
      </p:sp>
      <p:sp>
        <p:nvSpPr>
          <p:cNvPr id="132" name="Rectangle 131"/>
          <p:cNvSpPr/>
          <p:nvPr/>
        </p:nvSpPr>
        <p:spPr>
          <a:xfrm>
            <a:off x="8112942" y="2228475"/>
            <a:ext cx="2189616" cy="16330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ectangle 132"/>
          <p:cNvSpPr/>
          <p:nvPr/>
        </p:nvSpPr>
        <p:spPr>
          <a:xfrm>
            <a:off x="10841491" y="3728660"/>
            <a:ext cx="115040" cy="8617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TextBox 133"/>
          <p:cNvSpPr txBox="1"/>
          <p:nvPr/>
        </p:nvSpPr>
        <p:spPr>
          <a:xfrm>
            <a:off x="10914656" y="3592064"/>
            <a:ext cx="886122" cy="553998"/>
          </a:xfrm>
          <a:prstGeom prst="rect">
            <a:avLst/>
          </a:prstGeom>
          <a:noFill/>
        </p:spPr>
        <p:txBody>
          <a:bodyPr wrap="square" rtlCol="0">
            <a:spAutoFit/>
          </a:bodyPr>
          <a:lstStyle/>
          <a:p>
            <a:r>
              <a:rPr lang="en-US" sz="1000" dirty="0"/>
              <a:t>Climate Design</a:t>
            </a:r>
          </a:p>
          <a:p>
            <a:r>
              <a:rPr lang="en-US" sz="1000" dirty="0"/>
              <a:t>Envelope</a:t>
            </a:r>
          </a:p>
        </p:txBody>
      </p:sp>
      <p:sp>
        <p:nvSpPr>
          <p:cNvPr id="140" name="Rectangle 139"/>
          <p:cNvSpPr/>
          <p:nvPr/>
        </p:nvSpPr>
        <p:spPr>
          <a:xfrm>
            <a:off x="574847" y="4485734"/>
            <a:ext cx="360485" cy="320092"/>
          </a:xfrm>
          <a:prstGeom prst="rect">
            <a:avLst/>
          </a:prstGeom>
          <a:solidFill>
            <a:srgbClr val="F54D5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rgbClr val="FF7C80"/>
              </a:solidFill>
            </a:endParaRPr>
          </a:p>
        </p:txBody>
      </p:sp>
      <p:sp>
        <p:nvSpPr>
          <p:cNvPr id="141" name="Rectangle 140"/>
          <p:cNvSpPr/>
          <p:nvPr/>
        </p:nvSpPr>
        <p:spPr>
          <a:xfrm>
            <a:off x="553914" y="4901632"/>
            <a:ext cx="360485" cy="320092"/>
          </a:xfrm>
          <a:prstGeom prst="rect">
            <a:avLst/>
          </a:prstGeom>
          <a:solidFill>
            <a:srgbClr val="FBF4B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42" name="Rectangle 141"/>
          <p:cNvSpPr/>
          <p:nvPr/>
        </p:nvSpPr>
        <p:spPr>
          <a:xfrm>
            <a:off x="553914" y="5322036"/>
            <a:ext cx="360485" cy="320092"/>
          </a:xfrm>
          <a:prstGeom prst="rect">
            <a:avLst/>
          </a:prstGeom>
          <a:solidFill>
            <a:srgbClr val="62A7E0"/>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143" name="TextBox 142"/>
          <p:cNvSpPr txBox="1"/>
          <p:nvPr/>
        </p:nvSpPr>
        <p:spPr>
          <a:xfrm>
            <a:off x="1143000" y="4849973"/>
            <a:ext cx="1872762" cy="369332"/>
          </a:xfrm>
          <a:prstGeom prst="rect">
            <a:avLst/>
          </a:prstGeom>
          <a:noFill/>
        </p:spPr>
        <p:txBody>
          <a:bodyPr wrap="square" rtlCol="0">
            <a:spAutoFit/>
          </a:bodyPr>
          <a:lstStyle/>
          <a:p>
            <a:r>
              <a:rPr lang="en-US" dirty="0"/>
              <a:t>Standard Practice</a:t>
            </a:r>
          </a:p>
        </p:txBody>
      </p:sp>
      <p:sp>
        <p:nvSpPr>
          <p:cNvPr id="144" name="TextBox 143"/>
          <p:cNvSpPr txBox="1"/>
          <p:nvPr/>
        </p:nvSpPr>
        <p:spPr>
          <a:xfrm>
            <a:off x="1143000" y="4422229"/>
            <a:ext cx="4998484" cy="369332"/>
          </a:xfrm>
          <a:prstGeom prst="rect">
            <a:avLst/>
          </a:prstGeom>
          <a:noFill/>
        </p:spPr>
        <p:txBody>
          <a:bodyPr wrap="square" rtlCol="0">
            <a:spAutoFit/>
          </a:bodyPr>
          <a:lstStyle/>
          <a:p>
            <a:r>
              <a:rPr lang="en-US" dirty="0"/>
              <a:t>Less Robust </a:t>
            </a:r>
            <a:r>
              <a:rPr lang="en-US" dirty="0">
                <a:sym typeface="Wingdings" panose="05000000000000000000" pitchFamily="2" charset="2"/>
              </a:rPr>
              <a:t> Poor </a:t>
            </a:r>
            <a:r>
              <a:rPr lang="en-US" i="1" dirty="0">
                <a:sym typeface="Wingdings" panose="05000000000000000000" pitchFamily="2" charset="2"/>
              </a:rPr>
              <a:t>Future</a:t>
            </a:r>
            <a:r>
              <a:rPr lang="en-US" dirty="0">
                <a:sym typeface="Wingdings" panose="05000000000000000000" pitchFamily="2" charset="2"/>
              </a:rPr>
              <a:t> Performance</a:t>
            </a:r>
            <a:endParaRPr lang="en-US" dirty="0"/>
          </a:p>
        </p:txBody>
      </p:sp>
      <p:sp>
        <p:nvSpPr>
          <p:cNvPr id="145" name="TextBox 144"/>
          <p:cNvSpPr txBox="1"/>
          <p:nvPr/>
        </p:nvSpPr>
        <p:spPr>
          <a:xfrm>
            <a:off x="1143000" y="5322036"/>
            <a:ext cx="4928827" cy="369332"/>
          </a:xfrm>
          <a:prstGeom prst="rect">
            <a:avLst/>
          </a:prstGeom>
          <a:noFill/>
        </p:spPr>
        <p:txBody>
          <a:bodyPr wrap="square" rtlCol="0">
            <a:spAutoFit/>
          </a:bodyPr>
          <a:lstStyle/>
          <a:p>
            <a:r>
              <a:rPr lang="en-US" dirty="0"/>
              <a:t>More Robust </a:t>
            </a:r>
            <a:r>
              <a:rPr lang="en-US" dirty="0">
                <a:sym typeface="Wingdings" panose="05000000000000000000" pitchFamily="2" charset="2"/>
              </a:rPr>
              <a:t> Good </a:t>
            </a:r>
            <a:r>
              <a:rPr lang="en-US" i="1" dirty="0">
                <a:sym typeface="Wingdings" panose="05000000000000000000" pitchFamily="2" charset="2"/>
              </a:rPr>
              <a:t>Future</a:t>
            </a:r>
            <a:r>
              <a:rPr lang="en-US" dirty="0">
                <a:sym typeface="Wingdings" panose="05000000000000000000" pitchFamily="2" charset="2"/>
              </a:rPr>
              <a:t> Performance</a:t>
            </a:r>
            <a:endParaRPr lang="en-US" dirty="0"/>
          </a:p>
        </p:txBody>
      </p:sp>
      <p:sp>
        <p:nvSpPr>
          <p:cNvPr id="135" name="Rectangle 134"/>
          <p:cNvSpPr/>
          <p:nvPr/>
        </p:nvSpPr>
        <p:spPr>
          <a:xfrm>
            <a:off x="8116321" y="2907990"/>
            <a:ext cx="1285309" cy="958626"/>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p:cNvSpPr/>
          <p:nvPr/>
        </p:nvSpPr>
        <p:spPr>
          <a:xfrm>
            <a:off x="10827456" y="4213211"/>
            <a:ext cx="115040" cy="86171"/>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TextBox 136"/>
          <p:cNvSpPr txBox="1"/>
          <p:nvPr/>
        </p:nvSpPr>
        <p:spPr>
          <a:xfrm>
            <a:off x="10900621" y="4076615"/>
            <a:ext cx="886122" cy="553998"/>
          </a:xfrm>
          <a:prstGeom prst="rect">
            <a:avLst/>
          </a:prstGeom>
          <a:noFill/>
        </p:spPr>
        <p:txBody>
          <a:bodyPr wrap="square" rtlCol="0">
            <a:spAutoFit/>
          </a:bodyPr>
          <a:lstStyle/>
          <a:p>
            <a:r>
              <a:rPr lang="en-US" sz="1000" dirty="0"/>
              <a:t>Standard Design</a:t>
            </a:r>
          </a:p>
          <a:p>
            <a:r>
              <a:rPr lang="en-US" sz="1000" dirty="0"/>
              <a:t>Envelope</a:t>
            </a:r>
          </a:p>
        </p:txBody>
      </p:sp>
    </p:spTree>
    <p:extLst>
      <p:ext uri="{BB962C8B-B14F-4D97-AF65-F5344CB8AC3E}">
        <p14:creationId xmlns:p14="http://schemas.microsoft.com/office/powerpoint/2010/main" val="341284529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Management Framework</a:t>
            </a:r>
            <a:endParaRPr lang="en-US" dirty="0"/>
          </a:p>
        </p:txBody>
      </p:sp>
      <p:sp>
        <p:nvSpPr>
          <p:cNvPr id="6" name="Text Placeholder 5"/>
          <p:cNvSpPr>
            <a:spLocks noGrp="1"/>
          </p:cNvSpPr>
          <p:nvPr>
            <p:ph type="body" sz="quarter" idx="12"/>
          </p:nvPr>
        </p:nvSpPr>
        <p:spPr/>
        <p:txBody>
          <a:bodyPr/>
          <a:lstStyle/>
          <a:p>
            <a:r>
              <a:rPr lang="en-US" dirty="0" smtClean="0"/>
              <a:t>Step 2: Asset Vulnerability</a:t>
            </a:r>
            <a:endParaRPr lang="en-US" dirty="0"/>
          </a:p>
        </p:txBody>
      </p:sp>
      <p:graphicFrame>
        <p:nvGraphicFramePr>
          <p:cNvPr id="5" name="Diagram 4"/>
          <p:cNvGraphicFramePr/>
          <p:nvPr>
            <p:extLst>
              <p:ext uri="{D42A27DB-BD31-4B8C-83A1-F6EECF244321}">
                <p14:modId xmlns:p14="http://schemas.microsoft.com/office/powerpoint/2010/main" val="3618299617"/>
              </p:ext>
            </p:extLst>
          </p:nvPr>
        </p:nvGraphicFramePr>
        <p:xfrm>
          <a:off x="322385" y="1135063"/>
          <a:ext cx="7729415" cy="49948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p:cNvGraphicFramePr/>
          <p:nvPr>
            <p:extLst>
              <p:ext uri="{D42A27DB-BD31-4B8C-83A1-F6EECF244321}">
                <p14:modId xmlns:p14="http://schemas.microsoft.com/office/powerpoint/2010/main" val="1292921102"/>
              </p:ext>
            </p:extLst>
          </p:nvPr>
        </p:nvGraphicFramePr>
        <p:xfrm>
          <a:off x="8183212" y="872068"/>
          <a:ext cx="3719619" cy="54271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68873358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flipH="1">
            <a:off x="127591" y="1105786"/>
            <a:ext cx="8941983" cy="0"/>
          </a:xfrm>
          <a:prstGeom prst="line">
            <a:avLst/>
          </a:prstGeom>
        </p:spPr>
        <p:style>
          <a:lnRef idx="3">
            <a:schemeClr val="accent2"/>
          </a:lnRef>
          <a:fillRef idx="0">
            <a:schemeClr val="accent2"/>
          </a:fillRef>
          <a:effectRef idx="2">
            <a:schemeClr val="accent2"/>
          </a:effectRef>
          <a:fontRef idx="minor">
            <a:schemeClr val="tx1"/>
          </a:fontRef>
        </p:style>
      </p:cxnSp>
      <p:cxnSp>
        <p:nvCxnSpPr>
          <p:cNvPr id="44" name="Straight Connector 43"/>
          <p:cNvCxnSpPr/>
          <p:nvPr/>
        </p:nvCxnSpPr>
        <p:spPr>
          <a:xfrm flipH="1">
            <a:off x="1817193" y="2074880"/>
            <a:ext cx="7581016" cy="0"/>
          </a:xfrm>
          <a:prstGeom prst="line">
            <a:avLst/>
          </a:prstGeom>
        </p:spPr>
        <p:style>
          <a:lnRef idx="3">
            <a:schemeClr val="accent2"/>
          </a:lnRef>
          <a:fillRef idx="0">
            <a:schemeClr val="accent2"/>
          </a:fillRef>
          <a:effectRef idx="2">
            <a:schemeClr val="accent2"/>
          </a:effectRef>
          <a:fontRef idx="minor">
            <a:schemeClr val="tx1"/>
          </a:fontRef>
        </p:style>
      </p:cxnSp>
      <p:cxnSp>
        <p:nvCxnSpPr>
          <p:cNvPr id="45" name="Straight Connector 44"/>
          <p:cNvCxnSpPr/>
          <p:nvPr/>
        </p:nvCxnSpPr>
        <p:spPr>
          <a:xfrm flipH="1">
            <a:off x="3769976" y="2876184"/>
            <a:ext cx="5879807" cy="0"/>
          </a:xfrm>
          <a:prstGeom prst="line">
            <a:avLst/>
          </a:prstGeom>
        </p:spPr>
        <p:style>
          <a:lnRef idx="3">
            <a:schemeClr val="accent2"/>
          </a:lnRef>
          <a:fillRef idx="0">
            <a:schemeClr val="accent2"/>
          </a:fillRef>
          <a:effectRef idx="2">
            <a:schemeClr val="accent2"/>
          </a:effectRef>
          <a:fontRef idx="minor">
            <a:schemeClr val="tx1"/>
          </a:fontRef>
        </p:style>
      </p:cxnSp>
      <p:cxnSp>
        <p:nvCxnSpPr>
          <p:cNvPr id="46" name="Straight Connector 45"/>
          <p:cNvCxnSpPr/>
          <p:nvPr/>
        </p:nvCxnSpPr>
        <p:spPr>
          <a:xfrm flipH="1">
            <a:off x="5598789" y="3699687"/>
            <a:ext cx="4316821" cy="0"/>
          </a:xfrm>
          <a:prstGeom prst="line">
            <a:avLst/>
          </a:prstGeom>
        </p:spPr>
        <p:style>
          <a:lnRef idx="3">
            <a:schemeClr val="accent2"/>
          </a:lnRef>
          <a:fillRef idx="0">
            <a:schemeClr val="accent2"/>
          </a:fillRef>
          <a:effectRef idx="2">
            <a:schemeClr val="accent2"/>
          </a:effectRef>
          <a:fontRef idx="minor">
            <a:schemeClr val="tx1"/>
          </a:fontRef>
        </p:style>
      </p:cxnSp>
      <p:cxnSp>
        <p:nvCxnSpPr>
          <p:cNvPr id="47" name="Straight Connector 46"/>
          <p:cNvCxnSpPr/>
          <p:nvPr/>
        </p:nvCxnSpPr>
        <p:spPr>
          <a:xfrm flipH="1">
            <a:off x="7280639" y="4598399"/>
            <a:ext cx="2880978" cy="0"/>
          </a:xfrm>
          <a:prstGeom prst="line">
            <a:avLst/>
          </a:prstGeom>
        </p:spPr>
        <p:style>
          <a:lnRef idx="3">
            <a:schemeClr val="accent2"/>
          </a:lnRef>
          <a:fillRef idx="0">
            <a:schemeClr val="accent2"/>
          </a:fillRef>
          <a:effectRef idx="2">
            <a:schemeClr val="accent2"/>
          </a:effectRef>
          <a:fontRef idx="minor">
            <a:schemeClr val="tx1"/>
          </a:fontRef>
        </p:style>
      </p:cxnSp>
      <p:cxnSp>
        <p:nvCxnSpPr>
          <p:cNvPr id="48" name="Straight Connector 47"/>
          <p:cNvCxnSpPr/>
          <p:nvPr/>
        </p:nvCxnSpPr>
        <p:spPr>
          <a:xfrm flipH="1">
            <a:off x="8664064" y="5520480"/>
            <a:ext cx="1661524" cy="0"/>
          </a:xfrm>
          <a:prstGeom prst="line">
            <a:avLst/>
          </a:prstGeom>
        </p:spPr>
        <p:style>
          <a:lnRef idx="3">
            <a:schemeClr val="accent2"/>
          </a:lnRef>
          <a:fillRef idx="0">
            <a:schemeClr val="accent2"/>
          </a:fillRef>
          <a:effectRef idx="2">
            <a:schemeClr val="accent2"/>
          </a:effectRef>
          <a:fontRef idx="minor">
            <a:schemeClr val="tx1"/>
          </a:fontRef>
        </p:style>
      </p:cxnSp>
      <p:sp>
        <p:nvSpPr>
          <p:cNvPr id="38" name="Title 1"/>
          <p:cNvSpPr txBox="1">
            <a:spLocks/>
          </p:cNvSpPr>
          <p:nvPr/>
        </p:nvSpPr>
        <p:spPr bwMode="auto">
          <a:xfrm>
            <a:off x="360036" y="160338"/>
            <a:ext cx="7540952"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719138">
              <a:spcBef>
                <a:spcPts val="300"/>
              </a:spcBef>
              <a:buClr>
                <a:srgbClr val="1982AF"/>
              </a:buClr>
              <a:buFont typeface="Arial" panose="020B0604020202020204" pitchFamily="34" charset="0"/>
              <a:defRPr sz="1000" b="1">
                <a:solidFill>
                  <a:srgbClr val="1982AF"/>
                </a:solidFill>
                <a:latin typeface="Arial" panose="020B0604020202020204" pitchFamily="34" charset="0"/>
                <a:ea typeface="ＭＳ Ｐゴシック" panose="020B0600070205080204" pitchFamily="34" charset="-128"/>
                <a:cs typeface="Arial" panose="020B0604020202020204" pitchFamily="34" charset="0"/>
              </a:defRPr>
            </a:lvl1pPr>
            <a:lvl2pPr marL="142875" indent="-142875" defTabSz="719138">
              <a:spcBef>
                <a:spcPts val="300"/>
              </a:spcBef>
              <a:buClr>
                <a:srgbClr val="1982AF"/>
              </a:buClr>
              <a:buSzPct val="130000"/>
              <a:buFont typeface="Arial" panose="020B0604020202020204" pitchFamily="34" charset="0"/>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287338" indent="-142875" defTabSz="719138">
              <a:spcBef>
                <a:spcPts val="150"/>
              </a:spcBef>
              <a:buClr>
                <a:srgbClr val="1982AF"/>
              </a:buClr>
              <a:buFont typeface="Arial" panose="020B0604020202020204" pitchFamily="34" charset="0"/>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431800" indent="-142875">
              <a:spcBef>
                <a:spcPts val="150"/>
              </a:spcBef>
              <a:buClr>
                <a:srgbClr val="1982AF"/>
              </a:buClr>
              <a:buSzPct val="130000"/>
              <a:buFont typeface="Arial" panose="020B0604020202020204" pitchFamily="34" charset="0"/>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574675" indent="-142875">
              <a:spcBef>
                <a:spcPts val="150"/>
              </a:spcBef>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1031875" indent="-142875"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1489075" indent="-142875"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1946275" indent="-142875"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2403475" indent="-142875"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a:spcBef>
                <a:spcPct val="0"/>
              </a:spcBef>
              <a:buClrTx/>
              <a:buFontTx/>
              <a:buNone/>
            </a:pPr>
            <a:r>
              <a:rPr lang="en-US" sz="2400" b="0" kern="0" dirty="0" smtClean="0">
                <a:solidFill>
                  <a:schemeClr val="tx1"/>
                </a:solidFill>
                <a:latin typeface="+mn-lt"/>
              </a:rPr>
              <a:t>Risk Identification – Understanding Project Threats</a:t>
            </a:r>
            <a:endParaRPr lang="en-US" altLang="en-US" sz="2400" b="0" dirty="0">
              <a:solidFill>
                <a:schemeClr val="tx1"/>
              </a:solidFill>
              <a:latin typeface="+mn-lt"/>
              <a:cs typeface="Times New Roman" panose="02020603050405020304" pitchFamily="18" charset="0"/>
            </a:endParaRPr>
          </a:p>
        </p:txBody>
      </p:sp>
      <p:graphicFrame>
        <p:nvGraphicFramePr>
          <p:cNvPr id="7" name="Diagram 6"/>
          <p:cNvGraphicFramePr/>
          <p:nvPr>
            <p:extLst>
              <p:ext uri="{D42A27DB-BD31-4B8C-83A1-F6EECF244321}">
                <p14:modId xmlns:p14="http://schemas.microsoft.com/office/powerpoint/2010/main" val="3891693622"/>
              </p:ext>
            </p:extLst>
          </p:nvPr>
        </p:nvGraphicFramePr>
        <p:xfrm>
          <a:off x="8664064" y="751565"/>
          <a:ext cx="3294912" cy="52983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48198" y="652290"/>
            <a:ext cx="2154566" cy="1231106"/>
          </a:xfrm>
          <a:prstGeom prst="rect">
            <a:avLst/>
          </a:prstGeom>
          <a:noFill/>
        </p:spPr>
        <p:txBody>
          <a:bodyPr wrap="square" rtlCol="0">
            <a:spAutoFit/>
          </a:bodyPr>
          <a:lstStyle/>
          <a:p>
            <a:r>
              <a:rPr lang="en-US" b="1" dirty="0"/>
              <a:t>Geopolitical Risks</a:t>
            </a:r>
          </a:p>
          <a:p>
            <a:endParaRPr lang="en-US" sz="1400" b="1" dirty="0"/>
          </a:p>
          <a:p>
            <a:pPr marL="285750" indent="-285750">
              <a:buFont typeface="Arial" panose="020B0604020202020204" pitchFamily="34" charset="0"/>
              <a:buChar char="•"/>
            </a:pPr>
            <a:r>
              <a:rPr lang="en-US" sz="1400" dirty="0"/>
              <a:t>War</a:t>
            </a:r>
          </a:p>
          <a:p>
            <a:pPr marL="285750" indent="-285750">
              <a:buFont typeface="Arial" panose="020B0604020202020204" pitchFamily="34" charset="0"/>
              <a:buChar char="•"/>
            </a:pPr>
            <a:r>
              <a:rPr lang="en-US" sz="1400" dirty="0"/>
              <a:t>Trade disruption</a:t>
            </a:r>
          </a:p>
          <a:p>
            <a:pPr marL="285750" indent="-285750">
              <a:buFont typeface="Arial" panose="020B0604020202020204" pitchFamily="34" charset="0"/>
              <a:buChar char="•"/>
            </a:pPr>
            <a:r>
              <a:rPr lang="en-US" sz="1400" dirty="0"/>
              <a:t>Energy security</a:t>
            </a:r>
          </a:p>
        </p:txBody>
      </p:sp>
      <p:sp>
        <p:nvSpPr>
          <p:cNvPr id="50" name="TextBox 49"/>
          <p:cNvSpPr txBox="1"/>
          <p:nvPr/>
        </p:nvSpPr>
        <p:spPr>
          <a:xfrm>
            <a:off x="1706880" y="1691911"/>
            <a:ext cx="2264879" cy="1231106"/>
          </a:xfrm>
          <a:prstGeom prst="rect">
            <a:avLst/>
          </a:prstGeom>
          <a:noFill/>
        </p:spPr>
        <p:txBody>
          <a:bodyPr wrap="square" rtlCol="0">
            <a:spAutoFit/>
          </a:bodyPr>
          <a:lstStyle/>
          <a:p>
            <a:r>
              <a:rPr lang="en-US" b="1" dirty="0"/>
              <a:t>Market Risks</a:t>
            </a:r>
          </a:p>
          <a:p>
            <a:endParaRPr lang="en-US" sz="1400" b="1" dirty="0"/>
          </a:p>
          <a:p>
            <a:pPr marL="285750" indent="-285750">
              <a:buFont typeface="Arial" panose="020B0604020202020204" pitchFamily="34" charset="0"/>
              <a:buChar char="•"/>
            </a:pPr>
            <a:r>
              <a:rPr lang="en-US" sz="1400" dirty="0"/>
              <a:t>Prices</a:t>
            </a:r>
          </a:p>
          <a:p>
            <a:pPr marL="285750" indent="-285750">
              <a:buFont typeface="Arial" panose="020B0604020202020204" pitchFamily="34" charset="0"/>
              <a:buChar char="•"/>
            </a:pPr>
            <a:r>
              <a:rPr lang="en-US" sz="1400" dirty="0"/>
              <a:t>Exchange rates</a:t>
            </a:r>
          </a:p>
          <a:p>
            <a:pPr marL="285750" indent="-285750">
              <a:buFont typeface="Arial" panose="020B0604020202020204" pitchFamily="34" charset="0"/>
              <a:buChar char="•"/>
            </a:pPr>
            <a:r>
              <a:rPr lang="en-US" sz="1400" dirty="0"/>
              <a:t>Interest rates</a:t>
            </a:r>
          </a:p>
        </p:txBody>
      </p:sp>
      <p:sp>
        <p:nvSpPr>
          <p:cNvPr id="52" name="TextBox 51"/>
          <p:cNvSpPr txBox="1"/>
          <p:nvPr/>
        </p:nvSpPr>
        <p:spPr>
          <a:xfrm>
            <a:off x="3657600" y="2493519"/>
            <a:ext cx="2266942" cy="1231106"/>
          </a:xfrm>
          <a:prstGeom prst="rect">
            <a:avLst/>
          </a:prstGeom>
          <a:noFill/>
        </p:spPr>
        <p:txBody>
          <a:bodyPr wrap="square" rtlCol="0">
            <a:spAutoFit/>
          </a:bodyPr>
          <a:lstStyle/>
          <a:p>
            <a:r>
              <a:rPr lang="en-US" b="1" dirty="0"/>
              <a:t>Institutional Risks</a:t>
            </a:r>
          </a:p>
          <a:p>
            <a:endParaRPr lang="en-US" sz="1400" b="1" dirty="0"/>
          </a:p>
          <a:p>
            <a:pPr marL="285750" indent="-285750">
              <a:buFont typeface="Arial" panose="020B0604020202020204" pitchFamily="34" charset="0"/>
              <a:buChar char="•"/>
            </a:pPr>
            <a:r>
              <a:rPr lang="en-US" sz="1400" dirty="0"/>
              <a:t>Political</a:t>
            </a:r>
          </a:p>
          <a:p>
            <a:pPr marL="285750" indent="-285750">
              <a:buFont typeface="Arial" panose="020B0604020202020204" pitchFamily="34" charset="0"/>
              <a:buChar char="•"/>
            </a:pPr>
            <a:r>
              <a:rPr lang="en-US" sz="1400" dirty="0"/>
              <a:t>Financial</a:t>
            </a:r>
          </a:p>
          <a:p>
            <a:pPr marL="285750" indent="-285750">
              <a:buFont typeface="Arial" panose="020B0604020202020204" pitchFamily="34" charset="0"/>
              <a:buChar char="•"/>
            </a:pPr>
            <a:r>
              <a:rPr lang="en-US" sz="1400" dirty="0"/>
              <a:t>Regulatory</a:t>
            </a:r>
          </a:p>
        </p:txBody>
      </p:sp>
      <p:sp>
        <p:nvSpPr>
          <p:cNvPr id="53" name="TextBox 52"/>
          <p:cNvSpPr txBox="1"/>
          <p:nvPr/>
        </p:nvSpPr>
        <p:spPr>
          <a:xfrm>
            <a:off x="5527460" y="3317007"/>
            <a:ext cx="2225895" cy="1231106"/>
          </a:xfrm>
          <a:prstGeom prst="rect">
            <a:avLst/>
          </a:prstGeom>
          <a:noFill/>
        </p:spPr>
        <p:txBody>
          <a:bodyPr wrap="square" rtlCol="0">
            <a:spAutoFit/>
          </a:bodyPr>
          <a:lstStyle/>
          <a:p>
            <a:r>
              <a:rPr lang="en-US" b="1" dirty="0"/>
              <a:t>Industry Risks</a:t>
            </a:r>
          </a:p>
          <a:p>
            <a:endParaRPr lang="en-US" sz="1400" b="1" dirty="0"/>
          </a:p>
          <a:p>
            <a:pPr marL="285750" indent="-285750">
              <a:buFont typeface="Arial" panose="020B0604020202020204" pitchFamily="34" charset="0"/>
              <a:buChar char="•"/>
            </a:pPr>
            <a:r>
              <a:rPr lang="en-US" sz="1400" dirty="0"/>
              <a:t>Demand</a:t>
            </a:r>
          </a:p>
          <a:p>
            <a:pPr marL="285750" indent="-285750">
              <a:buFont typeface="Arial" panose="020B0604020202020204" pitchFamily="34" charset="0"/>
              <a:buChar char="•"/>
            </a:pPr>
            <a:r>
              <a:rPr lang="en-US" sz="1400" dirty="0"/>
              <a:t>Supply</a:t>
            </a:r>
          </a:p>
          <a:p>
            <a:pPr marL="285750" indent="-285750">
              <a:buFont typeface="Arial" panose="020B0604020202020204" pitchFamily="34" charset="0"/>
              <a:buChar char="•"/>
            </a:pPr>
            <a:r>
              <a:rPr lang="en-US" sz="1400" dirty="0"/>
              <a:t>Competition</a:t>
            </a:r>
          </a:p>
        </p:txBody>
      </p:sp>
      <p:sp>
        <p:nvSpPr>
          <p:cNvPr id="54" name="TextBox 53"/>
          <p:cNvSpPr txBox="1"/>
          <p:nvPr/>
        </p:nvSpPr>
        <p:spPr>
          <a:xfrm>
            <a:off x="7132320" y="4197553"/>
            <a:ext cx="2302885" cy="1231106"/>
          </a:xfrm>
          <a:prstGeom prst="rect">
            <a:avLst/>
          </a:prstGeom>
          <a:noFill/>
        </p:spPr>
        <p:txBody>
          <a:bodyPr wrap="square" rtlCol="0">
            <a:spAutoFit/>
          </a:bodyPr>
          <a:lstStyle/>
          <a:p>
            <a:r>
              <a:rPr lang="en-US" b="1" dirty="0"/>
              <a:t>Natural Risks</a:t>
            </a:r>
          </a:p>
          <a:p>
            <a:endParaRPr lang="en-US" sz="1400" b="1" dirty="0"/>
          </a:p>
          <a:p>
            <a:pPr marL="285750" indent="-285750">
              <a:buFont typeface="Arial" panose="020B0604020202020204" pitchFamily="34" charset="0"/>
              <a:buChar char="•"/>
            </a:pPr>
            <a:r>
              <a:rPr lang="en-US" sz="1400" dirty="0"/>
              <a:t>Geology</a:t>
            </a:r>
          </a:p>
          <a:p>
            <a:pPr marL="285750" indent="-285750">
              <a:buFont typeface="Arial" panose="020B0604020202020204" pitchFamily="34" charset="0"/>
              <a:buChar char="•"/>
            </a:pPr>
            <a:r>
              <a:rPr lang="en-US" sz="1400" dirty="0"/>
              <a:t>Climate</a:t>
            </a:r>
          </a:p>
          <a:p>
            <a:pPr marL="285750" indent="-285750">
              <a:buFont typeface="Arial" panose="020B0604020202020204" pitchFamily="34" charset="0"/>
              <a:buChar char="•"/>
            </a:pPr>
            <a:r>
              <a:rPr lang="en-US" sz="1400" dirty="0"/>
              <a:t>Weather</a:t>
            </a:r>
          </a:p>
        </p:txBody>
      </p:sp>
      <p:sp>
        <p:nvSpPr>
          <p:cNvPr id="55" name="TextBox 54"/>
          <p:cNvSpPr txBox="1"/>
          <p:nvPr/>
        </p:nvSpPr>
        <p:spPr>
          <a:xfrm>
            <a:off x="8664064" y="5071327"/>
            <a:ext cx="2154566" cy="1446550"/>
          </a:xfrm>
          <a:prstGeom prst="rect">
            <a:avLst/>
          </a:prstGeom>
          <a:noFill/>
        </p:spPr>
        <p:txBody>
          <a:bodyPr wrap="square" rtlCol="0">
            <a:spAutoFit/>
          </a:bodyPr>
          <a:lstStyle/>
          <a:p>
            <a:r>
              <a:rPr lang="en-US" b="1" dirty="0"/>
              <a:t>Project Risks</a:t>
            </a:r>
          </a:p>
          <a:p>
            <a:endParaRPr lang="en-US" sz="1400" b="1" dirty="0"/>
          </a:p>
          <a:p>
            <a:pPr marL="285750" indent="-285750">
              <a:buFont typeface="Arial" panose="020B0604020202020204" pitchFamily="34" charset="0"/>
              <a:buChar char="•"/>
            </a:pPr>
            <a:r>
              <a:rPr lang="en-US" sz="1400" dirty="0"/>
              <a:t>Partners</a:t>
            </a:r>
          </a:p>
          <a:p>
            <a:pPr marL="285750" indent="-285750">
              <a:buFont typeface="Arial" panose="020B0604020202020204" pitchFamily="34" charset="0"/>
              <a:buChar char="•"/>
            </a:pPr>
            <a:r>
              <a:rPr lang="en-US" sz="1400" dirty="0"/>
              <a:t>Contractors</a:t>
            </a:r>
          </a:p>
          <a:p>
            <a:pPr marL="285750" indent="-285750">
              <a:buFont typeface="Arial" panose="020B0604020202020204" pitchFamily="34" charset="0"/>
              <a:buChar char="•"/>
            </a:pPr>
            <a:r>
              <a:rPr lang="en-US" sz="1400" dirty="0"/>
              <a:t>Execution</a:t>
            </a:r>
          </a:p>
          <a:p>
            <a:pPr marL="285750" indent="-285750">
              <a:buFont typeface="Arial" panose="020B0604020202020204" pitchFamily="34" charset="0"/>
              <a:buChar char="•"/>
            </a:pPr>
            <a:endParaRPr lang="en-US" sz="1400" dirty="0"/>
          </a:p>
        </p:txBody>
      </p:sp>
      <p:grpSp>
        <p:nvGrpSpPr>
          <p:cNvPr id="29" name="Group 28"/>
          <p:cNvGrpSpPr/>
          <p:nvPr/>
        </p:nvGrpSpPr>
        <p:grpSpPr>
          <a:xfrm>
            <a:off x="360036" y="5169596"/>
            <a:ext cx="5751396" cy="404037"/>
            <a:chOff x="1073888" y="5273749"/>
            <a:chExt cx="5751396" cy="404037"/>
          </a:xfrm>
        </p:grpSpPr>
        <p:cxnSp>
          <p:nvCxnSpPr>
            <p:cNvPr id="26" name="Straight Arrow Connector 25"/>
            <p:cNvCxnSpPr/>
            <p:nvPr/>
          </p:nvCxnSpPr>
          <p:spPr>
            <a:xfrm>
              <a:off x="1137684" y="5677786"/>
              <a:ext cx="5103628" cy="0"/>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
          <p:nvSpPr>
            <p:cNvPr id="27" name="TextBox 26"/>
            <p:cNvSpPr txBox="1"/>
            <p:nvPr/>
          </p:nvSpPr>
          <p:spPr>
            <a:xfrm>
              <a:off x="1073888" y="5273749"/>
              <a:ext cx="2402959" cy="369332"/>
            </a:xfrm>
            <a:prstGeom prst="rect">
              <a:avLst/>
            </a:prstGeom>
            <a:noFill/>
          </p:spPr>
          <p:txBody>
            <a:bodyPr wrap="square" rtlCol="0">
              <a:spAutoFit/>
            </a:bodyPr>
            <a:lstStyle/>
            <a:p>
              <a:r>
                <a:rPr lang="en-US" b="1" dirty="0"/>
                <a:t>Indirect Influence	</a:t>
              </a:r>
            </a:p>
          </p:txBody>
        </p:sp>
        <p:sp>
          <p:nvSpPr>
            <p:cNvPr id="70" name="TextBox 69"/>
            <p:cNvSpPr txBox="1"/>
            <p:nvPr/>
          </p:nvSpPr>
          <p:spPr>
            <a:xfrm>
              <a:off x="4540102" y="5278309"/>
              <a:ext cx="2285182" cy="369332"/>
            </a:xfrm>
            <a:prstGeom prst="rect">
              <a:avLst/>
            </a:prstGeom>
            <a:noFill/>
          </p:spPr>
          <p:txBody>
            <a:bodyPr wrap="square" rtlCol="0">
              <a:spAutoFit/>
            </a:bodyPr>
            <a:lstStyle/>
            <a:p>
              <a:r>
                <a:rPr lang="en-US" b="1" dirty="0"/>
                <a:t>Direct Influence	</a:t>
              </a:r>
            </a:p>
          </p:txBody>
        </p:sp>
      </p:grpSp>
      <p:sp>
        <p:nvSpPr>
          <p:cNvPr id="2" name="Rectangle 1"/>
          <p:cNvSpPr/>
          <p:nvPr/>
        </p:nvSpPr>
        <p:spPr>
          <a:xfrm>
            <a:off x="7132320" y="4084320"/>
            <a:ext cx="1531744" cy="134433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Arrow Connector 3"/>
          <p:cNvCxnSpPr/>
          <p:nvPr/>
        </p:nvCxnSpPr>
        <p:spPr>
          <a:xfrm flipH="1" flipV="1">
            <a:off x="2938379" y="3351771"/>
            <a:ext cx="3888904" cy="1943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7280640" y="5573633"/>
            <a:ext cx="1208040" cy="5833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47418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385" y="103032"/>
            <a:ext cx="11580446" cy="424022"/>
          </a:xfrm>
        </p:spPr>
        <p:txBody>
          <a:bodyPr/>
          <a:lstStyle/>
          <a:p>
            <a:pPr>
              <a:lnSpc>
                <a:spcPct val="100000"/>
              </a:lnSpc>
            </a:pPr>
            <a:r>
              <a:rPr lang="en-US" dirty="0" smtClean="0"/>
              <a:t>Risk Identification</a:t>
            </a:r>
            <a:endParaRPr lang="en-US" dirty="0"/>
          </a:p>
        </p:txBody>
      </p:sp>
      <p:sp>
        <p:nvSpPr>
          <p:cNvPr id="9" name="Text Placeholder 8"/>
          <p:cNvSpPr>
            <a:spLocks noGrp="1"/>
          </p:cNvSpPr>
          <p:nvPr>
            <p:ph type="body" sz="quarter" idx="12"/>
          </p:nvPr>
        </p:nvSpPr>
        <p:spPr>
          <a:xfrm>
            <a:off x="322385" y="642939"/>
            <a:ext cx="11580446" cy="716078"/>
          </a:xfrm>
        </p:spPr>
        <p:txBody>
          <a:bodyPr/>
          <a:lstStyle/>
          <a:p>
            <a:r>
              <a:rPr lang="en-US" dirty="0" smtClean="0"/>
              <a:t>Understanding Climate Threat</a:t>
            </a:r>
            <a:endParaRPr lang="en-US" sz="1000" dirty="0"/>
          </a:p>
        </p:txBody>
      </p:sp>
      <p:sp>
        <p:nvSpPr>
          <p:cNvPr id="39" name="Text Placeholder 2"/>
          <p:cNvSpPr>
            <a:spLocks noGrp="1"/>
          </p:cNvSpPr>
          <p:nvPr>
            <p:ph type="body" sz="quarter" idx="10"/>
          </p:nvPr>
        </p:nvSpPr>
        <p:spPr>
          <a:xfrm>
            <a:off x="468922" y="1173708"/>
            <a:ext cx="3775846" cy="2534022"/>
          </a:xfrm>
        </p:spPr>
        <p:txBody>
          <a:bodyPr/>
          <a:lstStyle/>
          <a:p>
            <a:pPr marL="0" indent="0">
              <a:buNone/>
            </a:pPr>
            <a:endParaRPr lang="en-US" dirty="0"/>
          </a:p>
          <a:p>
            <a:pPr marL="0" indent="0">
              <a:buNone/>
            </a:pPr>
            <a:endParaRPr lang="en-US" dirty="0"/>
          </a:p>
        </p:txBody>
      </p:sp>
      <p:grpSp>
        <p:nvGrpSpPr>
          <p:cNvPr id="41" name="Group 40"/>
          <p:cNvGrpSpPr/>
          <p:nvPr/>
        </p:nvGrpSpPr>
        <p:grpSpPr>
          <a:xfrm>
            <a:off x="10263" y="1597732"/>
            <a:ext cx="6102345" cy="4698342"/>
            <a:chOff x="793264" y="757911"/>
            <a:chExt cx="7716170" cy="5702678"/>
          </a:xfrm>
        </p:grpSpPr>
        <p:pic>
          <p:nvPicPr>
            <p:cNvPr id="43" name="Picture 4" descr="Image result for ipcc rcp 4.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93264" y="883336"/>
              <a:ext cx="7436336" cy="5577253"/>
            </a:xfrm>
            <a:prstGeom prst="rect">
              <a:avLst/>
            </a:prstGeom>
            <a:noFill/>
            <a:extLst>
              <a:ext uri="{909E8E84-426E-40DD-AFC4-6F175D3DCCD1}">
                <a14:hiddenFill xmlns:a14="http://schemas.microsoft.com/office/drawing/2010/main">
                  <a:solidFill>
                    <a:srgbClr val="FFFFFF"/>
                  </a:solidFill>
                </a14:hiddenFill>
              </a:ext>
            </a:extLst>
          </p:spPr>
        </p:pic>
        <p:sp>
          <p:nvSpPr>
            <p:cNvPr id="45" name="Rectangle 44"/>
            <p:cNvSpPr/>
            <p:nvPr/>
          </p:nvSpPr>
          <p:spPr>
            <a:xfrm>
              <a:off x="4777114" y="1174143"/>
              <a:ext cx="1489363" cy="578457"/>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p:nvSpPr>
          <p:spPr>
            <a:xfrm>
              <a:off x="6096000" y="3671962"/>
              <a:ext cx="1524000" cy="671438"/>
            </a:xfrm>
            <a:prstGeom prst="rect">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p:cNvSpPr txBox="1"/>
            <p:nvPr/>
          </p:nvSpPr>
          <p:spPr>
            <a:xfrm>
              <a:off x="2238539" y="914479"/>
              <a:ext cx="2538575" cy="1079421"/>
            </a:xfrm>
            <a:prstGeom prst="rect">
              <a:avLst/>
            </a:prstGeom>
            <a:noFill/>
          </p:spPr>
          <p:txBody>
            <a:bodyPr wrap="square" rtlCol="0">
              <a:spAutoFit/>
            </a:bodyPr>
            <a:lstStyle/>
            <a:p>
              <a:pPr algn="ctr"/>
              <a:r>
                <a:rPr lang="en-US" b="1" dirty="0">
                  <a:solidFill>
                    <a:schemeClr val="accent6"/>
                  </a:solidFill>
                </a:rPr>
                <a:t>RCP8.5</a:t>
              </a:r>
            </a:p>
            <a:p>
              <a:pPr algn="ctr"/>
              <a:r>
                <a:rPr lang="en-US" sz="1600" dirty="0">
                  <a:solidFill>
                    <a:schemeClr val="accent6"/>
                  </a:solidFill>
                </a:rPr>
                <a:t>Limited/No Global Emissions Reduction</a:t>
              </a:r>
            </a:p>
          </p:txBody>
        </p:sp>
        <p:sp>
          <p:nvSpPr>
            <p:cNvPr id="50" name="TextBox 49"/>
            <p:cNvSpPr txBox="1"/>
            <p:nvPr/>
          </p:nvSpPr>
          <p:spPr>
            <a:xfrm>
              <a:off x="6662669" y="1993615"/>
              <a:ext cx="1846765" cy="896564"/>
            </a:xfrm>
            <a:prstGeom prst="rect">
              <a:avLst/>
            </a:prstGeom>
            <a:noFill/>
          </p:spPr>
          <p:txBody>
            <a:bodyPr wrap="square" rtlCol="0">
              <a:spAutoFit/>
            </a:bodyPr>
            <a:lstStyle/>
            <a:p>
              <a:pPr algn="ctr"/>
              <a:r>
                <a:rPr lang="en-US" sz="1400" dirty="0">
                  <a:solidFill>
                    <a:srgbClr val="7030A0"/>
                  </a:solidFill>
                </a:rPr>
                <a:t>Outcomes from different climate simulations vary</a:t>
              </a:r>
            </a:p>
          </p:txBody>
        </p:sp>
        <p:cxnSp>
          <p:nvCxnSpPr>
            <p:cNvPr id="52" name="Straight Arrow Connector 51"/>
            <p:cNvCxnSpPr/>
            <p:nvPr/>
          </p:nvCxnSpPr>
          <p:spPr>
            <a:xfrm flipV="1">
              <a:off x="7900785" y="757911"/>
              <a:ext cx="0" cy="1235989"/>
            </a:xfrm>
            <a:prstGeom prst="straightConnector1">
              <a:avLst/>
            </a:prstGeom>
            <a:ln w="571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V="1">
              <a:off x="7900785" y="3875496"/>
              <a:ext cx="0" cy="588848"/>
            </a:xfrm>
            <a:prstGeom prst="straightConnector1">
              <a:avLst/>
            </a:prstGeom>
            <a:ln w="57150">
              <a:solidFill>
                <a:srgbClr val="7030A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5382679" y="4426811"/>
              <a:ext cx="2950641" cy="1079421"/>
            </a:xfrm>
            <a:prstGeom prst="rect">
              <a:avLst/>
            </a:prstGeom>
            <a:noFill/>
          </p:spPr>
          <p:txBody>
            <a:bodyPr wrap="square" rtlCol="0">
              <a:spAutoFit/>
            </a:bodyPr>
            <a:lstStyle/>
            <a:p>
              <a:pPr algn="ctr"/>
              <a:r>
                <a:rPr lang="en-US" b="1" u="sng" dirty="0">
                  <a:solidFill>
                    <a:schemeClr val="accent6"/>
                  </a:solidFill>
                </a:rPr>
                <a:t>RCP4.5</a:t>
              </a:r>
            </a:p>
            <a:p>
              <a:pPr algn="ctr"/>
              <a:r>
                <a:rPr lang="en-US" sz="1600" dirty="0">
                  <a:solidFill>
                    <a:schemeClr val="accent6"/>
                  </a:solidFill>
                </a:rPr>
                <a:t>Moderate Global Emissions Reduction</a:t>
              </a:r>
            </a:p>
          </p:txBody>
        </p:sp>
      </p:grpSp>
      <p:graphicFrame>
        <p:nvGraphicFramePr>
          <p:cNvPr id="15" name="Chart 14"/>
          <p:cNvGraphicFramePr>
            <a:graphicFrameLocks/>
          </p:cNvGraphicFramePr>
          <p:nvPr>
            <p:extLst>
              <p:ext uri="{D42A27DB-BD31-4B8C-83A1-F6EECF244321}">
                <p14:modId xmlns:p14="http://schemas.microsoft.com/office/powerpoint/2010/main" val="2311815071"/>
              </p:ext>
            </p:extLst>
          </p:nvPr>
        </p:nvGraphicFramePr>
        <p:xfrm>
          <a:off x="5973328" y="1487605"/>
          <a:ext cx="6323305" cy="433868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60950191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385" y="103032"/>
            <a:ext cx="11580446" cy="424022"/>
          </a:xfrm>
        </p:spPr>
        <p:txBody>
          <a:bodyPr/>
          <a:lstStyle/>
          <a:p>
            <a:pPr>
              <a:lnSpc>
                <a:spcPct val="100000"/>
              </a:lnSpc>
            </a:pPr>
            <a:r>
              <a:rPr lang="en-US" dirty="0" smtClean="0"/>
              <a:t>Risk Identification</a:t>
            </a:r>
            <a:endParaRPr lang="en-US" dirty="0"/>
          </a:p>
        </p:txBody>
      </p:sp>
      <p:sp>
        <p:nvSpPr>
          <p:cNvPr id="9" name="Text Placeholder 8"/>
          <p:cNvSpPr>
            <a:spLocks noGrp="1"/>
          </p:cNvSpPr>
          <p:nvPr>
            <p:ph type="body" sz="quarter" idx="12"/>
          </p:nvPr>
        </p:nvSpPr>
        <p:spPr>
          <a:xfrm>
            <a:off x="322385" y="642939"/>
            <a:ext cx="11580446" cy="716078"/>
          </a:xfrm>
        </p:spPr>
        <p:txBody>
          <a:bodyPr/>
          <a:lstStyle/>
          <a:p>
            <a:r>
              <a:rPr lang="en-US" dirty="0" smtClean="0"/>
              <a:t>Future </a:t>
            </a:r>
            <a:r>
              <a:rPr lang="en-US" dirty="0"/>
              <a:t>Hydrology</a:t>
            </a:r>
            <a:endParaRPr lang="en-US" sz="1000" dirty="0"/>
          </a:p>
        </p:txBody>
      </p:sp>
      <p:sp>
        <p:nvSpPr>
          <p:cNvPr id="39" name="Text Placeholder 2"/>
          <p:cNvSpPr>
            <a:spLocks noGrp="1"/>
          </p:cNvSpPr>
          <p:nvPr>
            <p:ph type="body" sz="quarter" idx="10"/>
          </p:nvPr>
        </p:nvSpPr>
        <p:spPr>
          <a:xfrm>
            <a:off x="322385" y="1201003"/>
            <a:ext cx="4920199" cy="5070829"/>
          </a:xfrm>
        </p:spPr>
        <p:txBody>
          <a:bodyPr/>
          <a:lstStyle/>
          <a:p>
            <a:pPr marL="0" indent="0">
              <a:buNone/>
            </a:pPr>
            <a:r>
              <a:rPr lang="en-GB" b="1" dirty="0"/>
              <a:t>Rainfall intensity offsets</a:t>
            </a:r>
          </a:p>
          <a:p>
            <a:pPr marL="0" indent="0">
              <a:buNone/>
            </a:pPr>
            <a:endParaRPr lang="en-GB" dirty="0"/>
          </a:p>
          <a:p>
            <a:r>
              <a:rPr lang="en-US" dirty="0">
                <a:latin typeface="Calibri" panose="020F0502020204030204" pitchFamily="34" charset="0"/>
                <a:cs typeface="Calibri" panose="020F0502020204030204" pitchFamily="34" charset="0"/>
              </a:rPr>
              <a:t>Derived for a variety of combinations of duration and return </a:t>
            </a:r>
            <a:r>
              <a:rPr lang="en-US" dirty="0" smtClean="0">
                <a:latin typeface="Calibri" panose="020F0502020204030204" pitchFamily="34" charset="0"/>
                <a:cs typeface="Calibri" panose="020F0502020204030204" pitchFamily="34" charset="0"/>
              </a:rPr>
              <a:t>period</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Cumulative distribution functions (CDFs) are constructed from the offset </a:t>
            </a:r>
            <a:r>
              <a:rPr lang="en-US" dirty="0" smtClean="0">
                <a:latin typeface="Calibri" panose="020F0502020204030204" pitchFamily="34" charset="0"/>
                <a:cs typeface="Calibri" panose="020F0502020204030204" pitchFamily="34" charset="0"/>
              </a:rPr>
              <a:t>values</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Risk scenarios are represented by values extracted from the CDFs for 7 standard percentiles (5th, 10th, 25th, 50th, 75th, 90th, 95th</a:t>
            </a:r>
            <a:r>
              <a:rPr lang="en-US" dirty="0" smtClean="0">
                <a:latin typeface="Calibri" panose="020F0502020204030204" pitchFamily="34" charset="0"/>
                <a:cs typeface="Calibri" panose="020F0502020204030204" pitchFamily="34" charset="0"/>
              </a:rPr>
              <a:t>)</a:t>
            </a:r>
          </a:p>
          <a:p>
            <a:endParaRPr lang="en-US" dirty="0">
              <a:latin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Future IDF curves are generated by adding these offset values to historical IDF </a:t>
            </a:r>
            <a:r>
              <a:rPr lang="en-US" dirty="0" smtClean="0">
                <a:latin typeface="Calibri" panose="020F0502020204030204" pitchFamily="34" charset="0"/>
                <a:cs typeface="Calibri" panose="020F0502020204030204" pitchFamily="34" charset="0"/>
              </a:rPr>
              <a:t>values</a:t>
            </a:r>
          </a:p>
          <a:p>
            <a:endParaRPr lang="en-US" dirty="0">
              <a:latin typeface="Calibri" panose="020F0502020204030204" pitchFamily="34" charset="0"/>
              <a:cs typeface="Calibri" panose="020F0502020204030204" pitchFamily="34" charset="0"/>
            </a:endParaRPr>
          </a:p>
          <a:p>
            <a:r>
              <a:rPr lang="en-US" dirty="0" err="1">
                <a:latin typeface="Calibri" panose="020F0502020204030204" pitchFamily="34" charset="0"/>
                <a:cs typeface="Calibri" panose="020F0502020204030204" pitchFamily="34" charset="0"/>
              </a:rPr>
              <a:t>WeatherShift</a:t>
            </a:r>
            <a:r>
              <a:rPr lang="en-US" dirty="0">
                <a:latin typeface="Calibri" panose="020F0502020204030204" pitchFamily="34" charset="0"/>
                <a:cs typeface="Calibri" panose="020F0502020204030204" pitchFamily="34" charset="0"/>
              </a:rPr>
              <a:t> Rainfall hydraulic modeling analysis utilizes these Future IDF Curves for climate-ready risk management</a:t>
            </a:r>
          </a:p>
          <a:p>
            <a:pPr marL="0" indent="0">
              <a:buNone/>
            </a:pPr>
            <a:endParaRPr lang="en-US" dirty="0"/>
          </a:p>
          <a:p>
            <a:endParaRPr lang="en-US" dirty="0"/>
          </a:p>
          <a:p>
            <a:pPr marL="0" indent="0">
              <a:buNone/>
            </a:pPr>
            <a:endParaRPr lang="en-US" dirty="0"/>
          </a:p>
        </p:txBody>
      </p:sp>
      <p:grpSp>
        <p:nvGrpSpPr>
          <p:cNvPr id="3" name="Group 2"/>
          <p:cNvGrpSpPr/>
          <p:nvPr/>
        </p:nvGrpSpPr>
        <p:grpSpPr>
          <a:xfrm>
            <a:off x="5242586" y="1257708"/>
            <a:ext cx="6605517" cy="4803048"/>
            <a:chOff x="937101" y="2345375"/>
            <a:chExt cx="7313639" cy="4495800"/>
          </a:xfrm>
        </p:grpSpPr>
        <p:pic>
          <p:nvPicPr>
            <p:cNvPr id="25" name="Picture 2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7101" y="2345375"/>
              <a:ext cx="7313639" cy="4495800"/>
            </a:xfrm>
            <a:prstGeom prst="rect">
              <a:avLst/>
            </a:prstGeom>
            <a:ln>
              <a:noFill/>
            </a:ln>
          </p:spPr>
        </p:pic>
        <p:sp>
          <p:nvSpPr>
            <p:cNvPr id="26" name="TextBox 25"/>
            <p:cNvSpPr txBox="1"/>
            <p:nvPr/>
          </p:nvSpPr>
          <p:spPr>
            <a:xfrm>
              <a:off x="2490799" y="3660460"/>
              <a:ext cx="4206240" cy="489750"/>
            </a:xfrm>
            <a:prstGeom prst="rect">
              <a:avLst/>
            </a:prstGeom>
            <a:noFill/>
          </p:spPr>
          <p:txBody>
            <a:bodyPr wrap="square" rtlCol="0" anchor="ctr">
              <a:spAutoFit/>
            </a:bodyPr>
            <a:lstStyle/>
            <a:p>
              <a:r>
                <a:rPr lang="en-US" sz="1400" dirty="0">
                  <a:latin typeface="Arial" panose="020B0604020202020204" pitchFamily="34" charset="0"/>
                  <a:cs typeface="Arial" panose="020B0604020202020204" pitchFamily="34" charset="0"/>
                </a:rPr>
                <a:t>Offset for a 5-year, 10-hour storm, at the 95</a:t>
              </a:r>
              <a:r>
                <a:rPr lang="en-US" sz="1400" baseline="30000" dirty="0">
                  <a:latin typeface="Arial" panose="020B0604020202020204" pitchFamily="34" charset="0"/>
                  <a:cs typeface="Arial" panose="020B0604020202020204" pitchFamily="34" charset="0"/>
                </a:rPr>
                <a:t>th</a:t>
              </a:r>
              <a:r>
                <a:rPr lang="en-US" sz="1400" dirty="0">
                  <a:latin typeface="Arial" panose="020B0604020202020204" pitchFamily="34" charset="0"/>
                  <a:cs typeface="Arial" panose="020B0604020202020204" pitchFamily="34" charset="0"/>
                </a:rPr>
                <a:t> percentile</a:t>
              </a:r>
            </a:p>
          </p:txBody>
        </p:sp>
        <p:sp>
          <p:nvSpPr>
            <p:cNvPr id="27" name="TextBox 26"/>
            <p:cNvSpPr txBox="1"/>
            <p:nvPr/>
          </p:nvSpPr>
          <p:spPr>
            <a:xfrm>
              <a:off x="3429000" y="4393229"/>
              <a:ext cx="2651760" cy="489750"/>
            </a:xfrm>
            <a:prstGeom prst="rect">
              <a:avLst/>
            </a:prstGeom>
            <a:noFill/>
          </p:spPr>
          <p:txBody>
            <a:bodyPr wrap="square" rtlCol="0" anchor="ctr">
              <a:spAutoFit/>
            </a:bodyPr>
            <a:lstStyle/>
            <a:p>
              <a:r>
                <a:rPr lang="en-US" sz="1400" dirty="0">
                  <a:latin typeface="Arial" panose="020B0604020202020204" pitchFamily="34" charset="0"/>
                  <a:cs typeface="Arial" panose="020B0604020202020204" pitchFamily="34" charset="0"/>
                </a:rPr>
                <a:t>Offset for a 5-year, 20-hour storm, at the 50</a:t>
              </a:r>
              <a:r>
                <a:rPr lang="en-US" sz="1400" baseline="30000" dirty="0">
                  <a:latin typeface="Arial" panose="020B0604020202020204" pitchFamily="34" charset="0"/>
                  <a:cs typeface="Arial" panose="020B0604020202020204" pitchFamily="34" charset="0"/>
                </a:rPr>
                <a:t>th</a:t>
              </a:r>
              <a:r>
                <a:rPr lang="en-US" sz="1400" dirty="0">
                  <a:latin typeface="Arial" panose="020B0604020202020204" pitchFamily="34" charset="0"/>
                  <a:cs typeface="Arial" panose="020B0604020202020204" pitchFamily="34" charset="0"/>
                </a:rPr>
                <a:t> percentile</a:t>
              </a:r>
            </a:p>
          </p:txBody>
        </p:sp>
        <p:cxnSp>
          <p:nvCxnSpPr>
            <p:cNvPr id="28" name="Straight Arrow Connector 27"/>
            <p:cNvCxnSpPr/>
            <p:nvPr/>
          </p:nvCxnSpPr>
          <p:spPr>
            <a:xfrm flipV="1">
              <a:off x="2626425" y="4114800"/>
              <a:ext cx="0" cy="457200"/>
            </a:xfrm>
            <a:prstGeom prst="straightConnector1">
              <a:avLst/>
            </a:prstGeom>
            <a:ln w="381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2626425" y="5029200"/>
              <a:ext cx="0" cy="457200"/>
            </a:xfrm>
            <a:prstGeom prst="straightConnector1">
              <a:avLst/>
            </a:prstGeom>
            <a:ln w="381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3569525" y="4848100"/>
              <a:ext cx="0" cy="457200"/>
            </a:xfrm>
            <a:prstGeom prst="straightConnector1">
              <a:avLst/>
            </a:prstGeom>
            <a:ln w="381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3569525" y="5410200"/>
              <a:ext cx="0" cy="457200"/>
            </a:xfrm>
            <a:prstGeom prst="straightConnector1">
              <a:avLst/>
            </a:prstGeom>
            <a:ln w="3810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14" name="Picture 13"/>
          <p:cNvPicPr>
            <a:picLocks noChangeAspect="1"/>
          </p:cNvPicPr>
          <p:nvPr/>
        </p:nvPicPr>
        <p:blipFill>
          <a:blip r:embed="rId4"/>
          <a:stretch>
            <a:fillRect/>
          </a:stretch>
        </p:blipFill>
        <p:spPr>
          <a:xfrm>
            <a:off x="649035" y="5438274"/>
            <a:ext cx="4266897" cy="622482"/>
          </a:xfrm>
          <a:prstGeom prst="rect">
            <a:avLst/>
          </a:prstGeom>
        </p:spPr>
      </p:pic>
    </p:spTree>
    <p:extLst>
      <p:ext uri="{BB962C8B-B14F-4D97-AF65-F5344CB8AC3E}">
        <p14:creationId xmlns:p14="http://schemas.microsoft.com/office/powerpoint/2010/main" val="347457232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Overview</a:t>
            </a:r>
            <a:endParaRPr lang="en-US" dirty="0"/>
          </a:p>
        </p:txBody>
      </p:sp>
      <p:sp>
        <p:nvSpPr>
          <p:cNvPr id="3" name="Text Placeholder 2"/>
          <p:cNvSpPr>
            <a:spLocks noGrp="1"/>
          </p:cNvSpPr>
          <p:nvPr>
            <p:ph type="body" sz="quarter" idx="10"/>
          </p:nvPr>
        </p:nvSpPr>
        <p:spPr>
          <a:xfrm>
            <a:off x="322383" y="1135064"/>
            <a:ext cx="5396026" cy="5361269"/>
          </a:xfrm>
        </p:spPr>
        <p:txBody>
          <a:bodyPr/>
          <a:lstStyle/>
          <a:p>
            <a:pPr marL="0" indent="0">
              <a:buNone/>
            </a:pPr>
            <a:r>
              <a:rPr lang="en-US" b="1" dirty="0" smtClean="0"/>
              <a:t>Issues</a:t>
            </a:r>
            <a:endParaRPr lang="en-US" b="1" dirty="0"/>
          </a:p>
          <a:p>
            <a:pPr marL="0" indent="0">
              <a:buNone/>
            </a:pPr>
            <a:endParaRPr lang="en-US" dirty="0"/>
          </a:p>
          <a:p>
            <a:pPr>
              <a:buFont typeface="Wingdings" panose="05000000000000000000" pitchFamily="2" charset="2"/>
              <a:buChar char="§"/>
            </a:pPr>
            <a:r>
              <a:rPr lang="en-US" dirty="0">
                <a:latin typeface="Calibri" panose="020F0502020204030204" pitchFamily="34" charset="0"/>
                <a:cs typeface="Calibri" panose="020F0502020204030204" pitchFamily="34" charset="0"/>
              </a:rPr>
              <a:t>Climate change presents serious challenges to </a:t>
            </a:r>
            <a:r>
              <a:rPr lang="en-US" dirty="0" smtClean="0">
                <a:latin typeface="Calibri" panose="020F0502020204030204" pitchFamily="34" charset="0"/>
                <a:cs typeface="Calibri" panose="020F0502020204030204" pitchFamily="34" charset="0"/>
              </a:rPr>
              <a:t>long-term </a:t>
            </a:r>
            <a:r>
              <a:rPr lang="en-US" dirty="0">
                <a:latin typeface="Calibri" panose="020F0502020204030204" pitchFamily="34" charset="0"/>
                <a:cs typeface="Calibri" panose="020F0502020204030204" pitchFamily="34" charset="0"/>
              </a:rPr>
              <a:t>viability of roadway </a:t>
            </a:r>
            <a:r>
              <a:rPr lang="en-US" dirty="0" smtClean="0">
                <a:latin typeface="Calibri" panose="020F0502020204030204" pitchFamily="34" charset="0"/>
                <a:cs typeface="Calibri" panose="020F0502020204030204" pitchFamily="34" charset="0"/>
              </a:rPr>
              <a:t>assets due to increasing O&amp;M costs</a:t>
            </a:r>
          </a:p>
          <a:p>
            <a:pPr>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smtClean="0">
                <a:latin typeface="Calibri" panose="020F0502020204030204" pitchFamily="34" charset="0"/>
                <a:cs typeface="Calibri" panose="020F0502020204030204" pitchFamily="34" charset="0"/>
              </a:rPr>
              <a:t>Climate </a:t>
            </a:r>
            <a:r>
              <a:rPr lang="en-US" dirty="0">
                <a:latin typeface="Calibri" panose="020F0502020204030204" pitchFamily="34" charset="0"/>
                <a:cs typeface="Calibri" panose="020F0502020204030204" pitchFamily="34" charset="0"/>
              </a:rPr>
              <a:t>risk is difficult to </a:t>
            </a:r>
            <a:r>
              <a:rPr lang="en-US" dirty="0" smtClean="0">
                <a:latin typeface="Calibri" panose="020F0502020204030204" pitchFamily="34" charset="0"/>
                <a:cs typeface="Calibri" panose="020F0502020204030204" pitchFamily="34" charset="0"/>
              </a:rPr>
              <a:t>quantify </a:t>
            </a:r>
            <a:r>
              <a:rPr lang="en-US" dirty="0">
                <a:latin typeface="Calibri" panose="020F0502020204030204" pitchFamily="34" charset="0"/>
                <a:cs typeface="Calibri" panose="020F0502020204030204" pitchFamily="34" charset="0"/>
              </a:rPr>
              <a:t>and </a:t>
            </a:r>
            <a:r>
              <a:rPr lang="en-US" dirty="0" smtClean="0">
                <a:latin typeface="Calibri" panose="020F0502020204030204" pitchFamily="34" charset="0"/>
                <a:cs typeface="Calibri" panose="020F0502020204030204" pitchFamily="34" charset="0"/>
              </a:rPr>
              <a:t>project based on historic </a:t>
            </a:r>
            <a:r>
              <a:rPr lang="en-US" dirty="0">
                <a:latin typeface="Calibri" panose="020F0502020204030204" pitchFamily="34" charset="0"/>
                <a:cs typeface="Calibri" panose="020F0502020204030204" pitchFamily="34" charset="0"/>
              </a:rPr>
              <a:t>data </a:t>
            </a:r>
            <a:r>
              <a:rPr lang="en-US" dirty="0" smtClean="0">
                <a:latin typeface="Calibri" panose="020F0502020204030204" pitchFamily="34" charset="0"/>
                <a:cs typeface="Calibri" panose="020F0502020204030204" pitchFamily="34" charset="0"/>
              </a:rPr>
              <a:t>that does </a:t>
            </a:r>
            <a:r>
              <a:rPr lang="en-US" dirty="0">
                <a:latin typeface="Calibri" panose="020F0502020204030204" pitchFamily="34" charset="0"/>
                <a:cs typeface="Calibri" panose="020F0502020204030204" pitchFamily="34" charset="0"/>
              </a:rPr>
              <a:t>not reliably represent future </a:t>
            </a:r>
            <a:r>
              <a:rPr lang="en-US" dirty="0" smtClean="0">
                <a:latin typeface="Calibri" panose="020F0502020204030204" pitchFamily="34" charset="0"/>
                <a:cs typeface="Calibri" panose="020F0502020204030204" pitchFamily="34" charset="0"/>
              </a:rPr>
              <a:t>climate</a:t>
            </a:r>
          </a:p>
          <a:p>
            <a:pPr>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smtClean="0">
                <a:latin typeface="Calibri" panose="020F0502020204030204" pitchFamily="34" charset="0"/>
                <a:cs typeface="Calibri" panose="020F0502020204030204" pitchFamily="34" charset="0"/>
              </a:rPr>
              <a:t>Economic </a:t>
            </a:r>
            <a:r>
              <a:rPr lang="en-US" dirty="0">
                <a:latin typeface="Calibri" panose="020F0502020204030204" pitchFamily="34" charset="0"/>
                <a:cs typeface="Calibri" panose="020F0502020204030204" pitchFamily="34" charset="0"/>
              </a:rPr>
              <a:t>and social benefits of </a:t>
            </a:r>
            <a:r>
              <a:rPr lang="en-US" dirty="0" smtClean="0">
                <a:latin typeface="Calibri" panose="020F0502020204030204" pitchFamily="34" charset="0"/>
                <a:cs typeface="Calibri" panose="020F0502020204030204" pitchFamily="34" charset="0"/>
              </a:rPr>
              <a:t>projects </a:t>
            </a:r>
            <a:r>
              <a:rPr lang="en-US" dirty="0">
                <a:latin typeface="Calibri" panose="020F0502020204030204" pitchFamily="34" charset="0"/>
                <a:cs typeface="Calibri" panose="020F0502020204030204" pitchFamily="34" charset="0"/>
              </a:rPr>
              <a:t>will not be fully realized </a:t>
            </a:r>
            <a:r>
              <a:rPr lang="en-US" dirty="0" smtClean="0">
                <a:latin typeface="Calibri" panose="020F0502020204030204" pitchFamily="34" charset="0"/>
                <a:cs typeface="Calibri" panose="020F0502020204030204" pitchFamily="34" charset="0"/>
              </a:rPr>
              <a:t>due to insufficient </a:t>
            </a:r>
            <a:r>
              <a:rPr lang="en-US" dirty="0">
                <a:latin typeface="Calibri" panose="020F0502020204030204" pitchFamily="34" charset="0"/>
                <a:cs typeface="Calibri" panose="020F0502020204030204" pitchFamily="34" charset="0"/>
              </a:rPr>
              <a:t>accounting for climate </a:t>
            </a:r>
            <a:r>
              <a:rPr lang="en-US" dirty="0" smtClean="0">
                <a:latin typeface="Calibri" panose="020F0502020204030204" pitchFamily="34" charset="0"/>
                <a:cs typeface="Calibri" panose="020F0502020204030204" pitchFamily="34" charset="0"/>
              </a:rPr>
              <a:t>change</a:t>
            </a:r>
          </a:p>
          <a:p>
            <a:pPr>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marL="0" indent="0">
              <a:buNone/>
            </a:pPr>
            <a:r>
              <a:rPr lang="en-US" b="1" dirty="0"/>
              <a:t>Proposed Solutions</a:t>
            </a:r>
          </a:p>
          <a:p>
            <a:pPr marL="0" indent="0">
              <a:buNone/>
            </a:pPr>
            <a:endParaRPr lang="en-US" dirty="0"/>
          </a:p>
          <a:p>
            <a:pPr>
              <a:buFont typeface="Wingdings" panose="05000000000000000000" pitchFamily="2" charset="2"/>
              <a:buChar char="§"/>
            </a:pPr>
            <a:r>
              <a:rPr lang="en-US" dirty="0">
                <a:latin typeface="Calibri" panose="020F0502020204030204" pitchFamily="34" charset="0"/>
                <a:cs typeface="Calibri" panose="020F0502020204030204" pitchFamily="34" charset="0"/>
              </a:rPr>
              <a:t>Determine how climate risk can be integrated into </a:t>
            </a:r>
            <a:r>
              <a:rPr lang="en-US" dirty="0" smtClean="0">
                <a:latin typeface="Calibri" panose="020F0502020204030204" pitchFamily="34" charset="0"/>
                <a:cs typeface="Calibri" panose="020F0502020204030204" pitchFamily="34" charset="0"/>
              </a:rPr>
              <a:t>PBCs </a:t>
            </a:r>
            <a:r>
              <a:rPr lang="en-US" dirty="0">
                <a:latin typeface="Calibri" panose="020F0502020204030204" pitchFamily="34" charset="0"/>
                <a:cs typeface="Calibri" panose="020F0502020204030204" pitchFamily="34" charset="0"/>
              </a:rPr>
              <a:t>to minimize </a:t>
            </a:r>
            <a:r>
              <a:rPr lang="en-US" dirty="0" smtClean="0">
                <a:latin typeface="Calibri" panose="020F0502020204030204" pitchFamily="34" charset="0"/>
                <a:cs typeface="Calibri" panose="020F0502020204030204" pitchFamily="34" charset="0"/>
              </a:rPr>
              <a:t>consequence, taking </a:t>
            </a:r>
            <a:r>
              <a:rPr lang="en-US" dirty="0">
                <a:latin typeface="Calibri" panose="020F0502020204030204" pitchFamily="34" charset="0"/>
                <a:cs typeface="Calibri" panose="020F0502020204030204" pitchFamily="34" charset="0"/>
              </a:rPr>
              <a:t>into consideration the criticality of the facility and overall </a:t>
            </a:r>
            <a:r>
              <a:rPr lang="en-US" dirty="0" smtClean="0">
                <a:latin typeface="Calibri" panose="020F0502020204030204" pitchFamily="34" charset="0"/>
                <a:cs typeface="Calibri" panose="020F0502020204030204" pitchFamily="34" charset="0"/>
              </a:rPr>
              <a:t>exposure</a:t>
            </a:r>
          </a:p>
          <a:p>
            <a:pPr>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a:latin typeface="Calibri" panose="020F0502020204030204" pitchFamily="34" charset="0"/>
                <a:cs typeface="Calibri" panose="020F0502020204030204" pitchFamily="34" charset="0"/>
              </a:rPr>
              <a:t>Determine </a:t>
            </a:r>
            <a:r>
              <a:rPr lang="en-US" dirty="0" smtClean="0">
                <a:latin typeface="Calibri" panose="020F0502020204030204" pitchFamily="34" charset="0"/>
                <a:cs typeface="Calibri" panose="020F0502020204030204" pitchFamily="34" charset="0"/>
              </a:rPr>
              <a:t>who </a:t>
            </a:r>
            <a:r>
              <a:rPr lang="en-US" dirty="0">
                <a:latin typeface="Calibri" panose="020F0502020204030204" pitchFamily="34" charset="0"/>
                <a:cs typeface="Calibri" panose="020F0502020204030204" pitchFamily="34" charset="0"/>
              </a:rPr>
              <a:t>owns that risk during and after the execution of the contract </a:t>
            </a:r>
            <a:r>
              <a:rPr lang="en-US" dirty="0" smtClean="0">
                <a:latin typeface="Calibri" panose="020F0502020204030204" pitchFamily="34" charset="0"/>
                <a:cs typeface="Calibri" panose="020F0502020204030204" pitchFamily="34" charset="0"/>
              </a:rPr>
              <a:t>and how </a:t>
            </a:r>
            <a:r>
              <a:rPr lang="en-US" dirty="0">
                <a:latin typeface="Calibri" panose="020F0502020204030204" pitchFamily="34" charset="0"/>
                <a:cs typeface="Calibri" panose="020F0502020204030204" pitchFamily="34" charset="0"/>
              </a:rPr>
              <a:t>transparent that risk is from a contractual </a:t>
            </a:r>
            <a:r>
              <a:rPr lang="en-US" dirty="0" smtClean="0">
                <a:latin typeface="Calibri" panose="020F0502020204030204" pitchFamily="34" charset="0"/>
                <a:cs typeface="Calibri" panose="020F0502020204030204" pitchFamily="34" charset="0"/>
              </a:rPr>
              <a:t>perspective</a:t>
            </a:r>
            <a:endParaRPr lang="en-US" dirty="0">
              <a:latin typeface="Calibri" panose="020F0502020204030204" pitchFamily="34" charset="0"/>
              <a:cs typeface="Calibri" panose="020F0502020204030204" pitchFamily="34" charset="0"/>
            </a:endParaRPr>
          </a:p>
          <a:p>
            <a:pPr marL="0" indent="0">
              <a:buNone/>
            </a:pPr>
            <a:endParaRPr lang="en-US" dirty="0">
              <a:latin typeface="Calibri" panose="020F0502020204030204" pitchFamily="34" charset="0"/>
              <a:cs typeface="Calibri" panose="020F0502020204030204" pitchFamily="34" charset="0"/>
            </a:endParaRPr>
          </a:p>
          <a:p>
            <a:pPr marL="342900" lvl="0" indent="-342900">
              <a:buFont typeface="+mj-lt"/>
              <a:buAutoNum type="arabicPeriod"/>
            </a:pPr>
            <a:endParaRPr lang="en-US" sz="2000" dirty="0"/>
          </a:p>
          <a:p>
            <a:pPr marL="342900" lvl="0" indent="-342900">
              <a:buFont typeface="+mj-lt"/>
              <a:buAutoNum type="arabicPeriod"/>
            </a:pPr>
            <a:endParaRPr lang="en-US" sz="2000" dirty="0"/>
          </a:p>
          <a:p>
            <a:endParaRPr lang="en-US" dirty="0" smtClean="0"/>
          </a:p>
          <a:p>
            <a:endParaRPr lang="en-US" dirty="0" smtClean="0"/>
          </a:p>
          <a:p>
            <a:endParaRPr lang="en-US" dirty="0"/>
          </a:p>
        </p:txBody>
      </p:sp>
      <p:sp>
        <p:nvSpPr>
          <p:cNvPr id="5" name="Text Placeholder 4"/>
          <p:cNvSpPr>
            <a:spLocks noGrp="1"/>
          </p:cNvSpPr>
          <p:nvPr>
            <p:ph type="body" sz="quarter" idx="12"/>
          </p:nvPr>
        </p:nvSpPr>
        <p:spPr/>
        <p:txBody>
          <a:bodyPr/>
          <a:lstStyle/>
          <a:p>
            <a:r>
              <a:rPr lang="en-US" dirty="0"/>
              <a:t>Industry Challenge</a:t>
            </a:r>
          </a:p>
        </p:txBody>
      </p:sp>
      <p:sp>
        <p:nvSpPr>
          <p:cNvPr id="6" name="Text Placeholder 2"/>
          <p:cNvSpPr txBox="1">
            <a:spLocks/>
          </p:cNvSpPr>
          <p:nvPr/>
        </p:nvSpPr>
        <p:spPr>
          <a:xfrm>
            <a:off x="5626459" y="3469005"/>
            <a:ext cx="5672798" cy="4461510"/>
          </a:xfrm>
          <a:prstGeom prst="rect">
            <a:avLst/>
          </a:prstGeom>
        </p:spPr>
        <p:txBody>
          <a:bodyPr/>
          <a:lstStyle>
            <a:lvl1pPr marL="236969" indent="-236969" algn="l" defTabSz="1197317" rtl="0" eaLnBrk="1" latinLnBrk="0" hangingPunct="1">
              <a:lnSpc>
                <a:spcPct val="85000"/>
              </a:lnSpc>
              <a:spcBef>
                <a:spcPts val="261"/>
              </a:spcBef>
              <a:buFont typeface="Arial" pitchFamily="34" charset="0"/>
              <a:buChar char="•"/>
              <a:defRPr sz="1600" kern="1200">
                <a:solidFill>
                  <a:schemeClr val="tx1"/>
                </a:solidFill>
                <a:latin typeface="+mj-lt"/>
                <a:ea typeface="+mn-ea"/>
                <a:cs typeface="+mn-cs"/>
              </a:defRPr>
            </a:lvl1pPr>
            <a:lvl2pPr marL="285750" indent="-285750" algn="l" defTabSz="1197317" rtl="0" eaLnBrk="1" latinLnBrk="0" hangingPunct="1">
              <a:lnSpc>
                <a:spcPct val="85000"/>
              </a:lnSpc>
              <a:spcBef>
                <a:spcPts val="261"/>
              </a:spcBef>
              <a:buFont typeface="Arial" pitchFamily="34" charset="0"/>
              <a:buChar char="•"/>
              <a:defRPr sz="1600" kern="1200">
                <a:solidFill>
                  <a:schemeClr val="tx1"/>
                </a:solidFill>
                <a:latin typeface="+mj-lt"/>
                <a:ea typeface="+mn-ea"/>
                <a:cs typeface="+mn-cs"/>
              </a:defRPr>
            </a:lvl2pPr>
            <a:lvl3pPr marL="457200" indent="-171450" algn="l" defTabSz="1197317" rtl="0" eaLnBrk="1" latinLnBrk="0" hangingPunct="1">
              <a:lnSpc>
                <a:spcPct val="85000"/>
              </a:lnSpc>
              <a:spcBef>
                <a:spcPts val="261"/>
              </a:spcBef>
              <a:buFont typeface="Arial" pitchFamily="34" charset="0"/>
              <a:buChar char="•"/>
              <a:defRPr sz="1600" kern="1200">
                <a:solidFill>
                  <a:schemeClr val="tx1"/>
                </a:solidFill>
                <a:latin typeface="+mj-lt"/>
                <a:ea typeface="+mn-ea"/>
                <a:cs typeface="+mn-cs"/>
              </a:defRPr>
            </a:lvl3pPr>
            <a:lvl4pPr marL="935403"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4pPr>
            <a:lvl5pPr marL="1172372"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5pPr>
            <a:lvl6pPr marL="3292619"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891277"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489936"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088594"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342900" indent="-342900">
              <a:buFont typeface="+mj-lt"/>
              <a:buAutoNum type="arabicPeriod"/>
            </a:pPr>
            <a:endParaRPr lang="en-US" sz="2000" dirty="0" smtClean="0"/>
          </a:p>
          <a:p>
            <a:pPr marL="342900" indent="-342900">
              <a:buFont typeface="+mj-lt"/>
              <a:buAutoNum type="arabicPeriod"/>
            </a:pPr>
            <a:endParaRPr lang="en-US" sz="2000" dirty="0" smtClean="0"/>
          </a:p>
          <a:p>
            <a:endParaRPr lang="en-US" dirty="0" smtClean="0"/>
          </a:p>
          <a:p>
            <a:endParaRPr lang="en-US" dirty="0" smtClean="0"/>
          </a:p>
          <a:p>
            <a:endParaRPr lang="en-US" dirty="0"/>
          </a:p>
        </p:txBody>
      </p:sp>
      <p:sp>
        <p:nvSpPr>
          <p:cNvPr id="9" name="Rectangle 8"/>
          <p:cNvSpPr/>
          <p:nvPr/>
        </p:nvSpPr>
        <p:spPr>
          <a:xfrm>
            <a:off x="8805334" y="1148229"/>
            <a:ext cx="3097498" cy="2442604"/>
          </a:xfrm>
          <a:prstGeom prst="rect">
            <a:avLst/>
          </a:prstGeom>
          <a:blipFill rotWithShape="1">
            <a:blip r:embed="rId3"/>
            <a:stretch>
              <a:fillRect/>
            </a:stretch>
          </a:blipFill>
        </p:spPr>
        <p:style>
          <a:lnRef idx="0">
            <a:schemeClr val="dk1">
              <a:hueOff val="0"/>
              <a:satOff val="0"/>
              <a:lumOff val="0"/>
              <a:alphaOff val="0"/>
            </a:schemeClr>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rcRect l="8608" t="6564" r="17986" b="15988"/>
          <a:stretch/>
        </p:blipFill>
        <p:spPr>
          <a:xfrm>
            <a:off x="5718411" y="1135064"/>
            <a:ext cx="3086921" cy="2442604"/>
          </a:xfrm>
          <a:prstGeom prst="rect">
            <a:avLst/>
          </a:prstGeom>
        </p:spPr>
      </p:pic>
      <p:sp>
        <p:nvSpPr>
          <p:cNvPr id="12" name="Rectangle 11"/>
          <p:cNvSpPr/>
          <p:nvPr/>
        </p:nvSpPr>
        <p:spPr>
          <a:xfrm>
            <a:off x="8805332" y="3577668"/>
            <a:ext cx="3097499" cy="2591120"/>
          </a:xfrm>
          <a:prstGeom prst="rect">
            <a:avLst/>
          </a:prstGeom>
          <a:blipFill>
            <a:blip r:embed="rId5">
              <a:extLst>
                <a:ext uri="{28A0092B-C50C-407E-A947-70E740481C1C}">
                  <a14:useLocalDpi xmlns:a14="http://schemas.microsoft.com/office/drawing/2010/main" val="0"/>
                </a:ext>
              </a:extLst>
            </a:blip>
            <a:srcRect/>
            <a:stretch>
              <a:fillRect l="-26000" r="-26000"/>
            </a:stretch>
          </a:blipFill>
        </p:spPr>
        <p:style>
          <a:lnRef idx="0">
            <a:schemeClr val="dk1">
              <a:hueOff val="0"/>
              <a:satOff val="0"/>
              <a:lumOff val="0"/>
              <a:alphaOff val="0"/>
            </a:schemeClr>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sp>
        <p:nvSpPr>
          <p:cNvPr id="14" name="Rectangle 13"/>
          <p:cNvSpPr/>
          <p:nvPr/>
        </p:nvSpPr>
        <p:spPr>
          <a:xfrm>
            <a:off x="5718409" y="3577668"/>
            <a:ext cx="3086921" cy="2591120"/>
          </a:xfrm>
          <a:prstGeom prst="rect">
            <a:avLst/>
          </a:prstGeom>
          <a:blipFill>
            <a:blip r:embed="rId6">
              <a:extLst>
                <a:ext uri="{28A0092B-C50C-407E-A947-70E740481C1C}">
                  <a14:useLocalDpi xmlns:a14="http://schemas.microsoft.com/office/drawing/2010/main" val="0"/>
                </a:ext>
              </a:extLst>
            </a:blip>
            <a:srcRect/>
            <a:stretch>
              <a:fillRect l="-27000" r="-27000"/>
            </a:stretch>
          </a:blipFill>
        </p:spPr>
        <p:style>
          <a:lnRef idx="0">
            <a:schemeClr val="dk1">
              <a:hueOff val="0"/>
              <a:satOff val="0"/>
              <a:lumOff val="0"/>
              <a:alphaOff val="0"/>
            </a:schemeClr>
          </a:lnRef>
          <a:fillRef idx="1">
            <a:scrgbClr r="0" g="0" b="0"/>
          </a:fillRef>
          <a:effectRef idx="0">
            <a:schemeClr val="dk1">
              <a:tint val="40000"/>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56624551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Management Framework</a:t>
            </a:r>
            <a:endParaRPr lang="en-US" dirty="0"/>
          </a:p>
        </p:txBody>
      </p:sp>
      <p:sp>
        <p:nvSpPr>
          <p:cNvPr id="6" name="Text Placeholder 5"/>
          <p:cNvSpPr>
            <a:spLocks noGrp="1"/>
          </p:cNvSpPr>
          <p:nvPr>
            <p:ph type="body" sz="quarter" idx="12"/>
          </p:nvPr>
        </p:nvSpPr>
        <p:spPr/>
        <p:txBody>
          <a:bodyPr/>
          <a:lstStyle/>
          <a:p>
            <a:r>
              <a:rPr lang="en-US" dirty="0" smtClean="0"/>
              <a:t>Step 3: Climate Threat</a:t>
            </a:r>
            <a:endParaRPr lang="en-US" dirty="0"/>
          </a:p>
        </p:txBody>
      </p:sp>
      <p:graphicFrame>
        <p:nvGraphicFramePr>
          <p:cNvPr id="7" name="Diagram 6"/>
          <p:cNvGraphicFramePr/>
          <p:nvPr>
            <p:extLst>
              <p:ext uri="{D42A27DB-BD31-4B8C-83A1-F6EECF244321}">
                <p14:modId xmlns:p14="http://schemas.microsoft.com/office/powerpoint/2010/main" val="577623797"/>
              </p:ext>
            </p:extLst>
          </p:nvPr>
        </p:nvGraphicFramePr>
        <p:xfrm>
          <a:off x="8183212" y="872068"/>
          <a:ext cx="3719619" cy="5427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p:cNvGraphicFramePr/>
          <p:nvPr>
            <p:extLst>
              <p:ext uri="{D42A27DB-BD31-4B8C-83A1-F6EECF244321}">
                <p14:modId xmlns:p14="http://schemas.microsoft.com/office/powerpoint/2010/main" val="223734559"/>
              </p:ext>
            </p:extLst>
          </p:nvPr>
        </p:nvGraphicFramePr>
        <p:xfrm>
          <a:off x="322385" y="1202267"/>
          <a:ext cx="7822548" cy="49106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7321202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4059076539"/>
              </p:ext>
            </p:extLst>
          </p:nvPr>
        </p:nvGraphicFramePr>
        <p:xfrm>
          <a:off x="4319954" y="1135064"/>
          <a:ext cx="7367639" cy="49259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p:cNvSpPr>
            <a:spLocks noGrp="1"/>
          </p:cNvSpPr>
          <p:nvPr>
            <p:ph type="title"/>
          </p:nvPr>
        </p:nvSpPr>
        <p:spPr/>
        <p:txBody>
          <a:bodyPr/>
          <a:lstStyle/>
          <a:p>
            <a:r>
              <a:rPr lang="en-US" dirty="0" smtClean="0"/>
              <a:t>Risk Valuation </a:t>
            </a:r>
            <a:endParaRPr lang="en-US" dirty="0"/>
          </a:p>
        </p:txBody>
      </p:sp>
      <p:sp>
        <p:nvSpPr>
          <p:cNvPr id="4" name="Text Placeholder 3"/>
          <p:cNvSpPr>
            <a:spLocks noGrp="1"/>
          </p:cNvSpPr>
          <p:nvPr>
            <p:ph type="body" sz="quarter" idx="10"/>
          </p:nvPr>
        </p:nvSpPr>
        <p:spPr>
          <a:xfrm>
            <a:off x="468922" y="1238250"/>
            <a:ext cx="6778545" cy="4842510"/>
          </a:xfrm>
        </p:spPr>
        <p:txBody>
          <a:bodyPr/>
          <a:lstStyle/>
          <a:p>
            <a:pPr marL="0" indent="0">
              <a:buNone/>
            </a:pPr>
            <a:r>
              <a:rPr lang="en-US" b="1" dirty="0" smtClean="0"/>
              <a:t>1.   Cost Increases</a:t>
            </a:r>
          </a:p>
          <a:p>
            <a:pPr marL="342900" indent="-342900">
              <a:buFont typeface="+mj-lt"/>
              <a:buAutoNum type="arabicPeriod"/>
            </a:pPr>
            <a:endParaRPr lang="en-US" b="1" dirty="0" smtClean="0"/>
          </a:p>
          <a:p>
            <a:pPr marL="0" indent="0">
              <a:buNone/>
            </a:pPr>
            <a:r>
              <a:rPr lang="en-US" dirty="0" smtClean="0"/>
              <a:t>Determining which climatic </a:t>
            </a:r>
            <a:r>
              <a:rPr lang="en-US" dirty="0"/>
              <a:t>events increase Operation and Maintenance costs over time due to more regular repairs and amplified ongoing wear and tear. </a:t>
            </a:r>
            <a:r>
              <a:rPr lang="en-US" i="1" dirty="0" smtClean="0"/>
              <a:t>Example: roadway repaving is required every 7 years instead of 10 due to base failure</a:t>
            </a:r>
          </a:p>
          <a:p>
            <a:pPr marL="342900" indent="-342900">
              <a:buFont typeface="+mj-lt"/>
              <a:buAutoNum type="arabicPeriod"/>
            </a:pPr>
            <a:endParaRPr lang="en-US" b="1" dirty="0"/>
          </a:p>
          <a:p>
            <a:pPr marL="342900" indent="-342900">
              <a:buFont typeface="+mj-lt"/>
              <a:buAutoNum type="arabicPeriod" startAt="2"/>
            </a:pPr>
            <a:r>
              <a:rPr lang="en-US" b="1" dirty="0" smtClean="0"/>
              <a:t>Key </a:t>
            </a:r>
            <a:r>
              <a:rPr lang="en-US" b="1" dirty="0"/>
              <a:t>Performance Indicators (</a:t>
            </a:r>
            <a:r>
              <a:rPr lang="en-US" b="1" dirty="0" smtClean="0"/>
              <a:t>KPIs)</a:t>
            </a:r>
            <a:endParaRPr lang="en-US" b="1" dirty="0"/>
          </a:p>
          <a:p>
            <a:pPr marL="342900" indent="-342900">
              <a:buFont typeface="+mj-lt"/>
              <a:buAutoNum type="arabicPeriod" startAt="2"/>
            </a:pPr>
            <a:endParaRPr lang="en-US" b="1" dirty="0"/>
          </a:p>
          <a:p>
            <a:pPr marL="0" indent="0">
              <a:buNone/>
            </a:pPr>
            <a:r>
              <a:rPr lang="en-US" dirty="0" smtClean="0"/>
              <a:t>Determining </a:t>
            </a:r>
            <a:r>
              <a:rPr lang="en-US" dirty="0"/>
              <a:t>which </a:t>
            </a:r>
            <a:r>
              <a:rPr lang="en-US" b="1" dirty="0"/>
              <a:t>indicators</a:t>
            </a:r>
            <a:r>
              <a:rPr lang="en-US" dirty="0"/>
              <a:t> best measure the ability of an asset to perform with greater resilience to variable climate patterns through an extended contracting period</a:t>
            </a:r>
            <a:r>
              <a:rPr lang="en-US" dirty="0" smtClean="0"/>
              <a:t>.</a:t>
            </a:r>
            <a:endParaRPr lang="en-US" dirty="0"/>
          </a:p>
          <a:p>
            <a:pPr marL="0" indent="0">
              <a:buNone/>
            </a:pPr>
            <a:r>
              <a:rPr lang="en-US" i="1" dirty="0"/>
              <a:t>Example: lane closures from </a:t>
            </a:r>
            <a:r>
              <a:rPr lang="en-US" i="1" dirty="0" smtClean="0"/>
              <a:t>flooding</a:t>
            </a:r>
          </a:p>
          <a:p>
            <a:pPr marL="0" indent="0">
              <a:buNone/>
            </a:pPr>
            <a:endParaRPr lang="en-US" i="1" dirty="0" smtClean="0"/>
          </a:p>
          <a:p>
            <a:pPr marL="0" indent="0">
              <a:buNone/>
            </a:pPr>
            <a:r>
              <a:rPr lang="en-US" b="1" dirty="0" smtClean="0"/>
              <a:t>3.    Return on Investment</a:t>
            </a:r>
            <a:endParaRPr lang="en-US" b="1" dirty="0"/>
          </a:p>
          <a:p>
            <a:pPr marL="342900" indent="-342900">
              <a:buFont typeface="+mj-lt"/>
              <a:buAutoNum type="arabicPeriod" startAt="2"/>
            </a:pPr>
            <a:endParaRPr lang="en-US" b="1" dirty="0"/>
          </a:p>
          <a:p>
            <a:pPr marL="0" indent="0">
              <a:buNone/>
            </a:pPr>
            <a:r>
              <a:rPr lang="en-US" dirty="0"/>
              <a:t>Determining which </a:t>
            </a:r>
            <a:r>
              <a:rPr lang="en-US" b="1" dirty="0" smtClean="0"/>
              <a:t>investments create the</a:t>
            </a:r>
            <a:r>
              <a:rPr lang="en-US" dirty="0" smtClean="0"/>
              <a:t> </a:t>
            </a:r>
            <a:r>
              <a:rPr lang="en-US" dirty="0"/>
              <a:t>best </a:t>
            </a:r>
            <a:r>
              <a:rPr lang="en-US" dirty="0" smtClean="0"/>
              <a:t>O&amp;M cost savings related to resilience </a:t>
            </a:r>
            <a:r>
              <a:rPr lang="en-US" dirty="0"/>
              <a:t>to variable climate patterns through an extended contracting period</a:t>
            </a:r>
            <a:r>
              <a:rPr lang="en-US" dirty="0" smtClean="0"/>
              <a:t>.</a:t>
            </a:r>
            <a:endParaRPr lang="en-US" dirty="0"/>
          </a:p>
          <a:p>
            <a:pPr marL="0" indent="0">
              <a:buNone/>
            </a:pPr>
            <a:r>
              <a:rPr lang="en-US" i="1" dirty="0"/>
              <a:t>Example: </a:t>
            </a:r>
            <a:r>
              <a:rPr lang="en-US" i="1" dirty="0" smtClean="0"/>
              <a:t>raised roadway costs less to clean</a:t>
            </a:r>
            <a:endParaRPr lang="en-US" i="1" dirty="0"/>
          </a:p>
          <a:p>
            <a:pPr marL="0" indent="0">
              <a:buNone/>
            </a:pPr>
            <a:endParaRPr lang="en-US" i="1" dirty="0"/>
          </a:p>
          <a:p>
            <a:pPr marL="0" indent="0">
              <a:buNone/>
            </a:pPr>
            <a:endParaRPr lang="en-US" i="1" dirty="0"/>
          </a:p>
          <a:p>
            <a:pPr marL="0" indent="0">
              <a:buNone/>
            </a:pPr>
            <a:endParaRPr lang="en-US" dirty="0"/>
          </a:p>
          <a:p>
            <a:pPr marL="0" indent="0">
              <a:buNone/>
            </a:pPr>
            <a:endParaRPr lang="en-US" b="1" dirty="0"/>
          </a:p>
          <a:p>
            <a:pPr marL="0" indent="0">
              <a:buNone/>
            </a:pPr>
            <a:endParaRPr lang="en-US" dirty="0"/>
          </a:p>
          <a:p>
            <a:endParaRPr lang="en-US" dirty="0"/>
          </a:p>
          <a:p>
            <a:endParaRPr lang="en-US" dirty="0"/>
          </a:p>
          <a:p>
            <a:endParaRPr lang="en-US" dirty="0"/>
          </a:p>
        </p:txBody>
      </p:sp>
      <p:sp>
        <p:nvSpPr>
          <p:cNvPr id="6" name="Text Placeholder 5"/>
          <p:cNvSpPr>
            <a:spLocks noGrp="1"/>
          </p:cNvSpPr>
          <p:nvPr>
            <p:ph type="body" sz="quarter" idx="12"/>
          </p:nvPr>
        </p:nvSpPr>
        <p:spPr/>
        <p:txBody>
          <a:bodyPr/>
          <a:lstStyle/>
          <a:p>
            <a:r>
              <a:rPr lang="en-US" dirty="0" smtClean="0"/>
              <a:t>Driving Resilience with numbers</a:t>
            </a:r>
            <a:endParaRPr lang="en-US" dirty="0"/>
          </a:p>
        </p:txBody>
      </p:sp>
    </p:spTree>
    <p:extLst>
      <p:ext uri="{BB962C8B-B14F-4D97-AF65-F5344CB8AC3E}">
        <p14:creationId xmlns:p14="http://schemas.microsoft.com/office/powerpoint/2010/main" val="15147997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Valuation</a:t>
            </a:r>
            <a:endParaRPr lang="en-US" dirty="0"/>
          </a:p>
        </p:txBody>
      </p:sp>
      <p:sp>
        <p:nvSpPr>
          <p:cNvPr id="6" name="Text Placeholder 5"/>
          <p:cNvSpPr>
            <a:spLocks noGrp="1"/>
          </p:cNvSpPr>
          <p:nvPr>
            <p:ph type="body" sz="quarter" idx="12"/>
          </p:nvPr>
        </p:nvSpPr>
        <p:spPr/>
        <p:txBody>
          <a:bodyPr/>
          <a:lstStyle/>
          <a:p>
            <a:r>
              <a:rPr lang="en-US" dirty="0" smtClean="0"/>
              <a:t>Increasing Lifecycle </a:t>
            </a:r>
            <a:r>
              <a:rPr lang="en-US" dirty="0"/>
              <a:t>Costs</a:t>
            </a:r>
          </a:p>
        </p:txBody>
      </p:sp>
      <p:graphicFrame>
        <p:nvGraphicFramePr>
          <p:cNvPr id="7" name="Chart 6"/>
          <p:cNvGraphicFramePr>
            <a:graphicFrameLocks/>
          </p:cNvGraphicFramePr>
          <p:nvPr>
            <p:extLst>
              <p:ext uri="{D42A27DB-BD31-4B8C-83A1-F6EECF244321}">
                <p14:modId xmlns:p14="http://schemas.microsoft.com/office/powerpoint/2010/main" val="2102310131"/>
              </p:ext>
            </p:extLst>
          </p:nvPr>
        </p:nvGraphicFramePr>
        <p:xfrm>
          <a:off x="4367284" y="1135064"/>
          <a:ext cx="7535547" cy="48298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639082289"/>
              </p:ext>
            </p:extLst>
          </p:nvPr>
        </p:nvGraphicFramePr>
        <p:xfrm>
          <a:off x="322385" y="1282892"/>
          <a:ext cx="3894773" cy="4571999"/>
        </p:xfrm>
        <a:graphic>
          <a:graphicData uri="http://schemas.openxmlformats.org/drawingml/2006/table">
            <a:tbl>
              <a:tblPr firstRow="1" firstCol="1" bandRow="1">
                <a:tableStyleId>{8A107856-5554-42FB-B03E-39F5DBC370BA}</a:tableStyleId>
              </a:tblPr>
              <a:tblGrid>
                <a:gridCol w="1872695"/>
                <a:gridCol w="1072630"/>
                <a:gridCol w="949448"/>
              </a:tblGrid>
              <a:tr h="792437">
                <a:tc>
                  <a:txBody>
                    <a:bodyPr/>
                    <a:lstStyle/>
                    <a:p>
                      <a:pPr marL="0" marR="0" algn="ctr">
                        <a:spcBef>
                          <a:spcPts val="0"/>
                        </a:spcBef>
                        <a:spcAft>
                          <a:spcPts val="0"/>
                        </a:spcAft>
                      </a:pPr>
                      <a:r>
                        <a:rPr lang="en-US" sz="1400" dirty="0">
                          <a:effectLst/>
                          <a:latin typeface="Calibri" panose="020F0502020204030204" pitchFamily="34" charset="0"/>
                          <a:cs typeface="Calibri" panose="020F0502020204030204" pitchFamily="34" charset="0"/>
                        </a:rPr>
                        <a:t>Cost Category </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400" dirty="0">
                          <a:effectLst/>
                          <a:latin typeface="Calibri" panose="020F0502020204030204" pitchFamily="34" charset="0"/>
                          <a:cs typeface="Calibri" panose="020F0502020204030204" pitchFamily="34" charset="0"/>
                        </a:rPr>
                        <a:t>Original Budget ($/year)</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400" dirty="0">
                          <a:effectLst/>
                          <a:latin typeface="Calibri" panose="020F0502020204030204" pitchFamily="34" charset="0"/>
                          <a:cs typeface="Calibri" panose="020F0502020204030204" pitchFamily="34" charset="0"/>
                        </a:rPr>
                        <a:t>ROC ($/year)</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681219">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Materials (Ice Slicer, Sand, Liquid </a:t>
                      </a:r>
                      <a:r>
                        <a:rPr lang="en-US" sz="1400" dirty="0" smtClean="0">
                          <a:effectLst/>
                          <a:latin typeface="Calibri" panose="020F0502020204030204" pitchFamily="34" charset="0"/>
                          <a:cs typeface="Calibri" panose="020F0502020204030204" pitchFamily="34" charset="0"/>
                        </a:rPr>
                        <a:t>De-</a:t>
                      </a:r>
                      <a:r>
                        <a:rPr lang="en-US" sz="1400" dirty="0" err="1" smtClean="0">
                          <a:effectLst/>
                          <a:latin typeface="Calibri" panose="020F0502020204030204" pitchFamily="34" charset="0"/>
                          <a:cs typeface="Calibri" panose="020F0502020204030204" pitchFamily="34" charset="0"/>
                        </a:rPr>
                        <a:t>icer</a:t>
                      </a:r>
                      <a:r>
                        <a:rPr lang="en-US" sz="1400" dirty="0">
                          <a:effectLst/>
                          <a:latin typeface="Calibri" panose="020F0502020204030204" pitchFamily="34" charset="0"/>
                          <a:cs typeface="Calibri" panose="020F0502020204030204" pitchFamily="34" charset="0"/>
                        </a:rPr>
                        <a:t>)</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914.00</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a:effectLst/>
                          <a:latin typeface="Calibri" panose="020F0502020204030204" pitchFamily="34" charset="0"/>
                          <a:cs typeface="Calibri" panose="020F0502020204030204" pitchFamily="34" charset="0"/>
                        </a:rPr>
                        <a:t>$1,096.80</a:t>
                      </a:r>
                      <a:endParaRPr lang="en-US" sz="140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1021828">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Winter  Equipment Maintenance, Inspection, Parts, etc.</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25.50</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29.33</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387056">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Seasonal Employees</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231.00</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231.00</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387056">
                <a:tc>
                  <a:txBody>
                    <a:bodyPr/>
                    <a:lstStyle/>
                    <a:p>
                      <a:pPr marL="0" marR="0" algn="r">
                        <a:spcBef>
                          <a:spcPts val="0"/>
                        </a:spcBef>
                        <a:spcAft>
                          <a:spcPts val="0"/>
                        </a:spcAft>
                      </a:pPr>
                      <a:r>
                        <a:rPr lang="en-US" sz="1400">
                          <a:effectLst/>
                          <a:latin typeface="Calibri" panose="020F0502020204030204" pitchFamily="34" charset="0"/>
                          <a:cs typeface="Calibri" panose="020F0502020204030204" pitchFamily="34" charset="0"/>
                        </a:rPr>
                        <a:t>Fuel for Winter Trucks</a:t>
                      </a:r>
                      <a:endParaRPr lang="en-US" sz="140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35.00</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42.00</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528291">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Total</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1,205.50</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1,399.13</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387056">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Cost  Overruns</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193.63</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16%</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387056">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 Values in '000$s</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 </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gn="r">
                        <a:spcBef>
                          <a:spcPts val="0"/>
                        </a:spcBef>
                        <a:spcAft>
                          <a:spcPts val="0"/>
                        </a:spcAft>
                      </a:pPr>
                      <a:r>
                        <a:rPr lang="en-US" sz="1400" dirty="0">
                          <a:effectLst/>
                          <a:latin typeface="Calibri" panose="020F0502020204030204" pitchFamily="34" charset="0"/>
                          <a:cs typeface="Calibri" panose="020F0502020204030204" pitchFamily="34" charset="0"/>
                        </a:rPr>
                        <a:t> </a:t>
                      </a:r>
                      <a:endParaRPr lang="en-US"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bl>
          </a:graphicData>
        </a:graphic>
      </p:graphicFrame>
    </p:spTree>
    <p:extLst>
      <p:ext uri="{BB962C8B-B14F-4D97-AF65-F5344CB8AC3E}">
        <p14:creationId xmlns:p14="http://schemas.microsoft.com/office/powerpoint/2010/main" val="2985497118"/>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isk Valuation</a:t>
            </a:r>
            <a:endParaRPr lang="en-US" dirty="0"/>
          </a:p>
        </p:txBody>
      </p:sp>
      <p:sp>
        <p:nvSpPr>
          <p:cNvPr id="7" name="Text Placeholder 6"/>
          <p:cNvSpPr>
            <a:spLocks noGrp="1"/>
          </p:cNvSpPr>
          <p:nvPr>
            <p:ph type="body" sz="quarter" idx="12"/>
          </p:nvPr>
        </p:nvSpPr>
        <p:spPr/>
        <p:txBody>
          <a:bodyPr/>
          <a:lstStyle/>
          <a:p>
            <a:r>
              <a:rPr lang="en-US" dirty="0" smtClean="0"/>
              <a:t>KPIs – Performance failures may result in Payment Deductions</a:t>
            </a:r>
            <a:endParaRPr lang="en-US"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2385" y="3443039"/>
            <a:ext cx="3687248" cy="2765436"/>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2385" y="1135064"/>
            <a:ext cx="3687248" cy="2276876"/>
          </a:xfrm>
          <a:prstGeom prst="rect">
            <a:avLst/>
          </a:prstGeom>
        </p:spPr>
      </p:pic>
      <p:graphicFrame>
        <p:nvGraphicFramePr>
          <p:cNvPr id="5" name="Table 4"/>
          <p:cNvGraphicFramePr>
            <a:graphicFrameLocks noGrp="1"/>
          </p:cNvGraphicFramePr>
          <p:nvPr>
            <p:extLst>
              <p:ext uri="{D42A27DB-BD31-4B8C-83A1-F6EECF244321}">
                <p14:modId xmlns:p14="http://schemas.microsoft.com/office/powerpoint/2010/main" val="3861000444"/>
              </p:ext>
            </p:extLst>
          </p:nvPr>
        </p:nvGraphicFramePr>
        <p:xfrm>
          <a:off x="3999442" y="1135070"/>
          <a:ext cx="7903388" cy="5073408"/>
        </p:xfrm>
        <a:graphic>
          <a:graphicData uri="http://schemas.openxmlformats.org/drawingml/2006/table">
            <a:tbl>
              <a:tblPr firstRow="1" firstCol="1" bandRow="1">
                <a:tableStyleId>{21E4AEA4-8DFA-4A89-87EB-49C32662AFE0}</a:tableStyleId>
              </a:tblPr>
              <a:tblGrid>
                <a:gridCol w="2734488"/>
                <a:gridCol w="988980"/>
                <a:gridCol w="3271242"/>
                <a:gridCol w="908678"/>
              </a:tblGrid>
              <a:tr h="281856">
                <a:tc gridSpan="4">
                  <a:txBody>
                    <a:bodyPr/>
                    <a:lstStyle/>
                    <a:p>
                      <a:pPr marL="0" marR="0">
                        <a:lnSpc>
                          <a:spcPts val="1000"/>
                        </a:lnSpc>
                        <a:spcBef>
                          <a:spcPts val="285"/>
                        </a:spcBef>
                        <a:spcAft>
                          <a:spcPts val="285"/>
                        </a:spcAft>
                      </a:pPr>
                      <a:r>
                        <a:rPr lang="en-US" sz="1400" dirty="0">
                          <a:effectLst/>
                        </a:rPr>
                        <a:t>Physical  KPIs                                     Unit of Measurement</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281856">
                <a:tc>
                  <a:txBody>
                    <a:bodyPr/>
                    <a:lstStyle/>
                    <a:p>
                      <a:pPr marL="0" marR="0">
                        <a:lnSpc>
                          <a:spcPts val="1000"/>
                        </a:lnSpc>
                        <a:spcBef>
                          <a:spcPts val="285"/>
                        </a:spcBef>
                        <a:spcAft>
                          <a:spcPts val="285"/>
                        </a:spcAft>
                      </a:pPr>
                      <a:r>
                        <a:rPr lang="en-US" sz="1400" dirty="0">
                          <a:effectLst/>
                        </a:rPr>
                        <a:t>Flooding </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Depth</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Debris Damage</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Quantity</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dirty="0">
                          <a:effectLst/>
                        </a:rPr>
                        <a:t>Erosion</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Volume</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Wall/tunnel damage (increased accidents)</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Length</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dirty="0">
                          <a:effectLst/>
                        </a:rPr>
                        <a:t>Scour</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Area</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Mechanical failure (increased pumping)</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Quantity</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Pavement cracking/potholes</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Area</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Salt damage (from snow treatment)</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Area</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Asphalt wear</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Roughness</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Snow plow damage </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Area</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Drainage network damag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Blockag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Electrical failure</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Quantity</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Metal corrosion</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Area</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Camera failures</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Quantity</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Landscape damag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Area</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IT failures</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Quantity</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Embankment failur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Length</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Street Light deterioration</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Quantity</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Fire damag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Area</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Paint peeling</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Area</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Railing failur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Length</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Paint melting</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Area</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gridSpan="4">
                  <a:txBody>
                    <a:bodyPr/>
                    <a:lstStyle/>
                    <a:p>
                      <a:pPr marL="0" marR="0">
                        <a:lnSpc>
                          <a:spcPts val="1000"/>
                        </a:lnSpc>
                        <a:spcBef>
                          <a:spcPts val="285"/>
                        </a:spcBef>
                        <a:spcAft>
                          <a:spcPts val="285"/>
                        </a:spcAft>
                      </a:pPr>
                      <a:r>
                        <a:rPr lang="en-US" sz="1400" dirty="0">
                          <a:effectLst/>
                        </a:rPr>
                        <a:t>Operational KPIs                                Unit of Measurement</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281856">
                <a:tc>
                  <a:txBody>
                    <a:bodyPr/>
                    <a:lstStyle/>
                    <a:p>
                      <a:pPr marL="0" marR="0">
                        <a:lnSpc>
                          <a:spcPts val="1000"/>
                        </a:lnSpc>
                        <a:spcBef>
                          <a:spcPts val="285"/>
                        </a:spcBef>
                        <a:spcAft>
                          <a:spcPts val="285"/>
                        </a:spcAft>
                      </a:pPr>
                      <a:r>
                        <a:rPr lang="en-US" sz="1400">
                          <a:effectLst/>
                        </a:rPr>
                        <a:t>Accidents</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Quantity</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Accessibility </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 </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Level of servic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Rating</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Sun exposure/ Heat exhaustion </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Peopl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Travel tim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Minutes</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Capacity (change due usage type)</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Vehicles</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Availability</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Days</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Demand (change due to lifestyle changes)</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a:effectLst/>
                        </a:rPr>
                        <a:t>Vehicles</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r h="281856">
                <a:tc>
                  <a:txBody>
                    <a:bodyPr/>
                    <a:lstStyle/>
                    <a:p>
                      <a:pPr marL="0" marR="0">
                        <a:lnSpc>
                          <a:spcPts val="1000"/>
                        </a:lnSpc>
                        <a:spcBef>
                          <a:spcPts val="285"/>
                        </a:spcBef>
                        <a:spcAft>
                          <a:spcPts val="285"/>
                        </a:spcAft>
                      </a:pPr>
                      <a:r>
                        <a:rPr lang="en-US" sz="1400">
                          <a:effectLst/>
                        </a:rPr>
                        <a:t>Delay Volume</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a:effectLst/>
                        </a:rPr>
                        <a:t>Hours</a:t>
                      </a:r>
                      <a:endParaRPr lang="en-US" sz="140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c>
                  <a:txBody>
                    <a:bodyPr/>
                    <a:lstStyle/>
                    <a:p>
                      <a:pPr marL="0" marR="0">
                        <a:lnSpc>
                          <a:spcPts val="1000"/>
                        </a:lnSpc>
                        <a:spcBef>
                          <a:spcPts val="285"/>
                        </a:spcBef>
                        <a:spcAft>
                          <a:spcPts val="285"/>
                        </a:spcAft>
                      </a:pPr>
                      <a:r>
                        <a:rPr lang="en-US" sz="1400" dirty="0">
                          <a:effectLst/>
                        </a:rPr>
                        <a:t>Snow removal time</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solidFill>
                      <a:schemeClr val="accent2"/>
                    </a:solidFill>
                  </a:tcPr>
                </a:tc>
                <a:tc>
                  <a:txBody>
                    <a:bodyPr/>
                    <a:lstStyle/>
                    <a:p>
                      <a:pPr marL="0" marR="0">
                        <a:lnSpc>
                          <a:spcPts val="1000"/>
                        </a:lnSpc>
                        <a:spcBef>
                          <a:spcPts val="285"/>
                        </a:spcBef>
                        <a:spcAft>
                          <a:spcPts val="285"/>
                        </a:spcAft>
                      </a:pPr>
                      <a:r>
                        <a:rPr lang="en-US" sz="1400" dirty="0">
                          <a:effectLst/>
                        </a:rPr>
                        <a:t>Minutes</a:t>
                      </a:r>
                      <a:endParaRPr lang="en-US" sz="140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nchor="ctr"/>
                </a:tc>
              </a:tr>
            </a:tbl>
          </a:graphicData>
        </a:graphic>
      </p:graphicFrame>
    </p:spTree>
    <p:extLst>
      <p:ext uri="{BB962C8B-B14F-4D97-AF65-F5344CB8AC3E}">
        <p14:creationId xmlns:p14="http://schemas.microsoft.com/office/powerpoint/2010/main" val="387234725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528034" y="1365161"/>
            <a:ext cx="5247434" cy="4742425"/>
          </a:xfrm>
        </p:spPr>
        <p:txBody>
          <a:bodyPr/>
          <a:lstStyle/>
          <a:p>
            <a:pPr marL="0" indent="0">
              <a:spcAft>
                <a:spcPts val="600"/>
              </a:spcAft>
              <a:buNone/>
              <a:defRPr/>
            </a:pPr>
            <a:r>
              <a:rPr lang="en-US" sz="1800" dirty="0" smtClean="0">
                <a:latin typeface="Times New Roman" panose="02020603050405020304" pitchFamily="18" charset="0"/>
                <a:cs typeface="Times New Roman" panose="02020603050405020304" pitchFamily="18" charset="0"/>
              </a:rPr>
              <a:t>Availability Payments </a:t>
            </a:r>
            <a:r>
              <a:rPr lang="en-US" sz="1800" dirty="0">
                <a:latin typeface="Times New Roman" panose="02020603050405020304" pitchFamily="18" charset="0"/>
                <a:cs typeface="Times New Roman" panose="02020603050405020304" pitchFamily="18" charset="0"/>
              </a:rPr>
              <a:t>pay back initial investment and ongoing O&amp;M </a:t>
            </a:r>
            <a:r>
              <a:rPr lang="en-US" sz="1800" dirty="0" smtClean="0">
                <a:latin typeface="Times New Roman" panose="02020603050405020304" pitchFamily="18" charset="0"/>
                <a:cs typeface="Times New Roman" panose="02020603050405020304" pitchFamily="18" charset="0"/>
              </a:rPr>
              <a:t>needs</a:t>
            </a:r>
          </a:p>
          <a:p>
            <a:pPr marL="0" indent="0">
              <a:spcAft>
                <a:spcPts val="600"/>
              </a:spcAft>
              <a:buNone/>
              <a:defRPr/>
            </a:pPr>
            <a:endParaRPr lang="en-US" sz="1800" dirty="0" smtClean="0">
              <a:latin typeface="Times New Roman" panose="02020603050405020304" pitchFamily="18" charset="0"/>
              <a:cs typeface="Times New Roman" panose="02020603050405020304" pitchFamily="18" charset="0"/>
            </a:endParaRPr>
          </a:p>
          <a:p>
            <a:pPr>
              <a:spcAft>
                <a:spcPts val="600"/>
              </a:spcAft>
              <a:defRPr/>
            </a:pPr>
            <a:r>
              <a:rPr lang="en-US" sz="1800" dirty="0">
                <a:latin typeface="Times New Roman" panose="02020603050405020304" pitchFamily="18" charset="0"/>
                <a:cs typeface="Times New Roman" panose="02020603050405020304" pitchFamily="18" charset="0"/>
              </a:rPr>
              <a:t>Sequence of payments prioritizes ensuring the asset is </a:t>
            </a:r>
            <a:r>
              <a:rPr lang="en-US" sz="1800" b="1" dirty="0">
                <a:latin typeface="Times New Roman" panose="02020603050405020304" pitchFamily="18" charset="0"/>
                <a:cs typeface="Times New Roman" panose="02020603050405020304" pitchFamily="18" charset="0"/>
              </a:rPr>
              <a:t>available for use </a:t>
            </a:r>
            <a:r>
              <a:rPr lang="en-US" sz="1800" dirty="0">
                <a:latin typeface="Times New Roman" panose="02020603050405020304" pitchFamily="18" charset="0"/>
                <a:cs typeface="Times New Roman" panose="02020603050405020304" pitchFamily="18" charset="0"/>
              </a:rPr>
              <a:t>and kept in </a:t>
            </a:r>
            <a:r>
              <a:rPr lang="en-US" sz="1800" b="1" dirty="0">
                <a:latin typeface="Times New Roman" panose="02020603050405020304" pitchFamily="18" charset="0"/>
                <a:cs typeface="Times New Roman" panose="02020603050405020304" pitchFamily="18" charset="0"/>
              </a:rPr>
              <a:t>good </a:t>
            </a:r>
            <a:r>
              <a:rPr lang="en-US" sz="1800" b="1" dirty="0" smtClean="0">
                <a:latin typeface="Times New Roman" panose="02020603050405020304" pitchFamily="18" charset="0"/>
                <a:cs typeface="Times New Roman" panose="02020603050405020304" pitchFamily="18" charset="0"/>
              </a:rPr>
              <a:t>repair</a:t>
            </a:r>
          </a:p>
          <a:p>
            <a:pPr>
              <a:spcAft>
                <a:spcPts val="600"/>
              </a:spcAft>
              <a:defRPr/>
            </a:pPr>
            <a:endParaRPr lang="en-US" sz="1800" dirty="0">
              <a:latin typeface="Times New Roman" panose="02020603050405020304" pitchFamily="18" charset="0"/>
              <a:cs typeface="Times New Roman" panose="02020603050405020304" pitchFamily="18" charset="0"/>
            </a:endParaRPr>
          </a:p>
          <a:p>
            <a:pPr>
              <a:spcAft>
                <a:spcPts val="600"/>
              </a:spcAft>
              <a:defRPr/>
            </a:pPr>
            <a:r>
              <a:rPr lang="en-US" sz="1800" dirty="0">
                <a:latin typeface="Times New Roman" panose="02020603050405020304" pitchFamily="18" charset="0"/>
                <a:cs typeface="Times New Roman" panose="02020603050405020304" pitchFamily="18" charset="0"/>
              </a:rPr>
              <a:t>Subject to </a:t>
            </a:r>
            <a:r>
              <a:rPr lang="en-US" sz="1800" b="1" dirty="0">
                <a:latin typeface="Times New Roman" panose="02020603050405020304" pitchFamily="18" charset="0"/>
                <a:cs typeface="Times New Roman" panose="02020603050405020304" pitchFamily="18" charset="0"/>
              </a:rPr>
              <a:t>deductions</a:t>
            </a:r>
            <a:r>
              <a:rPr lang="en-US" sz="1800" dirty="0">
                <a:latin typeface="Times New Roman" panose="02020603050405020304" pitchFamily="18" charset="0"/>
                <a:cs typeface="Times New Roman" panose="02020603050405020304" pitchFamily="18" charset="0"/>
              </a:rPr>
              <a:t> for shortfalls in performance </a:t>
            </a:r>
            <a:endParaRPr lang="en-US" sz="1800" dirty="0" smtClean="0">
              <a:latin typeface="Times New Roman" panose="02020603050405020304" pitchFamily="18" charset="0"/>
              <a:cs typeface="Times New Roman" panose="02020603050405020304" pitchFamily="18" charset="0"/>
            </a:endParaRPr>
          </a:p>
          <a:p>
            <a:pPr>
              <a:spcAft>
                <a:spcPts val="600"/>
              </a:spcAft>
              <a:defRPr/>
            </a:pPr>
            <a:endParaRPr lang="en-US" sz="1800" dirty="0">
              <a:latin typeface="Times New Roman" panose="02020603050405020304" pitchFamily="18" charset="0"/>
              <a:cs typeface="Times New Roman" panose="02020603050405020304" pitchFamily="18" charset="0"/>
            </a:endParaRPr>
          </a:p>
          <a:p>
            <a:pPr>
              <a:spcAft>
                <a:spcPts val="600"/>
              </a:spcAft>
              <a:defRPr/>
            </a:pPr>
            <a:r>
              <a:rPr lang="en-US" sz="1800" dirty="0" smtClean="0">
                <a:latin typeface="Times New Roman" panose="02020603050405020304" pitchFamily="18" charset="0"/>
                <a:cs typeface="Times New Roman" panose="02020603050405020304" pitchFamily="18" charset="0"/>
              </a:rPr>
              <a:t>Costs </a:t>
            </a:r>
            <a:r>
              <a:rPr lang="en-US" sz="1800" dirty="0">
                <a:latin typeface="Times New Roman" panose="02020603050405020304" pitchFamily="18" charset="0"/>
                <a:cs typeface="Times New Roman" panose="02020603050405020304" pitchFamily="18" charset="0"/>
              </a:rPr>
              <a:t>associated O&amp;M and major repairs directly impact reserves for </a:t>
            </a:r>
            <a:r>
              <a:rPr lang="en-US" sz="1800" b="1" dirty="0">
                <a:latin typeface="Times New Roman" panose="02020603050405020304" pitchFamily="18" charset="0"/>
                <a:cs typeface="Times New Roman" panose="02020603050405020304" pitchFamily="18" charset="0"/>
              </a:rPr>
              <a:t>debt </a:t>
            </a:r>
            <a:r>
              <a:rPr lang="en-US" sz="1800" b="1" dirty="0" smtClean="0">
                <a:latin typeface="Times New Roman" panose="02020603050405020304" pitchFamily="18" charset="0"/>
                <a:cs typeface="Times New Roman" panose="02020603050405020304" pitchFamily="18" charset="0"/>
              </a:rPr>
              <a:t>repayment</a:t>
            </a:r>
          </a:p>
          <a:p>
            <a:pPr>
              <a:spcAft>
                <a:spcPts val="600"/>
              </a:spcAft>
              <a:defRPr/>
            </a:pPr>
            <a:endParaRPr lang="en-US" sz="1800" b="1" dirty="0">
              <a:latin typeface="Times New Roman" panose="02020603050405020304" pitchFamily="18" charset="0"/>
              <a:cs typeface="Times New Roman" panose="02020603050405020304" pitchFamily="18" charset="0"/>
            </a:endParaRPr>
          </a:p>
          <a:p>
            <a:pPr marL="0" indent="0">
              <a:spcAft>
                <a:spcPts val="600"/>
              </a:spcAft>
              <a:buNone/>
              <a:defRPr/>
            </a:pPr>
            <a:r>
              <a:rPr lang="en-US" sz="1800" b="1" dirty="0" smtClean="0">
                <a:latin typeface="Times New Roman" panose="02020603050405020304" pitchFamily="18" charset="0"/>
                <a:cs typeface="Times New Roman" panose="02020603050405020304" pitchFamily="18" charset="0"/>
              </a:rPr>
              <a:t>Reduced Availability Payments will directly impact Financial Performance and long term viability of an Asset</a:t>
            </a:r>
            <a:endParaRPr lang="en-US" sz="1800" b="1" dirty="0">
              <a:latin typeface="Times New Roman" panose="02020603050405020304" pitchFamily="18" charset="0"/>
              <a:cs typeface="Times New Roman" panose="02020603050405020304" pitchFamily="18" charset="0"/>
            </a:endParaRPr>
          </a:p>
          <a:p>
            <a:pPr>
              <a:buClrTx/>
              <a:defRPr/>
            </a:pPr>
            <a:endParaRPr lang="en-US" dirty="0">
              <a:solidFill>
                <a:schemeClr val="tx2">
                  <a:lumMod val="75000"/>
                  <a:lumOff val="25000"/>
                </a:schemeClr>
              </a:solidFill>
              <a:latin typeface="Times New Roman" panose="02020603050405020304" pitchFamily="18" charset="0"/>
              <a:cs typeface="Times New Roman" panose="02020603050405020304" pitchFamily="18" charset="0"/>
            </a:endParaRPr>
          </a:p>
        </p:txBody>
      </p:sp>
      <p:grpSp>
        <p:nvGrpSpPr>
          <p:cNvPr id="5" name="Group 4"/>
          <p:cNvGrpSpPr/>
          <p:nvPr/>
        </p:nvGrpSpPr>
        <p:grpSpPr>
          <a:xfrm>
            <a:off x="6756088" y="916698"/>
            <a:ext cx="3945924" cy="4784724"/>
            <a:chOff x="6756088" y="1103314"/>
            <a:chExt cx="3945924" cy="4784724"/>
          </a:xfrm>
        </p:grpSpPr>
        <p:grpSp>
          <p:nvGrpSpPr>
            <p:cNvPr id="17453" name="Group 138"/>
            <p:cNvGrpSpPr>
              <a:grpSpLocks/>
            </p:cNvGrpSpPr>
            <p:nvPr/>
          </p:nvGrpSpPr>
          <p:grpSpPr bwMode="auto">
            <a:xfrm>
              <a:off x="7805429" y="2378145"/>
              <a:ext cx="2896583" cy="663508"/>
              <a:chOff x="5492679" y="2814485"/>
              <a:chExt cx="3659060" cy="838200"/>
            </a:xfrm>
          </p:grpSpPr>
          <p:pic>
            <p:nvPicPr>
              <p:cNvPr id="17458" name="Picture 14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flipH="1">
                <a:off x="5492679" y="2814485"/>
                <a:ext cx="124777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59" name="TextBox 144"/>
              <p:cNvSpPr txBox="1">
                <a:spLocks noChangeArrowheads="1"/>
              </p:cNvSpPr>
              <p:nvPr/>
            </p:nvSpPr>
            <p:spPr bwMode="auto">
              <a:xfrm>
                <a:off x="6608137" y="2947692"/>
                <a:ext cx="2543602" cy="388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b="1" dirty="0">
                    <a:latin typeface="Times New Roman" panose="02020603050405020304" pitchFamily="18" charset="0"/>
                    <a:cs typeface="Times New Roman" panose="02020603050405020304" pitchFamily="18" charset="0"/>
                  </a:rPr>
                  <a:t>Other Project Revenues</a:t>
                </a:r>
              </a:p>
            </p:txBody>
          </p:sp>
        </p:grpSp>
        <p:grpSp>
          <p:nvGrpSpPr>
            <p:cNvPr id="21510" name="Group 100"/>
            <p:cNvGrpSpPr>
              <a:grpSpLocks/>
            </p:cNvGrpSpPr>
            <p:nvPr/>
          </p:nvGrpSpPr>
          <p:grpSpPr bwMode="auto">
            <a:xfrm>
              <a:off x="7853050" y="3527424"/>
              <a:ext cx="2318034" cy="555624"/>
              <a:chOff x="5469775" y="3269399"/>
              <a:chExt cx="2925884" cy="701761"/>
            </a:xfrm>
          </p:grpSpPr>
          <p:sp>
            <p:nvSpPr>
              <p:cNvPr id="17450" name="TextBox 135"/>
              <p:cNvSpPr txBox="1">
                <a:spLocks noChangeArrowheads="1"/>
              </p:cNvSpPr>
              <p:nvPr/>
            </p:nvSpPr>
            <p:spPr bwMode="auto">
              <a:xfrm>
                <a:off x="6156940" y="3269399"/>
                <a:ext cx="2238719" cy="660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dirty="0">
                    <a:latin typeface="Times New Roman" panose="02020603050405020304" pitchFamily="18" charset="0"/>
                    <a:cs typeface="Times New Roman" panose="02020603050405020304" pitchFamily="18" charset="0"/>
                  </a:rPr>
                  <a:t>Maintenance reserve </a:t>
                </a:r>
              </a:p>
              <a:p>
                <a:r>
                  <a:rPr lang="en-US" altLang="en-US" sz="1400" dirty="0">
                    <a:latin typeface="Times New Roman" panose="02020603050405020304" pitchFamily="18" charset="0"/>
                    <a:cs typeface="Times New Roman" panose="02020603050405020304" pitchFamily="18" charset="0"/>
                  </a:rPr>
                  <a:t>fund</a:t>
                </a:r>
              </a:p>
            </p:txBody>
          </p:sp>
          <p:cxnSp>
            <p:nvCxnSpPr>
              <p:cNvPr id="137" name="Straight Arrow Connector 136"/>
              <p:cNvCxnSpPr/>
              <p:nvPr/>
            </p:nvCxnSpPr>
            <p:spPr>
              <a:xfrm>
                <a:off x="6102971" y="3369650"/>
                <a:ext cx="0" cy="601510"/>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38" name="Trapezoid 137"/>
              <p:cNvSpPr/>
              <p:nvPr/>
            </p:nvSpPr>
            <p:spPr>
              <a:xfrm rot="514146" flipV="1">
                <a:off x="5469775" y="3331555"/>
                <a:ext cx="599131" cy="565420"/>
              </a:xfrm>
              <a:prstGeom prst="trapezoid">
                <a:avLst/>
              </a:prstGeom>
              <a:solidFill>
                <a:srgbClr val="00B0F0"/>
              </a:solidFill>
              <a:ln>
                <a:solidFill>
                  <a:srgbClr val="1982A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Times New Roman" panose="02020603050405020304" pitchFamily="18" charset="0"/>
                  <a:cs typeface="Times New Roman" panose="02020603050405020304" pitchFamily="18" charset="0"/>
                </a:endParaRPr>
              </a:p>
            </p:txBody>
          </p:sp>
        </p:grpSp>
        <p:grpSp>
          <p:nvGrpSpPr>
            <p:cNvPr id="21511" name="Group 101"/>
            <p:cNvGrpSpPr>
              <a:grpSpLocks/>
            </p:cNvGrpSpPr>
            <p:nvPr/>
          </p:nvGrpSpPr>
          <p:grpSpPr bwMode="auto">
            <a:xfrm>
              <a:off x="8224526" y="4175126"/>
              <a:ext cx="1931638" cy="512763"/>
              <a:chOff x="5938059" y="4070458"/>
              <a:chExt cx="2440804" cy="646254"/>
            </a:xfrm>
          </p:grpSpPr>
          <p:sp>
            <p:nvSpPr>
              <p:cNvPr id="17447" name="TextBox 132"/>
              <p:cNvSpPr txBox="1">
                <a:spLocks noChangeArrowheads="1"/>
              </p:cNvSpPr>
              <p:nvPr/>
            </p:nvSpPr>
            <p:spPr bwMode="auto">
              <a:xfrm>
                <a:off x="6640704" y="4129188"/>
                <a:ext cx="1738159" cy="387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a:latin typeface="Times New Roman" panose="02020603050405020304" pitchFamily="18" charset="0"/>
                    <a:cs typeface="Times New Roman" panose="02020603050405020304" pitchFamily="18" charset="0"/>
                  </a:rPr>
                  <a:t>Debt repayment</a:t>
                </a:r>
              </a:p>
            </p:txBody>
          </p:sp>
          <p:cxnSp>
            <p:nvCxnSpPr>
              <p:cNvPr id="134" name="Straight Arrow Connector 133"/>
              <p:cNvCxnSpPr/>
              <p:nvPr/>
            </p:nvCxnSpPr>
            <p:spPr>
              <a:xfrm>
                <a:off x="6575952" y="4114475"/>
                <a:ext cx="0" cy="602237"/>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35" name="Trapezoid 134"/>
              <p:cNvSpPr/>
              <p:nvPr/>
            </p:nvSpPr>
            <p:spPr>
              <a:xfrm rot="514146" flipV="1">
                <a:off x="5938059" y="4070458"/>
                <a:ext cx="597774" cy="566223"/>
              </a:xfrm>
              <a:prstGeom prst="trapezoid">
                <a:avLst/>
              </a:prstGeom>
              <a:solidFill>
                <a:srgbClr val="00B0F0"/>
              </a:solidFill>
              <a:ln>
                <a:solidFill>
                  <a:srgbClr val="1982A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Times New Roman" panose="02020603050405020304" pitchFamily="18" charset="0"/>
                  <a:cs typeface="Times New Roman" panose="02020603050405020304" pitchFamily="18" charset="0"/>
                </a:endParaRPr>
              </a:p>
            </p:txBody>
          </p:sp>
        </p:grpSp>
        <p:grpSp>
          <p:nvGrpSpPr>
            <p:cNvPr id="21512" name="Group 102"/>
            <p:cNvGrpSpPr>
              <a:grpSpLocks/>
            </p:cNvGrpSpPr>
            <p:nvPr/>
          </p:nvGrpSpPr>
          <p:grpSpPr bwMode="auto">
            <a:xfrm>
              <a:off x="8972238" y="4789488"/>
              <a:ext cx="1295400" cy="1098550"/>
              <a:chOff x="6957753" y="5979247"/>
              <a:chExt cx="1635111" cy="1386222"/>
            </a:xfrm>
          </p:grpSpPr>
          <p:grpSp>
            <p:nvGrpSpPr>
              <p:cNvPr id="17443" name="Group 128"/>
              <p:cNvGrpSpPr>
                <a:grpSpLocks/>
              </p:cNvGrpSpPr>
              <p:nvPr/>
            </p:nvGrpSpPr>
            <p:grpSpPr bwMode="auto">
              <a:xfrm>
                <a:off x="6957753" y="6704824"/>
                <a:ext cx="1635111" cy="660645"/>
                <a:chOff x="6891253" y="5657425"/>
                <a:chExt cx="1635111" cy="660645"/>
              </a:xfrm>
            </p:grpSpPr>
            <p:sp>
              <p:nvSpPr>
                <p:cNvPr id="131" name="Trapezoid 130"/>
                <p:cNvSpPr/>
                <p:nvPr/>
              </p:nvSpPr>
              <p:spPr>
                <a:xfrm rot="514146" flipV="1">
                  <a:off x="6891253" y="5671032"/>
                  <a:ext cx="599141" cy="566910"/>
                </a:xfrm>
                <a:prstGeom prst="trapezoid">
                  <a:avLst/>
                </a:prstGeom>
                <a:solidFill>
                  <a:srgbClr val="00B0F0"/>
                </a:solidFill>
                <a:ln>
                  <a:solidFill>
                    <a:srgbClr val="1982A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Times New Roman" panose="02020603050405020304" pitchFamily="18" charset="0"/>
                    <a:cs typeface="Times New Roman" panose="02020603050405020304" pitchFamily="18" charset="0"/>
                  </a:endParaRPr>
                </a:p>
              </p:txBody>
            </p:sp>
            <p:sp>
              <p:nvSpPr>
                <p:cNvPr id="17446" name="TextBox 131"/>
                <p:cNvSpPr txBox="1">
                  <a:spLocks noChangeArrowheads="1"/>
                </p:cNvSpPr>
                <p:nvPr/>
              </p:nvSpPr>
              <p:spPr bwMode="auto">
                <a:xfrm>
                  <a:off x="7511917" y="5657425"/>
                  <a:ext cx="1014447" cy="660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a:latin typeface="Times New Roman" panose="02020603050405020304" pitchFamily="18" charset="0"/>
                      <a:cs typeface="Times New Roman" panose="02020603050405020304" pitchFamily="18" charset="0"/>
                    </a:rPr>
                    <a:t>Upgrade</a:t>
                  </a:r>
                </a:p>
                <a:p>
                  <a:r>
                    <a:rPr lang="en-US" altLang="en-US" sz="1400">
                      <a:latin typeface="Times New Roman" panose="02020603050405020304" pitchFamily="18" charset="0"/>
                      <a:cs typeface="Times New Roman" panose="02020603050405020304" pitchFamily="18" charset="0"/>
                    </a:rPr>
                    <a:t>fund</a:t>
                  </a:r>
                </a:p>
              </p:txBody>
            </p:sp>
          </p:grpSp>
          <p:cxnSp>
            <p:nvCxnSpPr>
              <p:cNvPr id="130" name="Straight Arrow Connector 129"/>
              <p:cNvCxnSpPr/>
              <p:nvPr/>
            </p:nvCxnSpPr>
            <p:spPr>
              <a:xfrm>
                <a:off x="7094012" y="5979247"/>
                <a:ext cx="0" cy="602966"/>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1513" name="Group 103"/>
            <p:cNvGrpSpPr>
              <a:grpSpLocks/>
            </p:cNvGrpSpPr>
            <p:nvPr/>
          </p:nvGrpSpPr>
          <p:grpSpPr bwMode="auto">
            <a:xfrm>
              <a:off x="8594414" y="4725988"/>
              <a:ext cx="1532936" cy="523220"/>
              <a:chOff x="6472843" y="5896122"/>
              <a:chExt cx="1935567" cy="659819"/>
            </a:xfrm>
          </p:grpSpPr>
          <p:sp>
            <p:nvSpPr>
              <p:cNvPr id="17441" name="TextBox 126"/>
              <p:cNvSpPr txBox="1">
                <a:spLocks noChangeArrowheads="1"/>
              </p:cNvSpPr>
              <p:nvPr/>
            </p:nvSpPr>
            <p:spPr bwMode="auto">
              <a:xfrm>
                <a:off x="7170508" y="5896122"/>
                <a:ext cx="1237902" cy="659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a:latin typeface="Times New Roman" panose="02020603050405020304" pitchFamily="18" charset="0"/>
                    <a:cs typeface="Times New Roman" panose="02020603050405020304" pitchFamily="18" charset="0"/>
                  </a:rPr>
                  <a:t>Equity </a:t>
                </a:r>
              </a:p>
              <a:p>
                <a:r>
                  <a:rPr lang="en-US" altLang="en-US" sz="1400">
                    <a:latin typeface="Times New Roman" panose="02020603050405020304" pitchFamily="18" charset="0"/>
                    <a:cs typeface="Times New Roman" panose="02020603050405020304" pitchFamily="18" charset="0"/>
                  </a:rPr>
                  <a:t>repayment</a:t>
                </a:r>
              </a:p>
            </p:txBody>
          </p:sp>
          <p:sp>
            <p:nvSpPr>
              <p:cNvPr id="128" name="Trapezoid 127"/>
              <p:cNvSpPr/>
              <p:nvPr/>
            </p:nvSpPr>
            <p:spPr>
              <a:xfrm rot="514146" flipV="1">
                <a:off x="6472843" y="5918143"/>
                <a:ext cx="599335" cy="566554"/>
              </a:xfrm>
              <a:prstGeom prst="trapezoid">
                <a:avLst/>
              </a:prstGeom>
              <a:solidFill>
                <a:srgbClr val="00B0F0"/>
              </a:solidFill>
              <a:ln>
                <a:solidFill>
                  <a:srgbClr val="1982A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atin typeface="Times New Roman" panose="02020603050405020304" pitchFamily="18" charset="0"/>
                  <a:cs typeface="Times New Roman" panose="02020603050405020304" pitchFamily="18" charset="0"/>
                </a:endParaRPr>
              </a:p>
            </p:txBody>
          </p:sp>
        </p:grpSp>
        <p:grpSp>
          <p:nvGrpSpPr>
            <p:cNvPr id="11" name="Group 10"/>
            <p:cNvGrpSpPr>
              <a:grpSpLocks/>
            </p:cNvGrpSpPr>
            <p:nvPr/>
          </p:nvGrpSpPr>
          <p:grpSpPr bwMode="auto">
            <a:xfrm>
              <a:off x="8032439" y="3055938"/>
              <a:ext cx="1625425" cy="476250"/>
              <a:chOff x="7391400" y="2982913"/>
              <a:chExt cx="1625425" cy="476250"/>
            </a:xfrm>
          </p:grpSpPr>
          <p:cxnSp>
            <p:nvCxnSpPr>
              <p:cNvPr id="124" name="Straight Arrow Connector 123"/>
              <p:cNvCxnSpPr/>
              <p:nvPr/>
            </p:nvCxnSpPr>
            <p:spPr bwMode="auto">
              <a:xfrm>
                <a:off x="7391400" y="2982913"/>
                <a:ext cx="0" cy="476250"/>
              </a:xfrm>
              <a:prstGeom prst="straightConnector1">
                <a:avLst/>
              </a:prstGeom>
              <a:ln w="508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7440" name="TextBox 124"/>
              <p:cNvSpPr txBox="1">
                <a:spLocks noChangeArrowheads="1"/>
              </p:cNvSpPr>
              <p:nvPr/>
            </p:nvSpPr>
            <p:spPr bwMode="auto">
              <a:xfrm>
                <a:off x="7403883" y="2991950"/>
                <a:ext cx="161294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sz="1400" dirty="0">
                    <a:latin typeface="Times New Roman" panose="02020603050405020304" pitchFamily="18" charset="0"/>
                    <a:cs typeface="Times New Roman" panose="02020603050405020304" pitchFamily="18" charset="0"/>
                  </a:rPr>
                  <a:t>Facility O&amp;M costs</a:t>
                </a:r>
              </a:p>
            </p:txBody>
          </p:sp>
        </p:grpSp>
        <p:grpSp>
          <p:nvGrpSpPr>
            <p:cNvPr id="12" name="Group 11"/>
            <p:cNvGrpSpPr>
              <a:grpSpLocks/>
            </p:cNvGrpSpPr>
            <p:nvPr/>
          </p:nvGrpSpPr>
          <p:grpSpPr bwMode="auto">
            <a:xfrm>
              <a:off x="6833876" y="2322514"/>
              <a:ext cx="1181100" cy="1131887"/>
              <a:chOff x="6192838" y="2249488"/>
              <a:chExt cx="1181100" cy="1131887"/>
            </a:xfrm>
          </p:grpSpPr>
          <p:pic>
            <p:nvPicPr>
              <p:cNvPr id="17437" name="Picture 12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192838" y="2249488"/>
                <a:ext cx="988325" cy="664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6" name="Trapezoid 125"/>
              <p:cNvSpPr/>
              <p:nvPr/>
            </p:nvSpPr>
            <p:spPr bwMode="auto">
              <a:xfrm rot="514146" flipV="1">
                <a:off x="6899275" y="2933700"/>
                <a:ext cx="474663" cy="447675"/>
              </a:xfrm>
              <a:prstGeom prst="trapezoid">
                <a:avLst/>
              </a:prstGeom>
              <a:solidFill>
                <a:srgbClr val="00B0F0"/>
              </a:solidFill>
              <a:ln>
                <a:solidFill>
                  <a:srgbClr val="1982A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grpSp>
          <p:nvGrpSpPr>
            <p:cNvPr id="17420" name="Group 105"/>
            <p:cNvGrpSpPr>
              <a:grpSpLocks/>
            </p:cNvGrpSpPr>
            <p:nvPr/>
          </p:nvGrpSpPr>
          <p:grpSpPr bwMode="auto">
            <a:xfrm>
              <a:off x="6756088" y="1103314"/>
              <a:ext cx="1163638" cy="1355343"/>
              <a:chOff x="5780512" y="1035940"/>
              <a:chExt cx="1470503" cy="1710078"/>
            </a:xfrm>
          </p:grpSpPr>
          <p:sp>
            <p:nvSpPr>
              <p:cNvPr id="17432" name="TextBox 116"/>
              <p:cNvSpPr txBox="1">
                <a:spLocks noChangeArrowheads="1"/>
              </p:cNvSpPr>
              <p:nvPr/>
            </p:nvSpPr>
            <p:spPr bwMode="auto">
              <a:xfrm>
                <a:off x="5829472" y="2085855"/>
                <a:ext cx="1405616" cy="66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US" altLang="en-US" sz="1400" b="1" dirty="0">
                    <a:latin typeface="Times New Roman" panose="02020603050405020304" pitchFamily="18" charset="0"/>
                    <a:cs typeface="Times New Roman" panose="02020603050405020304" pitchFamily="18" charset="0"/>
                  </a:rPr>
                  <a:t>Availability </a:t>
                </a:r>
              </a:p>
              <a:p>
                <a:pPr algn="ctr"/>
                <a:r>
                  <a:rPr lang="en-US" altLang="en-US" sz="1400" b="1" dirty="0">
                    <a:latin typeface="Times New Roman" panose="02020603050405020304" pitchFamily="18" charset="0"/>
                    <a:cs typeface="Times New Roman" panose="02020603050405020304" pitchFamily="18" charset="0"/>
                  </a:rPr>
                  <a:t>Payments</a:t>
                </a:r>
              </a:p>
            </p:txBody>
          </p:sp>
          <p:grpSp>
            <p:nvGrpSpPr>
              <p:cNvPr id="17433" name="Group 117"/>
              <p:cNvGrpSpPr>
                <a:grpSpLocks/>
              </p:cNvGrpSpPr>
              <p:nvPr/>
            </p:nvGrpSpPr>
            <p:grpSpPr bwMode="auto">
              <a:xfrm>
                <a:off x="5780512" y="1035940"/>
                <a:ext cx="1470503" cy="738387"/>
                <a:chOff x="5047208" y="777673"/>
                <a:chExt cx="1470503" cy="738387"/>
              </a:xfrm>
            </p:grpSpPr>
            <p:sp>
              <p:nvSpPr>
                <p:cNvPr id="120" name="Rectangle 119"/>
                <p:cNvSpPr/>
                <p:nvPr/>
              </p:nvSpPr>
              <p:spPr>
                <a:xfrm>
                  <a:off x="5047208" y="793697"/>
                  <a:ext cx="1470503" cy="723081"/>
                </a:xfrm>
                <a:prstGeom prst="rect">
                  <a:avLst/>
                </a:prstGeom>
                <a:noFill/>
                <a:ln>
                  <a:solidFill>
                    <a:srgbClr val="1982AF"/>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1043056" rtl="0" eaLnBrk="1" latinLnBrk="0" hangingPunct="1">
                    <a:defRPr sz="2100" kern="1200">
                      <a:solidFill>
                        <a:schemeClr val="lt1"/>
                      </a:solidFill>
                      <a:latin typeface="+mn-lt"/>
                      <a:ea typeface="+mn-ea"/>
                      <a:cs typeface="+mn-cs"/>
                    </a:defRPr>
                  </a:lvl1pPr>
                  <a:lvl2pPr marL="521528" algn="l" defTabSz="1043056" rtl="0" eaLnBrk="1" latinLnBrk="0" hangingPunct="1">
                    <a:defRPr sz="2100" kern="1200">
                      <a:solidFill>
                        <a:schemeClr val="lt1"/>
                      </a:solidFill>
                      <a:latin typeface="+mn-lt"/>
                      <a:ea typeface="+mn-ea"/>
                      <a:cs typeface="+mn-cs"/>
                    </a:defRPr>
                  </a:lvl2pPr>
                  <a:lvl3pPr marL="1043056" algn="l" defTabSz="1043056" rtl="0" eaLnBrk="1" latinLnBrk="0" hangingPunct="1">
                    <a:defRPr sz="2100" kern="1200">
                      <a:solidFill>
                        <a:schemeClr val="lt1"/>
                      </a:solidFill>
                      <a:latin typeface="+mn-lt"/>
                      <a:ea typeface="+mn-ea"/>
                      <a:cs typeface="+mn-cs"/>
                    </a:defRPr>
                  </a:lvl3pPr>
                  <a:lvl4pPr marL="1564584" algn="l" defTabSz="1043056" rtl="0" eaLnBrk="1" latinLnBrk="0" hangingPunct="1">
                    <a:defRPr sz="2100" kern="1200">
                      <a:solidFill>
                        <a:schemeClr val="lt1"/>
                      </a:solidFill>
                      <a:latin typeface="+mn-lt"/>
                      <a:ea typeface="+mn-ea"/>
                      <a:cs typeface="+mn-cs"/>
                    </a:defRPr>
                  </a:lvl4pPr>
                  <a:lvl5pPr marL="2086112" algn="l" defTabSz="1043056" rtl="0" eaLnBrk="1" latinLnBrk="0" hangingPunct="1">
                    <a:defRPr sz="2100" kern="1200">
                      <a:solidFill>
                        <a:schemeClr val="lt1"/>
                      </a:solidFill>
                      <a:latin typeface="+mn-lt"/>
                      <a:ea typeface="+mn-ea"/>
                      <a:cs typeface="+mn-cs"/>
                    </a:defRPr>
                  </a:lvl5pPr>
                  <a:lvl6pPr marL="2607640" algn="l" defTabSz="1043056" rtl="0" eaLnBrk="1" latinLnBrk="0" hangingPunct="1">
                    <a:defRPr sz="2100" kern="1200">
                      <a:solidFill>
                        <a:schemeClr val="lt1"/>
                      </a:solidFill>
                      <a:latin typeface="+mn-lt"/>
                      <a:ea typeface="+mn-ea"/>
                      <a:cs typeface="+mn-cs"/>
                    </a:defRPr>
                  </a:lvl6pPr>
                  <a:lvl7pPr marL="3129168" algn="l" defTabSz="1043056" rtl="0" eaLnBrk="1" latinLnBrk="0" hangingPunct="1">
                    <a:defRPr sz="2100" kern="1200">
                      <a:solidFill>
                        <a:schemeClr val="lt1"/>
                      </a:solidFill>
                      <a:latin typeface="+mn-lt"/>
                      <a:ea typeface="+mn-ea"/>
                      <a:cs typeface="+mn-cs"/>
                    </a:defRPr>
                  </a:lvl7pPr>
                  <a:lvl8pPr marL="3650696" algn="l" defTabSz="1043056" rtl="0" eaLnBrk="1" latinLnBrk="0" hangingPunct="1">
                    <a:defRPr sz="2100" kern="1200">
                      <a:solidFill>
                        <a:schemeClr val="lt1"/>
                      </a:solidFill>
                      <a:latin typeface="+mn-lt"/>
                      <a:ea typeface="+mn-ea"/>
                      <a:cs typeface="+mn-cs"/>
                    </a:defRPr>
                  </a:lvl8pPr>
                  <a:lvl9pPr marL="4172224" algn="l" defTabSz="1043056" rtl="0" eaLnBrk="1" latinLnBrk="0" hangingPunct="1">
                    <a:defRPr sz="2100" kern="1200">
                      <a:solidFill>
                        <a:schemeClr val="lt1"/>
                      </a:solidFill>
                      <a:latin typeface="+mn-lt"/>
                      <a:ea typeface="+mn-ea"/>
                      <a:cs typeface="+mn-cs"/>
                    </a:defRPr>
                  </a:lvl9pPr>
                </a:lstStyle>
                <a:p>
                  <a:pPr algn="ctr">
                    <a:defRPr/>
                  </a:pPr>
                  <a:endParaRPr lang="es-MX">
                    <a:latin typeface="Times New Roman" panose="02020603050405020304" pitchFamily="18" charset="0"/>
                    <a:cs typeface="Times New Roman" panose="02020603050405020304" pitchFamily="18" charset="0"/>
                  </a:endParaRPr>
                </a:p>
              </p:txBody>
            </p:sp>
            <p:sp>
              <p:nvSpPr>
                <p:cNvPr id="17436" name="TextBox 37"/>
                <p:cNvSpPr txBox="1">
                  <a:spLocks noChangeArrowheads="1"/>
                </p:cNvSpPr>
                <p:nvPr/>
              </p:nvSpPr>
              <p:spPr bwMode="auto">
                <a:xfrm>
                  <a:off x="5047208" y="777673"/>
                  <a:ext cx="1470503" cy="7383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1042988">
                    <a:spcBef>
                      <a:spcPts val="300"/>
                    </a:spcBef>
                    <a:buClr>
                      <a:srgbClr val="1982AF"/>
                    </a:buClr>
                    <a:buFont typeface="Arial" panose="020B0604020202020204" pitchFamily="34" charset="0"/>
                    <a:defRPr sz="1000" b="1">
                      <a:solidFill>
                        <a:srgbClr val="1982AF"/>
                      </a:solidFill>
                      <a:latin typeface="Arial" panose="020B0604020202020204" pitchFamily="34" charset="0"/>
                      <a:ea typeface="ＭＳ Ｐゴシック" panose="020B0600070205080204" pitchFamily="34" charset="-128"/>
                      <a:cs typeface="Arial" panose="020B0604020202020204" pitchFamily="34" charset="0"/>
                    </a:defRPr>
                  </a:lvl1pPr>
                  <a:lvl2pPr marL="520700" indent="-142875" defTabSz="1042988">
                    <a:spcBef>
                      <a:spcPts val="300"/>
                    </a:spcBef>
                    <a:buClr>
                      <a:srgbClr val="1982AF"/>
                    </a:buClr>
                    <a:buSzPct val="130000"/>
                    <a:buFont typeface="Arial" panose="020B0604020202020204" pitchFamily="34" charset="0"/>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1042988" indent="-142875" defTabSz="1042988">
                    <a:spcBef>
                      <a:spcPts val="150"/>
                    </a:spcBef>
                    <a:buClr>
                      <a:srgbClr val="1982AF"/>
                    </a:buClr>
                    <a:buFont typeface="Arial" panose="020B0604020202020204" pitchFamily="34" charset="0"/>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1563688" indent="-142875" defTabSz="1042988">
                    <a:spcBef>
                      <a:spcPts val="150"/>
                    </a:spcBef>
                    <a:buClr>
                      <a:srgbClr val="1982AF"/>
                    </a:buClr>
                    <a:buSzPct val="130000"/>
                    <a:buFont typeface="Arial" panose="020B0604020202020204" pitchFamily="34" charset="0"/>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2085975" indent="-142875" defTabSz="1042988">
                    <a:spcBef>
                      <a:spcPts val="150"/>
                    </a:spcBef>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2543175" indent="-142875" defTabSz="1042988"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3000375" indent="-142875" defTabSz="1042988"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3457575" indent="-142875" defTabSz="1042988"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3914775" indent="-142875" defTabSz="1042988"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algn="ctr" eaLnBrk="1" hangingPunct="1">
                    <a:spcBef>
                      <a:spcPct val="0"/>
                    </a:spcBef>
                    <a:buClrTx/>
                    <a:buFontTx/>
                    <a:buNone/>
                  </a:pPr>
                  <a:r>
                    <a:rPr lang="en-US" altLang="en-US" sz="1600" dirty="0">
                      <a:solidFill>
                        <a:schemeClr val="tx1"/>
                      </a:solidFill>
                      <a:latin typeface="Times New Roman" panose="02020603050405020304" pitchFamily="18" charset="0"/>
                      <a:cs typeface="Times New Roman" panose="02020603050405020304" pitchFamily="18" charset="0"/>
                    </a:rPr>
                    <a:t>General Fund</a:t>
                  </a:r>
                </a:p>
              </p:txBody>
            </p:sp>
          </p:grpSp>
          <p:cxnSp>
            <p:nvCxnSpPr>
              <p:cNvPr id="119" name="Straight Arrow Connector 118"/>
              <p:cNvCxnSpPr>
                <a:endCxn id="120" idx="2"/>
              </p:cNvCxnSpPr>
              <p:nvPr/>
            </p:nvCxnSpPr>
            <p:spPr>
              <a:xfrm flipV="1">
                <a:off x="6516767" y="1775046"/>
                <a:ext cx="0" cy="376564"/>
              </a:xfrm>
              <a:prstGeom prst="straightConnector1">
                <a:avLst/>
              </a:prstGeom>
              <a:ln w="28575">
                <a:solidFill>
                  <a:srgbClr val="1982AF"/>
                </a:solidFill>
                <a:headEnd type="triangle"/>
                <a:tailEnd type="none"/>
              </a:ln>
            </p:spPr>
            <p:style>
              <a:lnRef idx="1">
                <a:schemeClr val="accent2"/>
              </a:lnRef>
              <a:fillRef idx="0">
                <a:schemeClr val="accent2"/>
              </a:fillRef>
              <a:effectRef idx="0">
                <a:schemeClr val="accent2"/>
              </a:effectRef>
              <a:fontRef idx="minor">
                <a:schemeClr val="tx1"/>
              </a:fontRef>
            </p:style>
          </p:cxnSp>
        </p:grpSp>
      </p:grpSp>
      <p:cxnSp>
        <p:nvCxnSpPr>
          <p:cNvPr id="51" name="Straight Arrow Connector 50"/>
          <p:cNvCxnSpPr/>
          <p:nvPr/>
        </p:nvCxnSpPr>
        <p:spPr bwMode="auto">
          <a:xfrm flipH="1" flipV="1">
            <a:off x="6066771" y="833911"/>
            <a:ext cx="0" cy="5273675"/>
          </a:xfrm>
          <a:prstGeom prst="straightConnector1">
            <a:avLst/>
          </a:prstGeom>
          <a:ln w="28575">
            <a:solidFill>
              <a:srgbClr val="1982AF"/>
            </a:solidFill>
            <a:prstDash val="sysDot"/>
            <a:headEnd type="none"/>
            <a:tailEnd type="none"/>
          </a:ln>
        </p:spPr>
        <p:style>
          <a:lnRef idx="1">
            <a:schemeClr val="accent2"/>
          </a:lnRef>
          <a:fillRef idx="0">
            <a:schemeClr val="accent2"/>
          </a:fillRef>
          <a:effectRef idx="0">
            <a:schemeClr val="accent2"/>
          </a:effectRef>
          <a:fontRef idx="minor">
            <a:schemeClr val="tx1"/>
          </a:fontRef>
        </p:style>
      </p:cxnSp>
      <p:sp>
        <p:nvSpPr>
          <p:cNvPr id="37" name="Title 1"/>
          <p:cNvSpPr txBox="1">
            <a:spLocks/>
          </p:cNvSpPr>
          <p:nvPr/>
        </p:nvSpPr>
        <p:spPr bwMode="auto">
          <a:xfrm>
            <a:off x="360036" y="641222"/>
            <a:ext cx="8924234" cy="581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noAutofit/>
          </a:bodyPr>
          <a:lstStyle>
            <a:lvl1pPr algn="l" rtl="0" eaLnBrk="0" fontAlgn="base" hangingPunct="0">
              <a:lnSpc>
                <a:spcPts val="2550"/>
              </a:lnSpc>
              <a:spcBef>
                <a:spcPts val="0"/>
              </a:spcBef>
              <a:spcAft>
                <a:spcPct val="0"/>
              </a:spcAft>
              <a:defRPr lang="en-US" sz="2400">
                <a:solidFill>
                  <a:schemeClr val="accent2"/>
                </a:solidFill>
                <a:latin typeface="Times New Roman"/>
                <a:ea typeface="ＭＳ Ｐゴシック" panose="020B0600070205080204" pitchFamily="34" charset="-128"/>
                <a:cs typeface="Times New Roman"/>
              </a:defRPr>
            </a:lvl1pPr>
            <a:lvl2pPr algn="l" rtl="0" eaLnBrk="0" fontAlgn="base" hangingPunct="0">
              <a:spcBef>
                <a:spcPct val="0"/>
              </a:spcBef>
              <a:spcAft>
                <a:spcPct val="0"/>
              </a:spcAft>
              <a:defRPr sz="2400">
                <a:solidFill>
                  <a:srgbClr val="1982AF"/>
                </a:solidFill>
                <a:latin typeface="Times New Roman" pitchFamily="-105" charset="0"/>
                <a:ea typeface="ＭＳ Ｐゴシック" panose="020B0600070205080204" pitchFamily="34" charset="-128"/>
                <a:cs typeface="ＭＳ Ｐゴシック" pitchFamily="-65" charset="-128"/>
              </a:defRPr>
            </a:lvl2pPr>
            <a:lvl3pPr algn="l" rtl="0" eaLnBrk="0" fontAlgn="base" hangingPunct="0">
              <a:spcBef>
                <a:spcPct val="0"/>
              </a:spcBef>
              <a:spcAft>
                <a:spcPct val="0"/>
              </a:spcAft>
              <a:defRPr sz="2400">
                <a:solidFill>
                  <a:srgbClr val="1982AF"/>
                </a:solidFill>
                <a:latin typeface="Times New Roman" pitchFamily="-105" charset="0"/>
                <a:ea typeface="ＭＳ Ｐゴシック" panose="020B0600070205080204" pitchFamily="34" charset="-128"/>
                <a:cs typeface="ＭＳ Ｐゴシック" pitchFamily="-65" charset="-128"/>
              </a:defRPr>
            </a:lvl3pPr>
            <a:lvl4pPr algn="l" rtl="0" eaLnBrk="0" fontAlgn="base" hangingPunct="0">
              <a:spcBef>
                <a:spcPct val="0"/>
              </a:spcBef>
              <a:spcAft>
                <a:spcPct val="0"/>
              </a:spcAft>
              <a:defRPr sz="2400">
                <a:solidFill>
                  <a:srgbClr val="1982AF"/>
                </a:solidFill>
                <a:latin typeface="Times New Roman" pitchFamily="-105" charset="0"/>
                <a:ea typeface="ＭＳ Ｐゴシック" panose="020B0600070205080204" pitchFamily="34" charset="-128"/>
                <a:cs typeface="ＭＳ Ｐゴシック" pitchFamily="-65" charset="-128"/>
              </a:defRPr>
            </a:lvl4pPr>
            <a:lvl5pPr algn="l" rtl="0" eaLnBrk="0" fontAlgn="base" hangingPunct="0">
              <a:spcBef>
                <a:spcPct val="0"/>
              </a:spcBef>
              <a:spcAft>
                <a:spcPct val="0"/>
              </a:spcAft>
              <a:defRPr sz="2400">
                <a:solidFill>
                  <a:srgbClr val="1982AF"/>
                </a:solidFill>
                <a:latin typeface="Times New Roman" pitchFamily="-105" charset="0"/>
                <a:ea typeface="ＭＳ Ｐゴシック" panose="020B0600070205080204" pitchFamily="34" charset="-128"/>
                <a:cs typeface="ＭＳ Ｐゴシック" pitchFamily="-65" charset="-128"/>
              </a:defRPr>
            </a:lvl5pPr>
            <a:lvl6pPr marL="389615" algn="l" rtl="0" eaLnBrk="1" fontAlgn="base" hangingPunct="1">
              <a:spcBef>
                <a:spcPct val="0"/>
              </a:spcBef>
              <a:spcAft>
                <a:spcPct val="0"/>
              </a:spcAft>
              <a:defRPr sz="2700" b="1">
                <a:solidFill>
                  <a:schemeClr val="tx2"/>
                </a:solidFill>
                <a:latin typeface="Times New Roman" pitchFamily="-105" charset="0"/>
              </a:defRPr>
            </a:lvl6pPr>
            <a:lvl7pPr marL="779230" algn="l" rtl="0" eaLnBrk="1" fontAlgn="base" hangingPunct="1">
              <a:spcBef>
                <a:spcPct val="0"/>
              </a:spcBef>
              <a:spcAft>
                <a:spcPct val="0"/>
              </a:spcAft>
              <a:defRPr sz="2700" b="1">
                <a:solidFill>
                  <a:schemeClr val="tx2"/>
                </a:solidFill>
                <a:latin typeface="Times New Roman" pitchFamily="-105" charset="0"/>
              </a:defRPr>
            </a:lvl7pPr>
            <a:lvl8pPr marL="1168845" algn="l" rtl="0" eaLnBrk="1" fontAlgn="base" hangingPunct="1">
              <a:spcBef>
                <a:spcPct val="0"/>
              </a:spcBef>
              <a:spcAft>
                <a:spcPct val="0"/>
              </a:spcAft>
              <a:defRPr sz="2700" b="1">
                <a:solidFill>
                  <a:schemeClr val="tx2"/>
                </a:solidFill>
                <a:latin typeface="Times New Roman" pitchFamily="-105" charset="0"/>
              </a:defRPr>
            </a:lvl8pPr>
            <a:lvl9pPr marL="1558459" algn="l" rtl="0" eaLnBrk="1" fontAlgn="base" hangingPunct="1">
              <a:spcBef>
                <a:spcPct val="0"/>
              </a:spcBef>
              <a:spcAft>
                <a:spcPct val="0"/>
              </a:spcAft>
              <a:defRPr sz="2700" b="1">
                <a:solidFill>
                  <a:schemeClr val="tx2"/>
                </a:solidFill>
                <a:latin typeface="Times New Roman" pitchFamily="-105" charset="0"/>
              </a:defRPr>
            </a:lvl9pPr>
          </a:lstStyle>
          <a:p>
            <a:r>
              <a:rPr lang="en-US" sz="2000" kern="0" dirty="0" smtClean="0">
                <a:solidFill>
                  <a:schemeClr val="accent2">
                    <a:lumMod val="75000"/>
                  </a:schemeClr>
                </a:solidFill>
              </a:rPr>
              <a:t>Availability Payments</a:t>
            </a:r>
            <a:endParaRPr lang="en-US" sz="2000" kern="0" dirty="0">
              <a:solidFill>
                <a:schemeClr val="accent2">
                  <a:lumMod val="75000"/>
                </a:schemeClr>
              </a:solidFill>
            </a:endParaRPr>
          </a:p>
        </p:txBody>
      </p:sp>
      <p:sp>
        <p:nvSpPr>
          <p:cNvPr id="38" name="Title 1"/>
          <p:cNvSpPr txBox="1">
            <a:spLocks/>
          </p:cNvSpPr>
          <p:nvPr/>
        </p:nvSpPr>
        <p:spPr bwMode="auto">
          <a:xfrm>
            <a:off x="360036" y="160338"/>
            <a:ext cx="7540952"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719138">
              <a:spcBef>
                <a:spcPts val="300"/>
              </a:spcBef>
              <a:buClr>
                <a:srgbClr val="1982AF"/>
              </a:buClr>
              <a:buFont typeface="Arial" panose="020B0604020202020204" pitchFamily="34" charset="0"/>
              <a:defRPr sz="1000" b="1">
                <a:solidFill>
                  <a:srgbClr val="1982AF"/>
                </a:solidFill>
                <a:latin typeface="Arial" panose="020B0604020202020204" pitchFamily="34" charset="0"/>
                <a:ea typeface="ＭＳ Ｐゴシック" panose="020B0600070205080204" pitchFamily="34" charset="-128"/>
                <a:cs typeface="Arial" panose="020B0604020202020204" pitchFamily="34" charset="0"/>
              </a:defRPr>
            </a:lvl1pPr>
            <a:lvl2pPr marL="142875" indent="-142875" defTabSz="719138">
              <a:spcBef>
                <a:spcPts val="300"/>
              </a:spcBef>
              <a:buClr>
                <a:srgbClr val="1982AF"/>
              </a:buClr>
              <a:buSzPct val="130000"/>
              <a:buFont typeface="Arial" panose="020B0604020202020204" pitchFamily="34" charset="0"/>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2pPr>
            <a:lvl3pPr marL="287338" indent="-142875" defTabSz="719138">
              <a:spcBef>
                <a:spcPts val="150"/>
              </a:spcBef>
              <a:buClr>
                <a:srgbClr val="1982AF"/>
              </a:buClr>
              <a:buFont typeface="Arial" panose="020B0604020202020204" pitchFamily="34" charset="0"/>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3pPr>
            <a:lvl4pPr marL="431800" indent="-142875">
              <a:spcBef>
                <a:spcPts val="150"/>
              </a:spcBef>
              <a:buClr>
                <a:srgbClr val="1982AF"/>
              </a:buClr>
              <a:buSzPct val="130000"/>
              <a:buFont typeface="Arial" panose="020B0604020202020204" pitchFamily="34" charset="0"/>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4pPr>
            <a:lvl5pPr marL="574675" indent="-142875">
              <a:spcBef>
                <a:spcPts val="150"/>
              </a:spcBef>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5pPr>
            <a:lvl6pPr marL="1031875" indent="-142875"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6pPr>
            <a:lvl7pPr marL="1489075" indent="-142875"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7pPr>
            <a:lvl8pPr marL="1946275" indent="-142875"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8pPr>
            <a:lvl9pPr marL="2403475" indent="-142875" eaLnBrk="0" fontAlgn="base" hangingPunct="0">
              <a:spcBef>
                <a:spcPts val="150"/>
              </a:spcBef>
              <a:spcAft>
                <a:spcPct val="0"/>
              </a:spcAft>
              <a:buClr>
                <a:srgbClr val="1982AF"/>
              </a:buClr>
              <a:buFont typeface="Lucida Grande"/>
              <a:buChar char="-"/>
              <a:defRPr sz="1000">
                <a:solidFill>
                  <a:schemeClr val="tx1"/>
                </a:solidFill>
                <a:latin typeface="Arial" panose="020B0604020202020204" pitchFamily="34" charset="0"/>
                <a:ea typeface="ＭＳ Ｐゴシック" panose="020B0600070205080204" pitchFamily="34" charset="-128"/>
                <a:cs typeface="Arial" panose="020B0604020202020204" pitchFamily="34" charset="0"/>
              </a:defRPr>
            </a:lvl9pPr>
          </a:lstStyle>
          <a:p>
            <a:pPr>
              <a:spcBef>
                <a:spcPct val="0"/>
              </a:spcBef>
              <a:buClrTx/>
              <a:buFontTx/>
              <a:buNone/>
            </a:pPr>
            <a:r>
              <a:rPr lang="en-US" sz="2400" b="0" kern="0" dirty="0" smtClean="0">
                <a:solidFill>
                  <a:schemeClr val="tx1"/>
                </a:solidFill>
                <a:latin typeface="+mn-lt"/>
              </a:rPr>
              <a:t>Risk Valuation</a:t>
            </a:r>
            <a:endParaRPr lang="en-US" altLang="en-US" sz="2400" b="0" dirty="0">
              <a:solidFill>
                <a:schemeClr val="tx1"/>
              </a:solidFill>
              <a:latin typeface="+mn-lt"/>
              <a:cs typeface="Times New Roman" panose="02020603050405020304" pitchFamily="18" charset="0"/>
            </a:endParaRPr>
          </a:p>
        </p:txBody>
      </p:sp>
    </p:spTree>
    <p:extLst>
      <p:ext uri="{BB962C8B-B14F-4D97-AF65-F5344CB8AC3E}">
        <p14:creationId xmlns:p14="http://schemas.microsoft.com/office/powerpoint/2010/main" val="3782452965"/>
      </p:ext>
    </p:extLst>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a:srcRect l="171" t="16397" r="-1"/>
          <a:stretch/>
        </p:blipFill>
        <p:spPr>
          <a:xfrm>
            <a:off x="340241" y="1850065"/>
            <a:ext cx="11111024" cy="3540642"/>
          </a:xfrm>
          <a:prstGeom prst="rect">
            <a:avLst/>
          </a:prstGeom>
        </p:spPr>
      </p:pic>
      <p:sp>
        <p:nvSpPr>
          <p:cNvPr id="2" name="Title 1"/>
          <p:cNvSpPr>
            <a:spLocks noGrp="1"/>
          </p:cNvSpPr>
          <p:nvPr>
            <p:ph type="title"/>
          </p:nvPr>
        </p:nvSpPr>
        <p:spPr/>
        <p:txBody>
          <a:bodyPr/>
          <a:lstStyle/>
          <a:p>
            <a:r>
              <a:rPr lang="en-US" dirty="0" smtClean="0"/>
              <a:t>Risk Valuation</a:t>
            </a:r>
            <a:endParaRPr lang="en-US" dirty="0"/>
          </a:p>
        </p:txBody>
      </p:sp>
      <p:cxnSp>
        <p:nvCxnSpPr>
          <p:cNvPr id="27" name="Straight Arrow Connector 26"/>
          <p:cNvCxnSpPr/>
          <p:nvPr/>
        </p:nvCxnSpPr>
        <p:spPr>
          <a:xfrm>
            <a:off x="883227" y="5985164"/>
            <a:ext cx="10287000" cy="3117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8" name="TextBox 27"/>
          <p:cNvSpPr txBox="1"/>
          <p:nvPr/>
        </p:nvSpPr>
        <p:spPr>
          <a:xfrm>
            <a:off x="2966484" y="5812097"/>
            <a:ext cx="765544" cy="369332"/>
          </a:xfrm>
          <a:prstGeom prst="rect">
            <a:avLst/>
          </a:prstGeom>
          <a:solidFill>
            <a:schemeClr val="bg1"/>
          </a:solidFill>
        </p:spPr>
        <p:txBody>
          <a:bodyPr wrap="square" rtlCol="0">
            <a:spAutoFit/>
          </a:bodyPr>
          <a:lstStyle/>
          <a:p>
            <a:pPr algn="ctr"/>
            <a:r>
              <a:rPr lang="en-US" dirty="0"/>
              <a:t>Time</a:t>
            </a:r>
          </a:p>
        </p:txBody>
      </p:sp>
      <p:cxnSp>
        <p:nvCxnSpPr>
          <p:cNvPr id="49" name="Straight Arrow Connector 48"/>
          <p:cNvCxnSpPr/>
          <p:nvPr/>
        </p:nvCxnSpPr>
        <p:spPr>
          <a:xfrm>
            <a:off x="875495" y="1320276"/>
            <a:ext cx="10444820"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54" name="TextBox 53"/>
          <p:cNvSpPr txBox="1"/>
          <p:nvPr/>
        </p:nvSpPr>
        <p:spPr>
          <a:xfrm>
            <a:off x="2465694" y="2412022"/>
            <a:ext cx="883562" cy="369332"/>
          </a:xfrm>
          <a:prstGeom prst="rect">
            <a:avLst/>
          </a:prstGeom>
          <a:noFill/>
        </p:spPr>
        <p:txBody>
          <a:bodyPr wrap="square" rtlCol="0">
            <a:spAutoFit/>
          </a:bodyPr>
          <a:lstStyle/>
          <a:p>
            <a:r>
              <a:rPr lang="en-US" dirty="0" err="1"/>
              <a:t>CapEx</a:t>
            </a:r>
            <a:endParaRPr lang="en-US" dirty="0"/>
          </a:p>
        </p:txBody>
      </p:sp>
      <p:cxnSp>
        <p:nvCxnSpPr>
          <p:cNvPr id="15" name="Straight Arrow Connector 14"/>
          <p:cNvCxnSpPr/>
          <p:nvPr/>
        </p:nvCxnSpPr>
        <p:spPr>
          <a:xfrm flipH="1" flipV="1">
            <a:off x="7417177" y="3415805"/>
            <a:ext cx="900346" cy="581059"/>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7" name="TextBox 16"/>
          <p:cNvSpPr txBox="1"/>
          <p:nvPr/>
        </p:nvSpPr>
        <p:spPr>
          <a:xfrm>
            <a:off x="8169443" y="3724289"/>
            <a:ext cx="3429902" cy="646331"/>
          </a:xfrm>
          <a:prstGeom prst="rect">
            <a:avLst/>
          </a:prstGeom>
          <a:noFill/>
        </p:spPr>
        <p:txBody>
          <a:bodyPr wrap="square" rtlCol="0">
            <a:spAutoFit/>
          </a:bodyPr>
          <a:lstStyle/>
          <a:p>
            <a:pPr algn="ctr"/>
            <a:r>
              <a:rPr lang="en-US" dirty="0" smtClean="0"/>
              <a:t> Operations and Maintenance</a:t>
            </a:r>
          </a:p>
          <a:p>
            <a:pPr algn="ctr"/>
            <a:r>
              <a:rPr lang="en-US" dirty="0" err="1" smtClean="0"/>
              <a:t>OpEx</a:t>
            </a:r>
            <a:r>
              <a:rPr lang="en-US" dirty="0" smtClean="0"/>
              <a:t> </a:t>
            </a:r>
            <a:r>
              <a:rPr lang="en-US" dirty="0"/>
              <a:t>Cost </a:t>
            </a:r>
            <a:r>
              <a:rPr lang="en-US" dirty="0" smtClean="0"/>
              <a:t>Increases</a:t>
            </a:r>
            <a:endParaRPr lang="en-US" dirty="0"/>
          </a:p>
        </p:txBody>
      </p:sp>
      <p:cxnSp>
        <p:nvCxnSpPr>
          <p:cNvPr id="18" name="Straight Arrow Connector 17"/>
          <p:cNvCxnSpPr/>
          <p:nvPr/>
        </p:nvCxnSpPr>
        <p:spPr>
          <a:xfrm flipH="1">
            <a:off x="7325833" y="1746511"/>
            <a:ext cx="991691" cy="62491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0" name="TextBox 19"/>
          <p:cNvSpPr txBox="1"/>
          <p:nvPr/>
        </p:nvSpPr>
        <p:spPr>
          <a:xfrm>
            <a:off x="8223794" y="1465836"/>
            <a:ext cx="3429902" cy="646331"/>
          </a:xfrm>
          <a:prstGeom prst="rect">
            <a:avLst/>
          </a:prstGeom>
          <a:noFill/>
        </p:spPr>
        <p:txBody>
          <a:bodyPr wrap="square" rtlCol="0">
            <a:spAutoFit/>
          </a:bodyPr>
          <a:lstStyle/>
          <a:p>
            <a:pPr algn="ctr"/>
            <a:r>
              <a:rPr lang="en-US" dirty="0" smtClean="0"/>
              <a:t>Payment Deductions </a:t>
            </a:r>
            <a:r>
              <a:rPr lang="en-US" dirty="0"/>
              <a:t>from noncompliance with KPIs</a:t>
            </a:r>
          </a:p>
        </p:txBody>
      </p:sp>
      <p:sp>
        <p:nvSpPr>
          <p:cNvPr id="16" name="Text Placeholder 4"/>
          <p:cNvSpPr>
            <a:spLocks noGrp="1"/>
          </p:cNvSpPr>
          <p:nvPr>
            <p:ph type="body" sz="quarter" idx="12"/>
          </p:nvPr>
        </p:nvSpPr>
        <p:spPr>
          <a:xfrm>
            <a:off x="322385" y="642939"/>
            <a:ext cx="11580446" cy="492125"/>
          </a:xfrm>
        </p:spPr>
        <p:txBody>
          <a:bodyPr/>
          <a:lstStyle/>
          <a:p>
            <a:r>
              <a:rPr lang="en-US" dirty="0" smtClean="0"/>
              <a:t>O&amp;M Cost Increases</a:t>
            </a:r>
            <a:endParaRPr lang="en-US" dirty="0"/>
          </a:p>
        </p:txBody>
      </p:sp>
      <p:sp>
        <p:nvSpPr>
          <p:cNvPr id="19" name="TextBox 18"/>
          <p:cNvSpPr txBox="1"/>
          <p:nvPr/>
        </p:nvSpPr>
        <p:spPr>
          <a:xfrm>
            <a:off x="952581" y="910417"/>
            <a:ext cx="4027806" cy="369332"/>
          </a:xfrm>
          <a:prstGeom prst="rect">
            <a:avLst/>
          </a:prstGeom>
          <a:noFill/>
        </p:spPr>
        <p:txBody>
          <a:bodyPr wrap="square" rtlCol="0">
            <a:spAutoFit/>
          </a:bodyPr>
          <a:lstStyle/>
          <a:p>
            <a:pPr algn="ctr"/>
            <a:r>
              <a:rPr lang="en-US" dirty="0"/>
              <a:t>Construction</a:t>
            </a:r>
          </a:p>
        </p:txBody>
      </p:sp>
      <p:sp>
        <p:nvSpPr>
          <p:cNvPr id="21" name="TextBox 20"/>
          <p:cNvSpPr txBox="1"/>
          <p:nvPr/>
        </p:nvSpPr>
        <p:spPr>
          <a:xfrm>
            <a:off x="5277362" y="897895"/>
            <a:ext cx="5892864" cy="369332"/>
          </a:xfrm>
          <a:prstGeom prst="rect">
            <a:avLst/>
          </a:prstGeom>
          <a:noFill/>
        </p:spPr>
        <p:txBody>
          <a:bodyPr wrap="square" rtlCol="0">
            <a:spAutoFit/>
          </a:bodyPr>
          <a:lstStyle/>
          <a:p>
            <a:pPr algn="ctr"/>
            <a:r>
              <a:rPr lang="en-US" dirty="0"/>
              <a:t>Operations and Hand-back</a:t>
            </a:r>
          </a:p>
        </p:txBody>
      </p:sp>
    </p:spTree>
    <p:extLst>
      <p:ext uri="{BB962C8B-B14F-4D97-AF65-F5344CB8AC3E}">
        <p14:creationId xmlns:p14="http://schemas.microsoft.com/office/powerpoint/2010/main" val="1847933872"/>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Management Framework</a:t>
            </a:r>
            <a:endParaRPr lang="en-US" dirty="0"/>
          </a:p>
        </p:txBody>
      </p:sp>
      <p:sp>
        <p:nvSpPr>
          <p:cNvPr id="6" name="Text Placeholder 5"/>
          <p:cNvSpPr>
            <a:spLocks noGrp="1"/>
          </p:cNvSpPr>
          <p:nvPr>
            <p:ph type="body" sz="quarter" idx="12"/>
          </p:nvPr>
        </p:nvSpPr>
        <p:spPr/>
        <p:txBody>
          <a:bodyPr/>
          <a:lstStyle/>
          <a:p>
            <a:r>
              <a:rPr lang="en-US" dirty="0" smtClean="0"/>
              <a:t>Risk Quantification</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688491369"/>
              </p:ext>
            </p:extLst>
          </p:nvPr>
        </p:nvGraphicFramePr>
        <p:xfrm>
          <a:off x="2470246" y="1367808"/>
          <a:ext cx="7260608" cy="4521201"/>
        </p:xfrm>
        <a:graphic>
          <a:graphicData uri="http://schemas.openxmlformats.org/drawingml/2006/table">
            <a:tbl>
              <a:tblPr firstRow="1" firstCol="1" bandRow="1">
                <a:tableStyleId>{5C22544A-7EE6-4342-B048-85BDC9FD1C3A}</a:tableStyleId>
              </a:tblPr>
              <a:tblGrid>
                <a:gridCol w="972069"/>
                <a:gridCol w="1195100"/>
                <a:gridCol w="1346167"/>
                <a:gridCol w="1374784"/>
                <a:gridCol w="1274434"/>
                <a:gridCol w="1098054"/>
              </a:tblGrid>
              <a:tr h="935659">
                <a:tc>
                  <a:txBody>
                    <a:bodyPr/>
                    <a:lstStyle/>
                    <a:p>
                      <a:pPr marL="0" marR="0">
                        <a:lnSpc>
                          <a:spcPts val="1000"/>
                        </a:lnSpc>
                        <a:spcBef>
                          <a:spcPts val="285"/>
                        </a:spcBef>
                        <a:spcAft>
                          <a:spcPts val="285"/>
                        </a:spcAft>
                      </a:pP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75000"/>
                      </a:schemeClr>
                    </a:solidFill>
                  </a:tcPr>
                </a:tc>
                <a:tc>
                  <a:txBody>
                    <a:bodyPr/>
                    <a:lstStyle/>
                    <a:p>
                      <a:pPr marL="0" marR="0">
                        <a:lnSpc>
                          <a:spcPts val="1000"/>
                        </a:lnSpc>
                        <a:spcBef>
                          <a:spcPts val="285"/>
                        </a:spcBef>
                        <a:spcAft>
                          <a:spcPts val="285"/>
                        </a:spcAft>
                      </a:pP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75000"/>
                      </a:schemeClr>
                    </a:solidFill>
                  </a:tcPr>
                </a:tc>
                <a:tc gridSpan="4">
                  <a:txBody>
                    <a:bodyPr/>
                    <a:lstStyle/>
                    <a:p>
                      <a:pPr marL="0" marR="0" indent="0" algn="ctr" defTabSz="1197317" rtl="0" eaLnBrk="1" fontAlgn="auto" latinLnBrk="0" hangingPunct="1">
                        <a:lnSpc>
                          <a:spcPts val="1000"/>
                        </a:lnSpc>
                        <a:spcBef>
                          <a:spcPts val="285"/>
                        </a:spcBef>
                        <a:spcAft>
                          <a:spcPts val="285"/>
                        </a:spcAft>
                        <a:buClrTx/>
                        <a:buSzTx/>
                        <a:buFontTx/>
                        <a:buNone/>
                        <a:tabLst/>
                        <a:defRPr/>
                      </a:pPr>
                      <a:r>
                        <a:rPr lang="en-US" sz="1800" dirty="0" smtClean="0">
                          <a:effectLst/>
                        </a:rPr>
                        <a:t>Route</a:t>
                      </a:r>
                      <a:r>
                        <a:rPr lang="en-US" sz="1400" dirty="0" smtClean="0">
                          <a:effectLst/>
                        </a:rPr>
                        <a:t> </a:t>
                      </a:r>
                      <a:r>
                        <a:rPr lang="en-US" sz="1800" dirty="0" smtClean="0">
                          <a:effectLst/>
                        </a:rPr>
                        <a:t>Criticality (Step 1)</a:t>
                      </a:r>
                      <a:endParaRPr lang="en-US" sz="1800" dirty="0" smtClean="0">
                        <a:effectLst/>
                        <a:latin typeface="Times New Roman" panose="02020603050405020304" pitchFamily="18" charset="0"/>
                        <a:ea typeface="SimSun" panose="02010600030101010101" pitchFamily="2" charset="-122"/>
                      </a:endParaRPr>
                    </a:p>
                  </a:txBody>
                  <a:tcPr marL="73025" marR="73025" marT="0" marB="0" anchor="ctr">
                    <a:solidFill>
                      <a:schemeClr val="accent2">
                        <a:lumMod val="50000"/>
                      </a:schemeClr>
                    </a:solidFill>
                  </a:tcPr>
                </a:tc>
                <a:tc hMerge="1">
                  <a:txBody>
                    <a:bodyPr/>
                    <a:lstStyle/>
                    <a:p>
                      <a:pPr marL="0" marR="0">
                        <a:lnSpc>
                          <a:spcPts val="1000"/>
                        </a:lnSpc>
                        <a:spcBef>
                          <a:spcPts val="285"/>
                        </a:spcBef>
                        <a:spcAft>
                          <a:spcPts val="285"/>
                        </a:spcAft>
                      </a:pPr>
                      <a:endParaRPr lang="en-US" sz="1000" dirty="0">
                        <a:effectLst/>
                        <a:latin typeface="Times New Roman" panose="02020603050405020304" pitchFamily="18" charset="0"/>
                        <a:ea typeface="SimSun" panose="02010600030101010101" pitchFamily="2" charset="-122"/>
                      </a:endParaRPr>
                    </a:p>
                  </a:txBody>
                  <a:tcPr marL="73025" marR="73025" marT="0" marB="0"/>
                </a:tc>
                <a:tc hMerge="1">
                  <a:txBody>
                    <a:bodyPr/>
                    <a:lstStyle/>
                    <a:p>
                      <a:pPr marL="0" marR="0">
                        <a:lnSpc>
                          <a:spcPts val="1000"/>
                        </a:lnSpc>
                        <a:spcBef>
                          <a:spcPts val="285"/>
                        </a:spcBef>
                        <a:spcAft>
                          <a:spcPts val="285"/>
                        </a:spcAft>
                      </a:pPr>
                      <a:endParaRPr lang="en-US" sz="1000" dirty="0">
                        <a:effectLst/>
                        <a:latin typeface="Times New Roman" panose="02020603050405020304" pitchFamily="18" charset="0"/>
                        <a:ea typeface="SimSun" panose="02010600030101010101" pitchFamily="2" charset="-122"/>
                      </a:endParaRPr>
                    </a:p>
                  </a:txBody>
                  <a:tcPr marL="73025" marR="73025" marT="0" marB="0"/>
                </a:tc>
                <a:tc hMerge="1">
                  <a:txBody>
                    <a:bodyPr/>
                    <a:lstStyle/>
                    <a:p>
                      <a:pPr marL="0" marR="0">
                        <a:lnSpc>
                          <a:spcPts val="1000"/>
                        </a:lnSpc>
                        <a:spcBef>
                          <a:spcPts val="285"/>
                        </a:spcBef>
                        <a:spcAft>
                          <a:spcPts val="285"/>
                        </a:spcAft>
                      </a:pPr>
                      <a:endParaRPr lang="en-US" sz="1000" dirty="0">
                        <a:effectLst/>
                        <a:latin typeface="Times New Roman" panose="02020603050405020304" pitchFamily="18" charset="0"/>
                        <a:ea typeface="SimSun" panose="02010600030101010101" pitchFamily="2" charset="-122"/>
                      </a:endParaRPr>
                    </a:p>
                  </a:txBody>
                  <a:tcPr marL="73025" marR="73025" marT="0" marB="0"/>
                </a:tc>
              </a:tr>
              <a:tr h="935659">
                <a:tc>
                  <a:txBody>
                    <a:bodyPr/>
                    <a:lstStyle/>
                    <a:p>
                      <a:pPr marL="0" marR="0">
                        <a:lnSpc>
                          <a:spcPts val="1000"/>
                        </a:lnSpc>
                        <a:spcBef>
                          <a:spcPts val="285"/>
                        </a:spcBef>
                        <a:spcAft>
                          <a:spcPts val="285"/>
                        </a:spcAft>
                      </a:pP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75000"/>
                      </a:schemeClr>
                    </a:solidFill>
                  </a:tcPr>
                </a:tc>
                <a:tc>
                  <a:txBody>
                    <a:bodyPr/>
                    <a:lstStyle/>
                    <a:p>
                      <a:pPr marL="0" marR="0" algn="ctr">
                        <a:lnSpc>
                          <a:spcPct val="150000"/>
                        </a:lnSpc>
                        <a:spcBef>
                          <a:spcPts val="285"/>
                        </a:spcBef>
                        <a:spcAft>
                          <a:spcPts val="285"/>
                        </a:spcAft>
                      </a:pP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75000"/>
                      </a:schemeClr>
                    </a:solidFill>
                  </a:tcPr>
                </a:tc>
                <a:tc>
                  <a:txBody>
                    <a:bodyPr/>
                    <a:lstStyle/>
                    <a:p>
                      <a:pPr marL="0" marR="0" algn="ctr">
                        <a:lnSpc>
                          <a:spcPct val="150000"/>
                        </a:lnSpc>
                        <a:spcBef>
                          <a:spcPts val="285"/>
                        </a:spcBef>
                        <a:spcAft>
                          <a:spcPts val="285"/>
                        </a:spcAft>
                      </a:pPr>
                      <a:r>
                        <a:rPr lang="en-US" sz="1400" dirty="0">
                          <a:effectLst/>
                        </a:rPr>
                        <a:t>Minor </a:t>
                      </a:r>
                      <a:r>
                        <a:rPr lang="en-US" sz="1400" baseline="0" dirty="0" smtClean="0">
                          <a:effectLst/>
                        </a:rPr>
                        <a:t>          </a:t>
                      </a:r>
                      <a:r>
                        <a:rPr lang="en-US" sz="1400" dirty="0" smtClean="0">
                          <a:effectLst/>
                        </a:rPr>
                        <a:t>(use 25</a:t>
                      </a:r>
                      <a:r>
                        <a:rPr lang="en-US" sz="1400" baseline="30000" dirty="0" smtClean="0">
                          <a:effectLst/>
                        </a:rPr>
                        <a:t>th</a:t>
                      </a:r>
                      <a:r>
                        <a:rPr lang="en-US" sz="1400" dirty="0">
                          <a:effectLst/>
                        </a:rPr>
                        <a:t>)</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20000"/>
                        <a:lumOff val="80000"/>
                      </a:schemeClr>
                    </a:solidFill>
                  </a:tcPr>
                </a:tc>
                <a:tc>
                  <a:txBody>
                    <a:bodyPr/>
                    <a:lstStyle/>
                    <a:p>
                      <a:pPr marL="0" marR="0" algn="ctr">
                        <a:lnSpc>
                          <a:spcPct val="150000"/>
                        </a:lnSpc>
                        <a:spcBef>
                          <a:spcPts val="285"/>
                        </a:spcBef>
                        <a:spcAft>
                          <a:spcPts val="285"/>
                        </a:spcAft>
                      </a:pPr>
                      <a:r>
                        <a:rPr lang="en-US" sz="1400" dirty="0" smtClean="0">
                          <a:effectLst/>
                        </a:rPr>
                        <a:t>Important      (use 50</a:t>
                      </a:r>
                      <a:r>
                        <a:rPr lang="en-US" sz="1400" baseline="30000" dirty="0" smtClean="0">
                          <a:effectLst/>
                        </a:rPr>
                        <a:t>th</a:t>
                      </a:r>
                      <a:r>
                        <a:rPr lang="en-US" sz="1400" dirty="0">
                          <a:effectLst/>
                        </a:rPr>
                        <a:t>)</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20000"/>
                        <a:lumOff val="80000"/>
                      </a:schemeClr>
                    </a:solidFill>
                  </a:tcPr>
                </a:tc>
                <a:tc>
                  <a:txBody>
                    <a:bodyPr/>
                    <a:lstStyle/>
                    <a:p>
                      <a:pPr marL="0" marR="0" algn="ctr">
                        <a:lnSpc>
                          <a:spcPct val="150000"/>
                        </a:lnSpc>
                        <a:spcBef>
                          <a:spcPts val="285"/>
                        </a:spcBef>
                        <a:spcAft>
                          <a:spcPts val="285"/>
                        </a:spcAft>
                      </a:pPr>
                      <a:r>
                        <a:rPr lang="en-US" sz="1400" dirty="0">
                          <a:effectLst/>
                        </a:rPr>
                        <a:t>Major </a:t>
                      </a:r>
                      <a:r>
                        <a:rPr lang="en-US" sz="1400" dirty="0" smtClean="0">
                          <a:effectLst/>
                        </a:rPr>
                        <a:t>         (use 75</a:t>
                      </a:r>
                      <a:r>
                        <a:rPr lang="en-US" sz="1400" baseline="30000" dirty="0" smtClean="0">
                          <a:effectLst/>
                        </a:rPr>
                        <a:t>th</a:t>
                      </a:r>
                      <a:r>
                        <a:rPr lang="en-US" sz="1400" dirty="0">
                          <a:effectLst/>
                        </a:rPr>
                        <a:t>)</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20000"/>
                        <a:lumOff val="80000"/>
                      </a:schemeClr>
                    </a:solidFill>
                  </a:tcPr>
                </a:tc>
                <a:tc>
                  <a:txBody>
                    <a:bodyPr/>
                    <a:lstStyle/>
                    <a:p>
                      <a:pPr marL="0" marR="0" algn="ctr">
                        <a:lnSpc>
                          <a:spcPct val="150000"/>
                        </a:lnSpc>
                        <a:spcBef>
                          <a:spcPts val="285"/>
                        </a:spcBef>
                        <a:spcAft>
                          <a:spcPts val="285"/>
                        </a:spcAft>
                      </a:pPr>
                      <a:r>
                        <a:rPr lang="en-US" sz="1400" dirty="0">
                          <a:effectLst/>
                        </a:rPr>
                        <a:t>Vital </a:t>
                      </a:r>
                      <a:r>
                        <a:rPr lang="en-US" sz="1400" dirty="0" smtClean="0">
                          <a:effectLst/>
                        </a:rPr>
                        <a:t>      (use 95</a:t>
                      </a:r>
                      <a:r>
                        <a:rPr lang="en-US" sz="1400" baseline="30000" dirty="0" smtClean="0">
                          <a:effectLst/>
                        </a:rPr>
                        <a:t>th</a:t>
                      </a:r>
                      <a:r>
                        <a:rPr lang="en-US" sz="1400" dirty="0">
                          <a:effectLst/>
                        </a:rPr>
                        <a:t>)</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20000"/>
                        <a:lumOff val="80000"/>
                      </a:schemeClr>
                    </a:solidFill>
                  </a:tcPr>
                </a:tc>
              </a:tr>
              <a:tr h="856325">
                <a:tc rowSpan="3">
                  <a:txBody>
                    <a:bodyPr/>
                    <a:lstStyle/>
                    <a:p>
                      <a:pPr marL="0" marR="0" algn="ctr">
                        <a:lnSpc>
                          <a:spcPct val="100000"/>
                        </a:lnSpc>
                        <a:spcBef>
                          <a:spcPts val="285"/>
                        </a:spcBef>
                        <a:spcAft>
                          <a:spcPts val="285"/>
                        </a:spcAft>
                      </a:pPr>
                      <a:r>
                        <a:rPr lang="en-US" sz="1800" dirty="0">
                          <a:effectLst/>
                        </a:rPr>
                        <a:t>Climate Change Threat </a:t>
                      </a:r>
                      <a:r>
                        <a:rPr lang="en-US" sz="1800" dirty="0" smtClean="0">
                          <a:effectLst/>
                        </a:rPr>
                        <a:t>Probability (Step 3)</a:t>
                      </a:r>
                      <a:endParaRPr lang="en-US" sz="1800" dirty="0">
                        <a:effectLst/>
                        <a:latin typeface="Times New Roman" panose="02020603050405020304" pitchFamily="18" charset="0"/>
                        <a:ea typeface="SimSun" panose="02010600030101010101" pitchFamily="2" charset="-122"/>
                      </a:endParaRPr>
                    </a:p>
                  </a:txBody>
                  <a:tcPr marL="73025" marR="73025" marT="0" marB="0" vert="vert270" anchor="ctr">
                    <a:solidFill>
                      <a:schemeClr val="accent2">
                        <a:lumMod val="50000"/>
                      </a:schemeClr>
                    </a:solidFill>
                  </a:tcPr>
                </a:tc>
                <a:tc>
                  <a:txBody>
                    <a:bodyPr/>
                    <a:lstStyle/>
                    <a:p>
                      <a:pPr marL="0" marR="0" algn="ctr">
                        <a:lnSpc>
                          <a:spcPct val="150000"/>
                        </a:lnSpc>
                        <a:spcBef>
                          <a:spcPts val="285"/>
                        </a:spcBef>
                        <a:spcAft>
                          <a:spcPts val="285"/>
                        </a:spcAft>
                      </a:pPr>
                      <a:r>
                        <a:rPr lang="en-US" sz="1400" dirty="0">
                          <a:effectLst/>
                        </a:rPr>
                        <a:t>Likely</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20000"/>
                        <a:lumOff val="80000"/>
                      </a:schemeClr>
                    </a:solidFill>
                  </a:tcPr>
                </a:tc>
                <a:tc>
                  <a:txBody>
                    <a:bodyPr/>
                    <a:lstStyle/>
                    <a:p>
                      <a:pPr marL="0" marR="0" algn="ctr">
                        <a:lnSpc>
                          <a:spcPct val="150000"/>
                        </a:lnSpc>
                        <a:spcBef>
                          <a:spcPts val="285"/>
                        </a:spcBef>
                        <a:spcAft>
                          <a:spcPts val="285"/>
                        </a:spcAft>
                      </a:pPr>
                      <a:r>
                        <a:rPr lang="en-US" sz="1400" dirty="0">
                          <a:effectLst/>
                        </a:rPr>
                        <a:t>Medium</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FFFF00"/>
                    </a:solidFill>
                  </a:tcPr>
                </a:tc>
                <a:tc>
                  <a:txBody>
                    <a:bodyPr/>
                    <a:lstStyle/>
                    <a:p>
                      <a:pPr marL="0" marR="0" algn="ctr">
                        <a:lnSpc>
                          <a:spcPct val="150000"/>
                        </a:lnSpc>
                        <a:spcBef>
                          <a:spcPts val="285"/>
                        </a:spcBef>
                        <a:spcAft>
                          <a:spcPts val="285"/>
                        </a:spcAft>
                      </a:pPr>
                      <a:r>
                        <a:rPr lang="en-US" sz="1400" dirty="0">
                          <a:effectLst/>
                        </a:rPr>
                        <a:t>Medium</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FFFF00"/>
                    </a:solidFill>
                  </a:tcPr>
                </a:tc>
                <a:tc>
                  <a:txBody>
                    <a:bodyPr/>
                    <a:lstStyle/>
                    <a:p>
                      <a:pPr marL="0" marR="0" algn="ctr">
                        <a:lnSpc>
                          <a:spcPct val="150000"/>
                        </a:lnSpc>
                        <a:spcBef>
                          <a:spcPts val="285"/>
                        </a:spcBef>
                        <a:spcAft>
                          <a:spcPts val="285"/>
                        </a:spcAft>
                      </a:pPr>
                      <a:r>
                        <a:rPr lang="en-US" sz="1400" dirty="0">
                          <a:effectLst/>
                        </a:rPr>
                        <a:t>High</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FF0000"/>
                    </a:solidFill>
                  </a:tcPr>
                </a:tc>
                <a:tc>
                  <a:txBody>
                    <a:bodyPr/>
                    <a:lstStyle/>
                    <a:p>
                      <a:pPr marL="0" marR="0" algn="ctr">
                        <a:lnSpc>
                          <a:spcPct val="150000"/>
                        </a:lnSpc>
                        <a:spcBef>
                          <a:spcPts val="285"/>
                        </a:spcBef>
                        <a:spcAft>
                          <a:spcPts val="285"/>
                        </a:spcAft>
                      </a:pPr>
                      <a:r>
                        <a:rPr lang="en-US" sz="1400" dirty="0">
                          <a:effectLst/>
                        </a:rPr>
                        <a:t>High</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FF0000"/>
                    </a:solidFill>
                  </a:tcPr>
                </a:tc>
              </a:tr>
              <a:tr h="896779">
                <a:tc vMerge="1">
                  <a:txBody>
                    <a:bodyPr/>
                    <a:lstStyle/>
                    <a:p>
                      <a:endParaRPr lang="en-US"/>
                    </a:p>
                  </a:txBody>
                  <a:tcPr/>
                </a:tc>
                <a:tc>
                  <a:txBody>
                    <a:bodyPr/>
                    <a:lstStyle/>
                    <a:p>
                      <a:pPr marL="0" marR="0" algn="ctr">
                        <a:lnSpc>
                          <a:spcPct val="150000"/>
                        </a:lnSpc>
                        <a:spcBef>
                          <a:spcPts val="285"/>
                        </a:spcBef>
                        <a:spcAft>
                          <a:spcPts val="285"/>
                        </a:spcAft>
                      </a:pPr>
                      <a:r>
                        <a:rPr lang="en-US" sz="1400" dirty="0">
                          <a:effectLst/>
                        </a:rPr>
                        <a:t>Possible</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20000"/>
                        <a:lumOff val="80000"/>
                      </a:schemeClr>
                    </a:solidFill>
                  </a:tcPr>
                </a:tc>
                <a:tc>
                  <a:txBody>
                    <a:bodyPr/>
                    <a:lstStyle/>
                    <a:p>
                      <a:pPr marL="0" marR="0" algn="ctr">
                        <a:lnSpc>
                          <a:spcPct val="150000"/>
                        </a:lnSpc>
                        <a:spcBef>
                          <a:spcPts val="285"/>
                        </a:spcBef>
                        <a:spcAft>
                          <a:spcPts val="285"/>
                        </a:spcAft>
                      </a:pPr>
                      <a:r>
                        <a:rPr lang="en-US" sz="1400" dirty="0">
                          <a:effectLst/>
                        </a:rPr>
                        <a:t>Low</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92D050"/>
                    </a:solidFill>
                  </a:tcPr>
                </a:tc>
                <a:tc>
                  <a:txBody>
                    <a:bodyPr/>
                    <a:lstStyle/>
                    <a:p>
                      <a:pPr marL="0" marR="0" algn="ctr">
                        <a:lnSpc>
                          <a:spcPct val="150000"/>
                        </a:lnSpc>
                        <a:spcBef>
                          <a:spcPts val="285"/>
                        </a:spcBef>
                        <a:spcAft>
                          <a:spcPts val="285"/>
                        </a:spcAft>
                      </a:pPr>
                      <a:r>
                        <a:rPr lang="en-US" sz="1400" dirty="0">
                          <a:effectLst/>
                        </a:rPr>
                        <a:t>Medium</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FFFF00"/>
                    </a:solidFill>
                  </a:tcPr>
                </a:tc>
                <a:tc>
                  <a:txBody>
                    <a:bodyPr/>
                    <a:lstStyle/>
                    <a:p>
                      <a:pPr marL="0" marR="0" algn="ctr">
                        <a:lnSpc>
                          <a:spcPct val="150000"/>
                        </a:lnSpc>
                        <a:spcBef>
                          <a:spcPts val="285"/>
                        </a:spcBef>
                        <a:spcAft>
                          <a:spcPts val="285"/>
                        </a:spcAft>
                      </a:pPr>
                      <a:r>
                        <a:rPr lang="en-US" sz="1400" dirty="0">
                          <a:effectLst/>
                        </a:rPr>
                        <a:t>Medium</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FFFF00"/>
                    </a:solidFill>
                  </a:tcPr>
                </a:tc>
                <a:tc>
                  <a:txBody>
                    <a:bodyPr/>
                    <a:lstStyle/>
                    <a:p>
                      <a:pPr marL="0" marR="0" algn="ctr">
                        <a:lnSpc>
                          <a:spcPct val="150000"/>
                        </a:lnSpc>
                        <a:spcBef>
                          <a:spcPts val="285"/>
                        </a:spcBef>
                        <a:spcAft>
                          <a:spcPts val="285"/>
                        </a:spcAft>
                      </a:pPr>
                      <a:r>
                        <a:rPr lang="en-US" sz="1400" dirty="0">
                          <a:effectLst/>
                        </a:rPr>
                        <a:t>High</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FF0000"/>
                    </a:solidFill>
                  </a:tcPr>
                </a:tc>
              </a:tr>
              <a:tr h="896779">
                <a:tc vMerge="1">
                  <a:txBody>
                    <a:bodyPr/>
                    <a:lstStyle/>
                    <a:p>
                      <a:endParaRPr lang="en-US"/>
                    </a:p>
                  </a:txBody>
                  <a:tcPr/>
                </a:tc>
                <a:tc>
                  <a:txBody>
                    <a:bodyPr/>
                    <a:lstStyle/>
                    <a:p>
                      <a:pPr marL="0" marR="0" algn="ctr">
                        <a:lnSpc>
                          <a:spcPct val="150000"/>
                        </a:lnSpc>
                        <a:spcBef>
                          <a:spcPts val="285"/>
                        </a:spcBef>
                        <a:spcAft>
                          <a:spcPts val="285"/>
                        </a:spcAft>
                      </a:pPr>
                      <a:r>
                        <a:rPr lang="en-US" sz="1400" dirty="0">
                          <a:effectLst/>
                        </a:rPr>
                        <a:t>Potential</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chemeClr val="accent2">
                        <a:lumMod val="20000"/>
                        <a:lumOff val="80000"/>
                      </a:schemeClr>
                    </a:solidFill>
                  </a:tcPr>
                </a:tc>
                <a:tc>
                  <a:txBody>
                    <a:bodyPr/>
                    <a:lstStyle/>
                    <a:p>
                      <a:pPr marL="0" marR="0" algn="ctr">
                        <a:lnSpc>
                          <a:spcPct val="150000"/>
                        </a:lnSpc>
                        <a:spcBef>
                          <a:spcPts val="285"/>
                        </a:spcBef>
                        <a:spcAft>
                          <a:spcPts val="285"/>
                        </a:spcAft>
                      </a:pPr>
                      <a:r>
                        <a:rPr lang="en-US" sz="1400" dirty="0">
                          <a:effectLst/>
                        </a:rPr>
                        <a:t>Low</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92D050"/>
                    </a:solidFill>
                  </a:tcPr>
                </a:tc>
                <a:tc>
                  <a:txBody>
                    <a:bodyPr/>
                    <a:lstStyle/>
                    <a:p>
                      <a:pPr marL="0" marR="0" algn="ctr">
                        <a:lnSpc>
                          <a:spcPct val="150000"/>
                        </a:lnSpc>
                        <a:spcBef>
                          <a:spcPts val="285"/>
                        </a:spcBef>
                        <a:spcAft>
                          <a:spcPts val="285"/>
                        </a:spcAft>
                      </a:pPr>
                      <a:r>
                        <a:rPr lang="en-US" sz="1400" dirty="0">
                          <a:effectLst/>
                        </a:rPr>
                        <a:t>Low</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92D050"/>
                    </a:solidFill>
                  </a:tcPr>
                </a:tc>
                <a:tc>
                  <a:txBody>
                    <a:bodyPr/>
                    <a:lstStyle/>
                    <a:p>
                      <a:pPr marL="0" marR="0" algn="ctr">
                        <a:lnSpc>
                          <a:spcPct val="150000"/>
                        </a:lnSpc>
                        <a:spcBef>
                          <a:spcPts val="285"/>
                        </a:spcBef>
                        <a:spcAft>
                          <a:spcPts val="285"/>
                        </a:spcAft>
                      </a:pPr>
                      <a:r>
                        <a:rPr lang="en-US" sz="1400" dirty="0">
                          <a:effectLst/>
                        </a:rPr>
                        <a:t>Medium</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FFFF00"/>
                    </a:solidFill>
                  </a:tcPr>
                </a:tc>
                <a:tc>
                  <a:txBody>
                    <a:bodyPr/>
                    <a:lstStyle/>
                    <a:p>
                      <a:pPr marL="0" marR="0" algn="ctr">
                        <a:lnSpc>
                          <a:spcPct val="150000"/>
                        </a:lnSpc>
                        <a:spcBef>
                          <a:spcPts val="285"/>
                        </a:spcBef>
                        <a:spcAft>
                          <a:spcPts val="285"/>
                        </a:spcAft>
                      </a:pPr>
                      <a:r>
                        <a:rPr lang="en-US" sz="1400" dirty="0">
                          <a:effectLst/>
                        </a:rPr>
                        <a:t>Medium</a:t>
                      </a:r>
                      <a:endParaRPr lang="en-US" sz="1400" dirty="0">
                        <a:effectLst/>
                        <a:latin typeface="Times New Roman" panose="02020603050405020304" pitchFamily="18" charset="0"/>
                        <a:ea typeface="SimSun" panose="02010600030101010101" pitchFamily="2" charset="-122"/>
                      </a:endParaRPr>
                    </a:p>
                  </a:txBody>
                  <a:tcPr marL="73025" marR="73025" marT="0" marB="0" anchor="ctr">
                    <a:solidFill>
                      <a:srgbClr val="FFFF00"/>
                    </a:solidFill>
                  </a:tcPr>
                </a:tc>
              </a:tr>
            </a:tbl>
          </a:graphicData>
        </a:graphic>
      </p:graphicFrame>
    </p:spTree>
    <p:extLst>
      <p:ext uri="{BB962C8B-B14F-4D97-AF65-F5344CB8AC3E}">
        <p14:creationId xmlns:p14="http://schemas.microsoft.com/office/powerpoint/2010/main" val="106693062"/>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Management Framework</a:t>
            </a:r>
            <a:endParaRPr lang="en-US" dirty="0"/>
          </a:p>
        </p:txBody>
      </p:sp>
      <p:sp>
        <p:nvSpPr>
          <p:cNvPr id="6" name="Text Placeholder 5"/>
          <p:cNvSpPr>
            <a:spLocks noGrp="1"/>
          </p:cNvSpPr>
          <p:nvPr>
            <p:ph type="body" sz="quarter" idx="12"/>
          </p:nvPr>
        </p:nvSpPr>
        <p:spPr/>
        <p:txBody>
          <a:bodyPr/>
          <a:lstStyle/>
          <a:p>
            <a:r>
              <a:rPr lang="en-US" dirty="0" smtClean="0"/>
              <a:t>Step 4: Consequences</a:t>
            </a:r>
            <a:endParaRPr lang="en-US" dirty="0"/>
          </a:p>
        </p:txBody>
      </p:sp>
      <p:graphicFrame>
        <p:nvGraphicFramePr>
          <p:cNvPr id="7" name="Diagram 6"/>
          <p:cNvGraphicFramePr/>
          <p:nvPr>
            <p:extLst>
              <p:ext uri="{D42A27DB-BD31-4B8C-83A1-F6EECF244321}">
                <p14:modId xmlns:p14="http://schemas.microsoft.com/office/powerpoint/2010/main" val="1955530957"/>
              </p:ext>
            </p:extLst>
          </p:nvPr>
        </p:nvGraphicFramePr>
        <p:xfrm>
          <a:off x="8183212" y="872068"/>
          <a:ext cx="3719619" cy="5427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p:cNvGraphicFramePr/>
          <p:nvPr>
            <p:extLst>
              <p:ext uri="{D42A27DB-BD31-4B8C-83A1-F6EECF244321}">
                <p14:modId xmlns:p14="http://schemas.microsoft.com/office/powerpoint/2010/main" val="2615058944"/>
              </p:ext>
            </p:extLst>
          </p:nvPr>
        </p:nvGraphicFramePr>
        <p:xfrm>
          <a:off x="322385" y="1135064"/>
          <a:ext cx="7995138" cy="491013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11421881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564342956"/>
              </p:ext>
            </p:extLst>
          </p:nvPr>
        </p:nvGraphicFramePr>
        <p:xfrm>
          <a:off x="5211096" y="1337186"/>
          <a:ext cx="7367639" cy="49259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dirty="0" smtClean="0"/>
              <a:t>Risk Allocation </a:t>
            </a:r>
            <a:endParaRPr lang="en-US" dirty="0"/>
          </a:p>
        </p:txBody>
      </p:sp>
      <p:sp>
        <p:nvSpPr>
          <p:cNvPr id="4" name="Text Placeholder 3"/>
          <p:cNvSpPr>
            <a:spLocks noGrp="1"/>
          </p:cNvSpPr>
          <p:nvPr>
            <p:ph type="body" sz="quarter" idx="10"/>
          </p:nvPr>
        </p:nvSpPr>
        <p:spPr/>
        <p:txBody>
          <a:bodyPr/>
          <a:lstStyle/>
          <a:p>
            <a:pPr marL="0" indent="0">
              <a:buNone/>
            </a:pPr>
            <a:r>
              <a:rPr lang="en-US" b="1" dirty="0"/>
              <a:t>I</a:t>
            </a:r>
            <a:r>
              <a:rPr lang="en-US" b="1" dirty="0" smtClean="0"/>
              <a:t>nfluence </a:t>
            </a:r>
            <a:r>
              <a:rPr lang="en-US" b="1" dirty="0"/>
              <a:t>Risk </a:t>
            </a:r>
            <a:r>
              <a:rPr lang="en-US" b="1" dirty="0" smtClean="0"/>
              <a:t>Mitigation through Contracting</a:t>
            </a:r>
          </a:p>
          <a:p>
            <a:pPr marL="0" indent="0">
              <a:buNone/>
            </a:pPr>
            <a:endParaRPr lang="en-US" b="1" dirty="0"/>
          </a:p>
          <a:p>
            <a:pPr marL="342900" indent="-342900">
              <a:buFont typeface="+mj-lt"/>
              <a:buAutoNum type="arabicPeriod"/>
            </a:pPr>
            <a:r>
              <a:rPr lang="en-US" b="1" dirty="0" smtClean="0"/>
              <a:t>Credit Rating</a:t>
            </a:r>
            <a:endParaRPr lang="en-US" b="1" dirty="0"/>
          </a:p>
          <a:p>
            <a:pPr marL="342900" indent="-342900">
              <a:buFont typeface="+mj-lt"/>
              <a:buAutoNum type="arabicPeriod"/>
            </a:pPr>
            <a:endParaRPr lang="en-US" b="1" dirty="0"/>
          </a:p>
          <a:p>
            <a:pPr marL="0" indent="0">
              <a:buNone/>
            </a:pPr>
            <a:r>
              <a:rPr lang="en-US" dirty="0"/>
              <a:t>Setting evaluation criteria to require climate risk consideration. “SBD Works Following Prequalification - to be used when the bidding is preceded by a prequalification exercise.”</a:t>
            </a:r>
          </a:p>
          <a:p>
            <a:pPr marL="0" indent="0">
              <a:buNone/>
            </a:pPr>
            <a:endParaRPr lang="en-US" b="1" dirty="0"/>
          </a:p>
          <a:p>
            <a:pPr marL="0" indent="0">
              <a:buNone/>
            </a:pPr>
            <a:r>
              <a:rPr lang="en-US" i="1" dirty="0"/>
              <a:t>Example: Require climate aware designs for loan prequalification.</a:t>
            </a:r>
          </a:p>
          <a:p>
            <a:pPr marL="342900" indent="-342900">
              <a:buFont typeface="+mj-lt"/>
              <a:buAutoNum type="arabicPeriod"/>
            </a:pPr>
            <a:endParaRPr lang="en-US" b="1" dirty="0"/>
          </a:p>
          <a:p>
            <a:pPr marL="342900" indent="-342900">
              <a:buFont typeface="+mj-lt"/>
              <a:buAutoNum type="arabicPeriod" startAt="2"/>
            </a:pPr>
            <a:r>
              <a:rPr lang="en-US" b="1" dirty="0"/>
              <a:t>Contracting </a:t>
            </a:r>
            <a:r>
              <a:rPr lang="en-US" b="1" dirty="0" smtClean="0"/>
              <a:t>Language</a:t>
            </a:r>
            <a:endParaRPr lang="en-US" b="1" dirty="0"/>
          </a:p>
          <a:p>
            <a:pPr marL="342900" indent="-342900">
              <a:buFont typeface="+mj-lt"/>
              <a:buAutoNum type="arabicPeriod" startAt="2"/>
            </a:pPr>
            <a:endParaRPr lang="en-US" b="1" dirty="0"/>
          </a:p>
          <a:p>
            <a:pPr marL="0" lvl="1" indent="0">
              <a:buNone/>
            </a:pPr>
            <a:r>
              <a:rPr lang="en-US" dirty="0"/>
              <a:t>Determining what measurable drivers can be introduced into the PBC structure.</a:t>
            </a:r>
            <a:r>
              <a:rPr lang="en-US" b="1" dirty="0"/>
              <a:t> </a:t>
            </a:r>
            <a:r>
              <a:rPr lang="en-US" dirty="0"/>
              <a:t>Are these thresholds enforceable as part of the contract and payment structure and reasonable in regards to success of the developer or contractor?</a:t>
            </a:r>
            <a:endParaRPr lang="en-US" b="1" dirty="0"/>
          </a:p>
          <a:p>
            <a:pPr marL="0" indent="0">
              <a:buNone/>
            </a:pPr>
            <a:endParaRPr lang="en-US" dirty="0"/>
          </a:p>
          <a:p>
            <a:pPr marL="0" indent="0">
              <a:buNone/>
            </a:pPr>
            <a:r>
              <a:rPr lang="en-US" i="1" dirty="0"/>
              <a:t>Example: Specify factors of safety in risk mitigation</a:t>
            </a:r>
          </a:p>
          <a:p>
            <a:pPr marL="0" indent="0">
              <a:buNone/>
            </a:pPr>
            <a:endParaRPr lang="en-US" dirty="0"/>
          </a:p>
          <a:p>
            <a:pPr marL="0" indent="0">
              <a:buNone/>
            </a:pPr>
            <a:endParaRPr lang="en-US" b="1" dirty="0"/>
          </a:p>
          <a:p>
            <a:pPr marL="0" indent="0">
              <a:buNone/>
            </a:pPr>
            <a:endParaRPr lang="en-US" dirty="0"/>
          </a:p>
          <a:p>
            <a:endParaRPr lang="en-US" dirty="0"/>
          </a:p>
          <a:p>
            <a:endParaRPr lang="en-US" dirty="0"/>
          </a:p>
          <a:p>
            <a:endParaRPr lang="en-US" dirty="0"/>
          </a:p>
        </p:txBody>
      </p:sp>
      <p:sp>
        <p:nvSpPr>
          <p:cNvPr id="5" name="Text Placeholder 4"/>
          <p:cNvSpPr>
            <a:spLocks noGrp="1"/>
          </p:cNvSpPr>
          <p:nvPr>
            <p:ph type="body" sz="quarter" idx="11"/>
          </p:nvPr>
        </p:nvSpPr>
        <p:spPr/>
        <p:txBody>
          <a:bodyPr/>
          <a:lstStyle/>
          <a:p>
            <a:pPr marL="0" indent="0">
              <a:buNone/>
            </a:pPr>
            <a:r>
              <a:rPr lang="en-US" b="1" dirty="0" smtClean="0"/>
              <a:t>Key Stakeholders</a:t>
            </a:r>
            <a:endParaRPr lang="en-US" b="1" dirty="0"/>
          </a:p>
          <a:p>
            <a:endParaRPr lang="en-US" dirty="0"/>
          </a:p>
          <a:p>
            <a:r>
              <a:rPr lang="en-US" dirty="0"/>
              <a:t> </a:t>
            </a:r>
            <a:r>
              <a:rPr lang="en-US" b="1" dirty="0" smtClean="0"/>
              <a:t>Funding Partners</a:t>
            </a:r>
            <a:endParaRPr lang="en-US" b="1" dirty="0"/>
          </a:p>
          <a:p>
            <a:pPr lvl="2"/>
            <a:r>
              <a:rPr lang="en-US" dirty="0" smtClean="0"/>
              <a:t>The World Bank</a:t>
            </a:r>
          </a:p>
          <a:p>
            <a:pPr lvl="2"/>
            <a:r>
              <a:rPr lang="en-US" dirty="0" smtClean="0"/>
              <a:t>The Asian Development Bank</a:t>
            </a:r>
          </a:p>
          <a:p>
            <a:pPr lvl="2"/>
            <a:r>
              <a:rPr lang="en-US" dirty="0" smtClean="0"/>
              <a:t>Private Banks</a:t>
            </a:r>
            <a:endParaRPr lang="en-US" dirty="0"/>
          </a:p>
          <a:p>
            <a:endParaRPr lang="en-US" u="sng" dirty="0"/>
          </a:p>
          <a:p>
            <a:r>
              <a:rPr lang="en-US" b="1" dirty="0" smtClean="0"/>
              <a:t>Asset Owners</a:t>
            </a:r>
            <a:endParaRPr lang="en-US" b="1" dirty="0"/>
          </a:p>
          <a:p>
            <a:pPr lvl="2"/>
            <a:r>
              <a:rPr lang="en-US" dirty="0" smtClean="0"/>
              <a:t>National Ministries</a:t>
            </a:r>
            <a:endParaRPr lang="en-US" dirty="0"/>
          </a:p>
          <a:p>
            <a:pPr lvl="2"/>
            <a:r>
              <a:rPr lang="en-US" dirty="0" smtClean="0"/>
              <a:t>Local Governments</a:t>
            </a:r>
            <a:endParaRPr lang="en-US" dirty="0"/>
          </a:p>
          <a:p>
            <a:pPr lvl="1"/>
            <a:endParaRPr lang="en-US" u="sng" dirty="0"/>
          </a:p>
          <a:p>
            <a:pPr lvl="1"/>
            <a:r>
              <a:rPr lang="en-US" b="1" dirty="0" smtClean="0"/>
              <a:t>Developers</a:t>
            </a:r>
          </a:p>
          <a:p>
            <a:pPr lvl="2"/>
            <a:r>
              <a:rPr lang="en-US" dirty="0" smtClean="0"/>
              <a:t>Special Purpose Vehicles (SPVs)</a:t>
            </a:r>
          </a:p>
          <a:p>
            <a:pPr lvl="2"/>
            <a:r>
              <a:rPr lang="en-US" dirty="0" smtClean="0"/>
              <a:t>Construction Contractors</a:t>
            </a:r>
            <a:endParaRPr lang="en-US" dirty="0"/>
          </a:p>
          <a:p>
            <a:pPr lvl="2"/>
            <a:r>
              <a:rPr lang="en-US" dirty="0" smtClean="0"/>
              <a:t>Operations Contractors</a:t>
            </a:r>
            <a:endParaRPr lang="en-US" dirty="0"/>
          </a:p>
          <a:p>
            <a:pPr lvl="1"/>
            <a:endParaRPr lang="en-US" u="sng" dirty="0"/>
          </a:p>
          <a:p>
            <a:pPr lvl="1"/>
            <a:r>
              <a:rPr lang="en-US" b="1" dirty="0" smtClean="0"/>
              <a:t>Insurers</a:t>
            </a:r>
            <a:endParaRPr lang="en-US" b="1" dirty="0"/>
          </a:p>
          <a:p>
            <a:pPr lvl="2"/>
            <a:r>
              <a:rPr lang="en-US" dirty="0" smtClean="0"/>
              <a:t>Private Insurers</a:t>
            </a:r>
          </a:p>
          <a:p>
            <a:pPr lvl="2"/>
            <a:r>
              <a:rPr lang="en-US" dirty="0" smtClean="0"/>
              <a:t>National Disaster Funds</a:t>
            </a:r>
            <a:endParaRPr lang="en-US" dirty="0"/>
          </a:p>
          <a:p>
            <a:endParaRPr lang="en-US" dirty="0"/>
          </a:p>
          <a:p>
            <a:endParaRPr lang="en-US" dirty="0"/>
          </a:p>
        </p:txBody>
      </p:sp>
      <p:sp>
        <p:nvSpPr>
          <p:cNvPr id="6" name="Text Placeholder 5"/>
          <p:cNvSpPr>
            <a:spLocks noGrp="1"/>
          </p:cNvSpPr>
          <p:nvPr>
            <p:ph type="body" sz="quarter" idx="12"/>
          </p:nvPr>
        </p:nvSpPr>
        <p:spPr/>
        <p:txBody>
          <a:bodyPr/>
          <a:lstStyle/>
          <a:p>
            <a:r>
              <a:rPr lang="en-US" dirty="0" smtClean="0"/>
              <a:t>Driving Resilience with language</a:t>
            </a:r>
          </a:p>
        </p:txBody>
      </p:sp>
    </p:spTree>
    <p:extLst>
      <p:ext uri="{BB962C8B-B14F-4D97-AF65-F5344CB8AC3E}">
        <p14:creationId xmlns:p14="http://schemas.microsoft.com/office/powerpoint/2010/main" val="213290124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Allocation</a:t>
            </a:r>
            <a:endParaRPr lang="en-US" dirty="0"/>
          </a:p>
        </p:txBody>
      </p:sp>
      <p:sp>
        <p:nvSpPr>
          <p:cNvPr id="6" name="Text Placeholder 5"/>
          <p:cNvSpPr>
            <a:spLocks noGrp="1"/>
          </p:cNvSpPr>
          <p:nvPr>
            <p:ph type="body" sz="quarter" idx="12"/>
          </p:nvPr>
        </p:nvSpPr>
        <p:spPr/>
        <p:txBody>
          <a:bodyPr/>
          <a:lstStyle/>
          <a:p>
            <a:r>
              <a:rPr lang="en-US" dirty="0" smtClean="0"/>
              <a:t>Understanding Concerns</a:t>
            </a:r>
            <a:endParaRPr lang="en-US" dirty="0"/>
          </a:p>
        </p:txBody>
      </p:sp>
      <p:graphicFrame>
        <p:nvGraphicFramePr>
          <p:cNvPr id="5" name="Diagram 4"/>
          <p:cNvGraphicFramePr/>
          <p:nvPr>
            <p:extLst>
              <p:ext uri="{D42A27DB-BD31-4B8C-83A1-F6EECF244321}">
                <p14:modId xmlns:p14="http://schemas.microsoft.com/office/powerpoint/2010/main" val="3945322935"/>
              </p:ext>
            </p:extLst>
          </p:nvPr>
        </p:nvGraphicFramePr>
        <p:xfrm>
          <a:off x="477672" y="1351126"/>
          <a:ext cx="11425159" cy="48449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205498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Overview</a:t>
            </a:r>
            <a:endParaRPr lang="en-US" dirty="0"/>
          </a:p>
        </p:txBody>
      </p:sp>
      <p:sp>
        <p:nvSpPr>
          <p:cNvPr id="5" name="Text Placeholder 4"/>
          <p:cNvSpPr>
            <a:spLocks noGrp="1"/>
          </p:cNvSpPr>
          <p:nvPr>
            <p:ph type="body" sz="quarter" idx="12"/>
          </p:nvPr>
        </p:nvSpPr>
        <p:spPr/>
        <p:txBody>
          <a:bodyPr/>
          <a:lstStyle/>
          <a:p>
            <a:r>
              <a:rPr lang="en-US" dirty="0" smtClean="0"/>
              <a:t>Project Objectives</a:t>
            </a:r>
            <a:endParaRPr lang="en-US" dirty="0"/>
          </a:p>
        </p:txBody>
      </p:sp>
      <p:sp>
        <p:nvSpPr>
          <p:cNvPr id="6" name="Text Placeholder 3"/>
          <p:cNvSpPr txBox="1">
            <a:spLocks/>
          </p:cNvSpPr>
          <p:nvPr/>
        </p:nvSpPr>
        <p:spPr>
          <a:xfrm>
            <a:off x="2539341" y="3830521"/>
            <a:ext cx="5619262" cy="3503930"/>
          </a:xfrm>
          <a:prstGeom prst="rect">
            <a:avLst/>
          </a:prstGeom>
        </p:spPr>
        <p:txBody>
          <a:bodyPr/>
          <a:lstStyle>
            <a:lvl1pPr marL="236969" indent="-236969" algn="l" defTabSz="1197317" rtl="0" eaLnBrk="1" latinLnBrk="0" hangingPunct="1">
              <a:lnSpc>
                <a:spcPct val="85000"/>
              </a:lnSpc>
              <a:spcBef>
                <a:spcPts val="261"/>
              </a:spcBef>
              <a:buFont typeface="Arial" pitchFamily="34" charset="0"/>
              <a:buChar char="•"/>
              <a:defRPr sz="1600" kern="1200">
                <a:solidFill>
                  <a:schemeClr val="tx1"/>
                </a:solidFill>
                <a:latin typeface="+mj-lt"/>
                <a:ea typeface="+mn-ea"/>
                <a:cs typeface="+mn-cs"/>
              </a:defRPr>
            </a:lvl1pPr>
            <a:lvl2pPr marL="285750" indent="-285750" algn="l" defTabSz="1197317" rtl="0" eaLnBrk="1" latinLnBrk="0" hangingPunct="1">
              <a:lnSpc>
                <a:spcPct val="85000"/>
              </a:lnSpc>
              <a:spcBef>
                <a:spcPts val="261"/>
              </a:spcBef>
              <a:buFont typeface="Arial" pitchFamily="34" charset="0"/>
              <a:buChar char="•"/>
              <a:defRPr sz="1600" kern="1200">
                <a:solidFill>
                  <a:schemeClr val="tx1"/>
                </a:solidFill>
                <a:latin typeface="+mj-lt"/>
                <a:ea typeface="+mn-ea"/>
                <a:cs typeface="+mn-cs"/>
              </a:defRPr>
            </a:lvl2pPr>
            <a:lvl3pPr marL="400050" indent="-171450" algn="l" defTabSz="1197317" rtl="0" eaLnBrk="1" latinLnBrk="0" hangingPunct="1">
              <a:lnSpc>
                <a:spcPct val="85000"/>
              </a:lnSpc>
              <a:spcBef>
                <a:spcPts val="261"/>
              </a:spcBef>
              <a:buFont typeface="Arial" pitchFamily="34" charset="0"/>
              <a:buChar char="•"/>
              <a:defRPr sz="1600" kern="1200">
                <a:solidFill>
                  <a:schemeClr val="tx1"/>
                </a:solidFill>
                <a:latin typeface="+mj-lt"/>
                <a:ea typeface="+mn-ea"/>
                <a:cs typeface="+mn-cs"/>
              </a:defRPr>
            </a:lvl3pPr>
            <a:lvl4pPr marL="935403"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4pPr>
            <a:lvl5pPr marL="1172372"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5pPr>
            <a:lvl6pPr marL="3292619"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891277"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489936"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088594"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Font typeface="Arial" pitchFamily="34" charset="0"/>
              <a:buNone/>
            </a:pPr>
            <a:endParaRPr lang="en-US" dirty="0"/>
          </a:p>
        </p:txBody>
      </p:sp>
      <p:sp>
        <p:nvSpPr>
          <p:cNvPr id="7" name="Text Placeholder 6"/>
          <p:cNvSpPr>
            <a:spLocks noGrp="1"/>
          </p:cNvSpPr>
          <p:nvPr>
            <p:ph type="body" sz="quarter" idx="10"/>
          </p:nvPr>
        </p:nvSpPr>
        <p:spPr>
          <a:xfrm>
            <a:off x="322386" y="1238249"/>
            <a:ext cx="6798080" cy="4956117"/>
          </a:xfrm>
        </p:spPr>
        <p:txBody>
          <a:bodyPr/>
          <a:lstStyle/>
          <a:p>
            <a:pPr marL="0" indent="0">
              <a:buNone/>
            </a:pPr>
            <a:r>
              <a:rPr lang="en-US" b="1" dirty="0" smtClean="0"/>
              <a:t>Ultimate Goal</a:t>
            </a:r>
          </a:p>
          <a:p>
            <a:pPr>
              <a:buFont typeface="Wingdings" panose="05000000000000000000" pitchFamily="2" charset="2"/>
              <a:buChar char="§"/>
            </a:pPr>
            <a:r>
              <a:rPr lang="en-US" dirty="0" smtClean="0">
                <a:latin typeface="Calibri" panose="020F0502020204030204" pitchFamily="34" charset="0"/>
                <a:cs typeface="Calibri" panose="020F0502020204030204" pitchFamily="34" charset="0"/>
              </a:rPr>
              <a:t>Protect investment in Transport </a:t>
            </a:r>
            <a:r>
              <a:rPr lang="en-US" dirty="0">
                <a:latin typeface="Calibri" panose="020F0502020204030204" pitchFamily="34" charset="0"/>
                <a:cs typeface="Calibri" panose="020F0502020204030204" pitchFamily="34" charset="0"/>
              </a:rPr>
              <a:t>I</a:t>
            </a:r>
            <a:r>
              <a:rPr lang="en-US" dirty="0" smtClean="0">
                <a:latin typeface="Calibri" panose="020F0502020204030204" pitchFamily="34" charset="0"/>
                <a:cs typeface="Calibri" panose="020F0502020204030204" pitchFamily="34" charset="0"/>
              </a:rPr>
              <a:t>nfrastructure globally and reduce money spent on disaster response and recovery</a:t>
            </a:r>
            <a:endParaRPr lang="en-US" dirty="0">
              <a:latin typeface="Calibri" panose="020F0502020204030204" pitchFamily="34" charset="0"/>
              <a:cs typeface="Calibri" panose="020F0502020204030204" pitchFamily="34" charset="0"/>
            </a:endParaRPr>
          </a:p>
          <a:p>
            <a:pPr marL="0" indent="0">
              <a:buNone/>
            </a:pPr>
            <a:endParaRPr lang="en-US" b="1" dirty="0" smtClean="0"/>
          </a:p>
          <a:p>
            <a:pPr marL="0" indent="0">
              <a:buNone/>
            </a:pPr>
            <a:r>
              <a:rPr lang="en-US" b="1" dirty="0" smtClean="0"/>
              <a:t>A - Scalable </a:t>
            </a:r>
            <a:r>
              <a:rPr lang="en-US" b="1" dirty="0"/>
              <a:t>Assessment Tool</a:t>
            </a:r>
          </a:p>
          <a:p>
            <a:pPr marL="0" indent="0">
              <a:buNone/>
            </a:pPr>
            <a:endParaRPr lang="en-US" dirty="0">
              <a:latin typeface="Calibri" panose="020F0502020204030204" pitchFamily="34" charset="0"/>
              <a:cs typeface="Calibri" panose="020F0502020204030204" pitchFamily="34" charset="0"/>
            </a:endParaRPr>
          </a:p>
          <a:p>
            <a:pPr>
              <a:lnSpc>
                <a:spcPct val="100000"/>
              </a:lnSpc>
              <a:buFont typeface="Wingdings" panose="05000000000000000000" pitchFamily="2" charset="2"/>
              <a:buChar char="§"/>
            </a:pPr>
            <a:r>
              <a:rPr lang="en-US" dirty="0" smtClean="0">
                <a:latin typeface="Calibri" panose="020F0502020204030204" pitchFamily="34" charset="0"/>
                <a:cs typeface="Calibri" panose="020F0502020204030204" pitchFamily="34" charset="0"/>
              </a:rPr>
              <a:t>Outline of risk management tool </a:t>
            </a:r>
            <a:r>
              <a:rPr lang="en-US" dirty="0">
                <a:latin typeface="Calibri" panose="020F0502020204030204" pitchFamily="34" charset="0"/>
                <a:cs typeface="Calibri" panose="020F0502020204030204" pitchFamily="34" charset="0"/>
              </a:rPr>
              <a:t>to </a:t>
            </a:r>
            <a:r>
              <a:rPr lang="en-US" dirty="0" smtClean="0">
                <a:latin typeface="Calibri" panose="020F0502020204030204" pitchFamily="34" charset="0"/>
                <a:cs typeface="Calibri" panose="020F0502020204030204" pitchFamily="34" charset="0"/>
              </a:rPr>
              <a:t>understand Roadway risk </a:t>
            </a:r>
            <a:r>
              <a:rPr lang="en-US" dirty="0">
                <a:latin typeface="Calibri" panose="020F0502020204030204" pitchFamily="34" charset="0"/>
                <a:cs typeface="Calibri" panose="020F0502020204030204" pitchFamily="34" charset="0"/>
              </a:rPr>
              <a:t>due to breadth of data, global applicability and design </a:t>
            </a:r>
            <a:r>
              <a:rPr lang="en-US" dirty="0" smtClean="0">
                <a:latin typeface="Calibri" panose="020F0502020204030204" pitchFamily="34" charset="0"/>
                <a:cs typeface="Calibri" panose="020F0502020204030204" pitchFamily="34" charset="0"/>
              </a:rPr>
              <a:t>complexity</a:t>
            </a:r>
            <a:endParaRPr lang="en-US" dirty="0">
              <a:latin typeface="Calibri" panose="020F0502020204030204" pitchFamily="34" charset="0"/>
              <a:cs typeface="Calibri" panose="020F0502020204030204" pitchFamily="34" charset="0"/>
            </a:endParaRPr>
          </a:p>
          <a:p>
            <a:pPr>
              <a:lnSpc>
                <a:spcPct val="100000"/>
              </a:lnSpc>
              <a:buFont typeface="Wingdings" panose="05000000000000000000" pitchFamily="2" charset="2"/>
              <a:buChar char="§"/>
            </a:pPr>
            <a:r>
              <a:rPr lang="en-US" dirty="0">
                <a:latin typeface="Calibri" panose="020F0502020204030204" pitchFamily="34" charset="0"/>
                <a:cs typeface="Calibri" panose="020F0502020204030204" pitchFamily="34" charset="0"/>
              </a:rPr>
              <a:t>Future application </a:t>
            </a:r>
            <a:r>
              <a:rPr lang="en-US" dirty="0" smtClean="0">
                <a:latin typeface="Calibri" panose="020F0502020204030204" pitchFamily="34" charset="0"/>
                <a:cs typeface="Calibri" panose="020F0502020204030204" pitchFamily="34" charset="0"/>
              </a:rPr>
              <a:t>to </a:t>
            </a:r>
            <a:r>
              <a:rPr lang="en-US" dirty="0">
                <a:latin typeface="Calibri" panose="020F0502020204030204" pitchFamily="34" charset="0"/>
                <a:cs typeface="Calibri" panose="020F0502020204030204" pitchFamily="34" charset="0"/>
              </a:rPr>
              <a:t>expand to other transportation asset types beyond </a:t>
            </a:r>
            <a:r>
              <a:rPr lang="en-US" dirty="0" smtClean="0">
                <a:latin typeface="Calibri" panose="020F0502020204030204" pitchFamily="34" charset="0"/>
                <a:cs typeface="Calibri" panose="020F0502020204030204" pitchFamily="34" charset="0"/>
              </a:rPr>
              <a:t>roadways</a:t>
            </a:r>
          </a:p>
          <a:p>
            <a:pPr>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marL="0" indent="0">
              <a:buNone/>
            </a:pPr>
            <a:r>
              <a:rPr lang="en-US" b="1" dirty="0" smtClean="0"/>
              <a:t>B - Contracting </a:t>
            </a:r>
            <a:r>
              <a:rPr lang="en-US" b="1" dirty="0"/>
              <a:t>Guidelines</a:t>
            </a:r>
          </a:p>
          <a:p>
            <a:pPr marL="0" indent="0">
              <a:buNone/>
            </a:pPr>
            <a:endParaRPr lang="en-US" b="1" dirty="0"/>
          </a:p>
          <a:p>
            <a:pPr>
              <a:lnSpc>
                <a:spcPct val="100000"/>
              </a:lnSpc>
              <a:buFont typeface="Wingdings" panose="05000000000000000000" pitchFamily="2" charset="2"/>
              <a:buChar char="§"/>
            </a:pPr>
            <a:r>
              <a:rPr lang="en-US" dirty="0" smtClean="0">
                <a:latin typeface="Calibri" panose="020F0502020204030204" pitchFamily="34" charset="0"/>
                <a:cs typeface="Calibri" panose="020F0502020204030204" pitchFamily="34" charset="0"/>
              </a:rPr>
              <a:t>Develop </a:t>
            </a:r>
            <a:r>
              <a:rPr lang="en-US" dirty="0">
                <a:latin typeface="Calibri" panose="020F0502020204030204" pitchFamily="34" charset="0"/>
                <a:cs typeface="Calibri" panose="020F0502020204030204" pitchFamily="34" charset="0"/>
              </a:rPr>
              <a:t>guidelines to assess, assign, and price the risk of climate change in PBCs for </a:t>
            </a:r>
            <a:r>
              <a:rPr lang="en-US" dirty="0" smtClean="0">
                <a:latin typeface="Calibri" panose="020F0502020204030204" pitchFamily="34" charset="0"/>
                <a:cs typeface="Calibri" panose="020F0502020204030204" pitchFamily="34" charset="0"/>
              </a:rPr>
              <a:t>roadways</a:t>
            </a:r>
            <a:endParaRPr lang="en-US" dirty="0">
              <a:latin typeface="Calibri" panose="020F0502020204030204" pitchFamily="34" charset="0"/>
              <a:cs typeface="Calibri" panose="020F0502020204030204" pitchFamily="34" charset="0"/>
            </a:endParaRPr>
          </a:p>
          <a:p>
            <a:pPr>
              <a:lnSpc>
                <a:spcPct val="100000"/>
              </a:lnSpc>
              <a:buFont typeface="Wingdings" panose="05000000000000000000" pitchFamily="2" charset="2"/>
              <a:buChar char="§"/>
            </a:pPr>
            <a:r>
              <a:rPr lang="en-US" dirty="0" smtClean="0">
                <a:latin typeface="Calibri" panose="020F0502020204030204" pitchFamily="34" charset="0"/>
                <a:cs typeface="Calibri" panose="020F0502020204030204" pitchFamily="34" charset="0"/>
              </a:rPr>
              <a:t>Develop </a:t>
            </a:r>
            <a:r>
              <a:rPr lang="en-US" dirty="0">
                <a:latin typeface="Calibri" panose="020F0502020204030204" pitchFamily="34" charset="0"/>
                <a:cs typeface="Calibri" panose="020F0502020204030204" pitchFamily="34" charset="0"/>
              </a:rPr>
              <a:t>performance standards for PBC projects that address climate change </a:t>
            </a:r>
            <a:r>
              <a:rPr lang="en-US" dirty="0" smtClean="0">
                <a:latin typeface="Calibri" panose="020F0502020204030204" pitchFamily="34" charset="0"/>
                <a:cs typeface="Calibri" panose="020F0502020204030204" pitchFamily="34" charset="0"/>
              </a:rPr>
              <a:t>impacts</a:t>
            </a:r>
            <a:endParaRPr lang="en-US" dirty="0">
              <a:latin typeface="Calibri" panose="020F0502020204030204" pitchFamily="34" charset="0"/>
              <a:cs typeface="Calibri" panose="020F0502020204030204" pitchFamily="34" charset="0"/>
            </a:endParaRPr>
          </a:p>
          <a:p>
            <a:pPr>
              <a:lnSpc>
                <a:spcPct val="100000"/>
              </a:lnSpc>
              <a:buFont typeface="Wingdings" panose="05000000000000000000" pitchFamily="2" charset="2"/>
              <a:buChar char="§"/>
            </a:pPr>
            <a:r>
              <a:rPr lang="en-US" dirty="0" smtClean="0">
                <a:latin typeface="Calibri" panose="020F0502020204030204" pitchFamily="34" charset="0"/>
                <a:cs typeface="Calibri" panose="020F0502020204030204" pitchFamily="34" charset="0"/>
              </a:rPr>
              <a:t>Understand </a:t>
            </a:r>
            <a:r>
              <a:rPr lang="en-US" dirty="0">
                <a:latin typeface="Calibri" panose="020F0502020204030204" pitchFamily="34" charset="0"/>
                <a:cs typeface="Calibri" panose="020F0502020204030204" pitchFamily="34" charset="0"/>
              </a:rPr>
              <a:t>global barriers to implementing climate adaptation methodologies in roadway projects</a:t>
            </a:r>
          </a:p>
          <a:p>
            <a:pPr marL="0" indent="0">
              <a:buNone/>
            </a:pPr>
            <a:endParaRPr lang="en-US" sz="1800" dirty="0">
              <a:latin typeface="Calibri" panose="020F0502020204030204" pitchFamily="34" charset="0"/>
              <a:cs typeface="Calibri" panose="020F0502020204030204" pitchFamily="34" charset="0"/>
            </a:endParaRPr>
          </a:p>
          <a:p>
            <a:pPr>
              <a:buFont typeface="Wingdings" panose="05000000000000000000" pitchFamily="2" charset="2"/>
              <a:buChar char="§"/>
            </a:pPr>
            <a:endParaRPr lang="en-US" sz="1800" dirty="0">
              <a:latin typeface="Calibri" panose="020F0502020204030204" pitchFamily="34" charset="0"/>
              <a:cs typeface="Calibri" panose="020F0502020204030204" pitchFamily="34" charset="0"/>
            </a:endParaRPr>
          </a:p>
          <a:p>
            <a:endParaRPr lang="en-US" dirty="0"/>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420" t="1" r="5275" b="36244"/>
          <a:stretch/>
        </p:blipFill>
        <p:spPr>
          <a:xfrm>
            <a:off x="7120466" y="1238251"/>
            <a:ext cx="4782364" cy="2424882"/>
          </a:xfrm>
          <a:prstGeom prst="rect">
            <a:avLst/>
          </a:prstGeom>
          <a:noFill/>
          <a:ln>
            <a:noFill/>
          </a:ln>
        </p:spPr>
      </p:pic>
      <p:pic>
        <p:nvPicPr>
          <p:cNvPr id="9"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23863"/>
          <a:stretch/>
        </p:blipFill>
        <p:spPr bwMode="auto">
          <a:xfrm>
            <a:off x="7120466" y="3587967"/>
            <a:ext cx="4782363" cy="26063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13329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Allocation</a:t>
            </a:r>
            <a:endParaRPr lang="en-US" dirty="0"/>
          </a:p>
        </p:txBody>
      </p:sp>
      <p:sp>
        <p:nvSpPr>
          <p:cNvPr id="6" name="Text Placeholder 5"/>
          <p:cNvSpPr>
            <a:spLocks noGrp="1"/>
          </p:cNvSpPr>
          <p:nvPr>
            <p:ph type="body" sz="quarter" idx="12"/>
          </p:nvPr>
        </p:nvSpPr>
        <p:spPr/>
        <p:txBody>
          <a:bodyPr/>
          <a:lstStyle/>
          <a:p>
            <a:r>
              <a:rPr lang="en-US" dirty="0" smtClean="0"/>
              <a:t>Understanding Drivers</a:t>
            </a:r>
            <a:endParaRPr lang="en-US" dirty="0"/>
          </a:p>
        </p:txBody>
      </p:sp>
      <p:graphicFrame>
        <p:nvGraphicFramePr>
          <p:cNvPr id="7" name="Diagram 6"/>
          <p:cNvGraphicFramePr/>
          <p:nvPr>
            <p:extLst>
              <p:ext uri="{D42A27DB-BD31-4B8C-83A1-F6EECF244321}">
                <p14:modId xmlns:p14="http://schemas.microsoft.com/office/powerpoint/2010/main" val="1507775464"/>
              </p:ext>
            </p:extLst>
          </p:nvPr>
        </p:nvGraphicFramePr>
        <p:xfrm>
          <a:off x="764275" y="1624084"/>
          <a:ext cx="10740787" cy="35211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38027361"/>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isk Allocation</a:t>
            </a:r>
            <a:endParaRPr lang="en-US" dirty="0"/>
          </a:p>
        </p:txBody>
      </p:sp>
      <p:sp>
        <p:nvSpPr>
          <p:cNvPr id="5" name="Text Placeholder 4"/>
          <p:cNvSpPr>
            <a:spLocks noGrp="1"/>
          </p:cNvSpPr>
          <p:nvPr>
            <p:ph type="body" sz="quarter" idx="10"/>
          </p:nvPr>
        </p:nvSpPr>
        <p:spPr>
          <a:xfrm>
            <a:off x="468923" y="1238249"/>
            <a:ext cx="4771818" cy="4671483"/>
          </a:xfrm>
        </p:spPr>
        <p:txBody>
          <a:bodyPr/>
          <a:lstStyle/>
          <a:p>
            <a:pPr marL="0" indent="0">
              <a:buNone/>
            </a:pPr>
            <a:r>
              <a:rPr lang="en-US" b="1" dirty="0" smtClean="0"/>
              <a:t>Government </a:t>
            </a:r>
            <a:r>
              <a:rPr lang="en-US" b="1" dirty="0"/>
              <a:t>Policy</a:t>
            </a:r>
          </a:p>
          <a:p>
            <a:pPr marL="0" indent="0">
              <a:buNone/>
            </a:pPr>
            <a:endParaRPr lang="en-US" dirty="0"/>
          </a:p>
          <a:p>
            <a:pPr marL="0" indent="0">
              <a:buNone/>
            </a:pPr>
            <a:r>
              <a:rPr lang="en-US" dirty="0">
                <a:latin typeface="Calibri" panose="020F0502020204030204" pitchFamily="34" charset="0"/>
                <a:cs typeface="Calibri" panose="020F0502020204030204" pitchFamily="34" charset="0"/>
              </a:rPr>
              <a:t>Prescribe codes and specifications which require greater consideration of climate</a:t>
            </a:r>
          </a:p>
          <a:p>
            <a:pPr marL="0" indent="0">
              <a:buNone/>
            </a:pPr>
            <a:endParaRPr lang="en-US" b="1" dirty="0">
              <a:latin typeface="Calibri" panose="020F0502020204030204" pitchFamily="34" charset="0"/>
              <a:cs typeface="Calibri" panose="020F0502020204030204" pitchFamily="34" charset="0"/>
            </a:endParaRPr>
          </a:p>
          <a:p>
            <a:pPr lvl="1"/>
            <a:r>
              <a:rPr lang="en-US" dirty="0">
                <a:latin typeface="Calibri" panose="020F0502020204030204" pitchFamily="34" charset="0"/>
                <a:cs typeface="Calibri" panose="020F0502020204030204" pitchFamily="34" charset="0"/>
              </a:rPr>
              <a:t>Avoid backwards looking Design Events (50 year, 100 year) </a:t>
            </a:r>
          </a:p>
          <a:p>
            <a:pPr lvl="1"/>
            <a:r>
              <a:rPr lang="en-US" dirty="0">
                <a:latin typeface="Calibri" panose="020F0502020204030204" pitchFamily="34" charset="0"/>
                <a:cs typeface="Calibri" panose="020F0502020204030204" pitchFamily="34" charset="0"/>
              </a:rPr>
              <a:t>Include changing Factors of Safety</a:t>
            </a:r>
          </a:p>
          <a:p>
            <a:pPr lvl="1"/>
            <a:r>
              <a:rPr lang="en-US" dirty="0">
                <a:latin typeface="Calibri" panose="020F0502020204030204" pitchFamily="34" charset="0"/>
                <a:cs typeface="Calibri" panose="020F0502020204030204" pitchFamily="34" charset="0"/>
              </a:rPr>
              <a:t>Encourage consideration of </a:t>
            </a:r>
            <a:r>
              <a:rPr lang="en-US" dirty="0" err="1">
                <a:latin typeface="Calibri" panose="020F0502020204030204" pitchFamily="34" charset="0"/>
                <a:cs typeface="Calibri" panose="020F0502020204030204" pitchFamily="34" charset="0"/>
              </a:rPr>
              <a:t>VfM</a:t>
            </a:r>
            <a:r>
              <a:rPr lang="en-US" dirty="0">
                <a:latin typeface="Calibri" panose="020F0502020204030204" pitchFamily="34" charset="0"/>
                <a:cs typeface="Calibri" panose="020F0502020204030204" pitchFamily="34" charset="0"/>
              </a:rPr>
              <a:t> thinking in design </a:t>
            </a:r>
            <a:r>
              <a:rPr lang="en-US" dirty="0" smtClean="0">
                <a:latin typeface="Calibri" panose="020F0502020204030204" pitchFamily="34" charset="0"/>
                <a:cs typeface="Calibri" panose="020F0502020204030204" pitchFamily="34" charset="0"/>
              </a:rPr>
              <a:t>standards</a:t>
            </a:r>
          </a:p>
          <a:p>
            <a:pPr lvl="1"/>
            <a:endParaRPr lang="en-US" dirty="0">
              <a:latin typeface="Calibri" panose="020F0502020204030204" pitchFamily="34" charset="0"/>
              <a:cs typeface="Calibri" panose="020F0502020204030204" pitchFamily="34" charset="0"/>
            </a:endParaRPr>
          </a:p>
          <a:p>
            <a:pPr marL="0" indent="0">
              <a:buNone/>
            </a:pPr>
            <a:r>
              <a:rPr lang="en-US" b="1" dirty="0"/>
              <a:t>Fiscal </a:t>
            </a:r>
            <a:r>
              <a:rPr lang="en-US" b="1" dirty="0" smtClean="0"/>
              <a:t>Incentives</a:t>
            </a:r>
          </a:p>
          <a:p>
            <a:pPr marL="0" indent="0">
              <a:buNone/>
            </a:pPr>
            <a:endParaRPr lang="en-US" dirty="0"/>
          </a:p>
          <a:p>
            <a:r>
              <a:rPr lang="en-US" dirty="0">
                <a:latin typeface="Calibri" panose="020F0502020204030204" pitchFamily="34" charset="0"/>
                <a:cs typeface="Calibri" panose="020F0502020204030204" pitchFamily="34" charset="0"/>
              </a:rPr>
              <a:t>Push for Insurance rebates for Resilience measures which can prove reduced exposure to insurance providers.</a:t>
            </a:r>
          </a:p>
          <a:p>
            <a:r>
              <a:rPr lang="en-US" dirty="0">
                <a:latin typeface="Calibri" panose="020F0502020204030204" pitchFamily="34" charset="0"/>
                <a:cs typeface="Calibri" panose="020F0502020204030204" pitchFamily="34" charset="0"/>
              </a:rPr>
              <a:t>Floodplain reduction due to roadway project</a:t>
            </a:r>
          </a:p>
          <a:p>
            <a:r>
              <a:rPr lang="en-US" dirty="0">
                <a:latin typeface="Calibri" panose="020F0502020204030204" pitchFamily="34" charset="0"/>
                <a:cs typeface="Calibri" panose="020F0502020204030204" pitchFamily="34" charset="0"/>
              </a:rPr>
              <a:t>Evacuation pathways protect lives</a:t>
            </a:r>
          </a:p>
          <a:p>
            <a:r>
              <a:rPr lang="en-US" dirty="0">
                <a:latin typeface="Calibri" panose="020F0502020204030204" pitchFamily="34" charset="0"/>
                <a:cs typeface="Calibri" panose="020F0502020204030204" pitchFamily="34" charset="0"/>
              </a:rPr>
              <a:t>Access routes reduce repair time and related business downtime</a:t>
            </a:r>
          </a:p>
          <a:p>
            <a:pPr marL="0" lvl="1" indent="0">
              <a:buNone/>
            </a:pPr>
            <a:endParaRPr lang="en-US" dirty="0">
              <a:latin typeface="Calibri" panose="020F0502020204030204" pitchFamily="34" charset="0"/>
              <a:cs typeface="Calibri" panose="020F0502020204030204" pitchFamily="34" charset="0"/>
            </a:endParaRPr>
          </a:p>
          <a:p>
            <a:pPr marL="0" indent="0">
              <a:buNone/>
            </a:pPr>
            <a:endParaRPr lang="en-US" dirty="0"/>
          </a:p>
        </p:txBody>
      </p:sp>
      <p:sp>
        <p:nvSpPr>
          <p:cNvPr id="6" name="Text Placeholder 5"/>
          <p:cNvSpPr>
            <a:spLocks noGrp="1"/>
          </p:cNvSpPr>
          <p:nvPr>
            <p:ph type="body" sz="quarter" idx="11"/>
          </p:nvPr>
        </p:nvSpPr>
        <p:spPr/>
        <p:txBody>
          <a:bodyPr/>
          <a:lstStyle/>
          <a:p>
            <a:endParaRPr lang="en-US"/>
          </a:p>
        </p:txBody>
      </p:sp>
      <p:sp>
        <p:nvSpPr>
          <p:cNvPr id="7" name="Text Placeholder 6"/>
          <p:cNvSpPr>
            <a:spLocks noGrp="1"/>
          </p:cNvSpPr>
          <p:nvPr>
            <p:ph type="body" sz="quarter" idx="12"/>
          </p:nvPr>
        </p:nvSpPr>
        <p:spPr/>
        <p:txBody>
          <a:bodyPr/>
          <a:lstStyle/>
          <a:p>
            <a:r>
              <a:rPr lang="en-US" dirty="0" smtClean="0"/>
              <a:t>Mitigation Measur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3871909918"/>
              </p:ext>
            </p:extLst>
          </p:nvPr>
        </p:nvGraphicFramePr>
        <p:xfrm>
          <a:off x="5240741" y="1135062"/>
          <a:ext cx="6727300" cy="5033727"/>
        </p:xfrm>
        <a:graphic>
          <a:graphicData uri="http://schemas.openxmlformats.org/drawingml/2006/table">
            <a:tbl>
              <a:tblPr firstRow="1" firstCol="1" bandRow="1">
                <a:tableStyleId>{21E4AEA4-8DFA-4A89-87EB-49C32662AFE0}</a:tableStyleId>
              </a:tblPr>
              <a:tblGrid>
                <a:gridCol w="1635144"/>
                <a:gridCol w="1727786"/>
                <a:gridCol w="1682185"/>
                <a:gridCol w="1682185"/>
              </a:tblGrid>
              <a:tr h="526228">
                <a:tc>
                  <a:txBody>
                    <a:bodyPr/>
                    <a:lstStyle/>
                    <a:p>
                      <a:pPr marL="0" marR="0">
                        <a:lnSpc>
                          <a:spcPct val="100000"/>
                        </a:lnSpc>
                        <a:spcBef>
                          <a:spcPts val="285"/>
                        </a:spcBef>
                        <a:spcAft>
                          <a:spcPts val="285"/>
                        </a:spcAft>
                      </a:pPr>
                      <a:r>
                        <a:rPr lang="en-GB" sz="1600" dirty="0">
                          <a:effectLst/>
                        </a:rPr>
                        <a:t>Stakeholder</a:t>
                      </a:r>
                      <a:endParaRPr lang="en-US"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solidFill>
                      <a:schemeClr val="accent2">
                        <a:lumMod val="50000"/>
                      </a:schemeClr>
                    </a:solidFill>
                  </a:tcPr>
                </a:tc>
                <a:tc>
                  <a:txBody>
                    <a:bodyPr/>
                    <a:lstStyle/>
                    <a:p>
                      <a:pPr marL="0" marR="0">
                        <a:lnSpc>
                          <a:spcPct val="100000"/>
                        </a:lnSpc>
                        <a:spcBef>
                          <a:spcPts val="285"/>
                        </a:spcBef>
                        <a:spcAft>
                          <a:spcPts val="285"/>
                        </a:spcAft>
                      </a:pPr>
                      <a:r>
                        <a:rPr lang="en-GB" sz="1600" dirty="0">
                          <a:effectLst/>
                        </a:rPr>
                        <a:t>Traditional Risk Mitigation</a:t>
                      </a:r>
                      <a:endParaRPr lang="en-US"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solidFill>
                      <a:schemeClr val="accent2">
                        <a:lumMod val="50000"/>
                      </a:schemeClr>
                    </a:solidFill>
                  </a:tcPr>
                </a:tc>
                <a:tc>
                  <a:txBody>
                    <a:bodyPr/>
                    <a:lstStyle/>
                    <a:p>
                      <a:pPr marL="0" marR="0">
                        <a:lnSpc>
                          <a:spcPct val="100000"/>
                        </a:lnSpc>
                        <a:spcBef>
                          <a:spcPts val="285"/>
                        </a:spcBef>
                        <a:spcAft>
                          <a:spcPts val="285"/>
                        </a:spcAft>
                      </a:pPr>
                      <a:r>
                        <a:rPr lang="en-GB" sz="1600" dirty="0">
                          <a:effectLst/>
                        </a:rPr>
                        <a:t>Expanded Risk Mitigation</a:t>
                      </a:r>
                      <a:endParaRPr lang="en-US"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solidFill>
                      <a:schemeClr val="accent2">
                        <a:lumMod val="50000"/>
                      </a:schemeClr>
                    </a:solidFill>
                  </a:tcPr>
                </a:tc>
                <a:tc>
                  <a:txBody>
                    <a:bodyPr/>
                    <a:lstStyle/>
                    <a:p>
                      <a:pPr marL="0" marR="0">
                        <a:lnSpc>
                          <a:spcPct val="100000"/>
                        </a:lnSpc>
                        <a:spcBef>
                          <a:spcPts val="285"/>
                        </a:spcBef>
                        <a:spcAft>
                          <a:spcPts val="285"/>
                        </a:spcAft>
                      </a:pPr>
                      <a:r>
                        <a:rPr lang="en-GB" sz="1600" dirty="0">
                          <a:effectLst/>
                        </a:rPr>
                        <a:t>Value Capture Methodology</a:t>
                      </a:r>
                      <a:endParaRPr lang="en-US" sz="16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solidFill>
                      <a:schemeClr val="accent2">
                        <a:lumMod val="50000"/>
                      </a:schemeClr>
                    </a:solidFill>
                  </a:tcPr>
                </a:tc>
              </a:tr>
              <a:tr h="690675">
                <a:tc>
                  <a:txBody>
                    <a:bodyPr/>
                    <a:lstStyle/>
                    <a:p>
                      <a:pPr marL="0" marR="0">
                        <a:lnSpc>
                          <a:spcPct val="100000"/>
                        </a:lnSpc>
                        <a:spcBef>
                          <a:spcPts val="285"/>
                        </a:spcBef>
                        <a:spcAft>
                          <a:spcPts val="285"/>
                        </a:spcAft>
                      </a:pPr>
                      <a:r>
                        <a:rPr lang="en-GB" sz="1400" dirty="0">
                          <a:effectLst/>
                        </a:rPr>
                        <a:t>Asset Owner </a:t>
                      </a:r>
                      <a:endParaRPr lang="en-US" sz="1400" dirty="0">
                        <a:effectLst/>
                      </a:endParaRPr>
                    </a:p>
                    <a:p>
                      <a:pPr marL="0" marR="0">
                        <a:lnSpc>
                          <a:spcPct val="100000"/>
                        </a:lnSpc>
                        <a:spcBef>
                          <a:spcPts val="285"/>
                        </a:spcBef>
                        <a:spcAft>
                          <a:spcPts val="285"/>
                        </a:spcAft>
                      </a:pPr>
                      <a:r>
                        <a:rPr lang="en-GB" sz="1400" dirty="0">
                          <a:effectLst/>
                        </a:rPr>
                        <a:t>Executing Agency</a:t>
                      </a:r>
                      <a:endParaRPr lang="en-US" sz="14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Issue Design Standard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Offer Performance Incentive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a:effectLst/>
                          <a:latin typeface="Calibri" panose="020F0502020204030204" pitchFamily="34" charset="0"/>
                          <a:cs typeface="Calibri" panose="020F0502020204030204" pitchFamily="34" charset="0"/>
                        </a:rPr>
                        <a:t>Set stringent Availability based payments</a:t>
                      </a:r>
                      <a:endParaRPr lang="en-US" sz="14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690675">
                <a:tc>
                  <a:txBody>
                    <a:bodyPr/>
                    <a:lstStyle/>
                    <a:p>
                      <a:pPr marL="0" marR="0">
                        <a:lnSpc>
                          <a:spcPct val="100000"/>
                        </a:lnSpc>
                        <a:spcBef>
                          <a:spcPts val="285"/>
                        </a:spcBef>
                        <a:spcAft>
                          <a:spcPts val="285"/>
                        </a:spcAft>
                      </a:pPr>
                      <a:r>
                        <a:rPr lang="en-GB" sz="1400" dirty="0">
                          <a:effectLst/>
                        </a:rPr>
                        <a:t>Funding Partner</a:t>
                      </a:r>
                      <a:endParaRPr lang="en-US" sz="1400" dirty="0">
                        <a:effectLst/>
                      </a:endParaRPr>
                    </a:p>
                    <a:p>
                      <a:pPr marL="0" marR="0">
                        <a:lnSpc>
                          <a:spcPct val="100000"/>
                        </a:lnSpc>
                        <a:spcBef>
                          <a:spcPts val="285"/>
                        </a:spcBef>
                        <a:spcAft>
                          <a:spcPts val="285"/>
                        </a:spcAft>
                      </a:pPr>
                      <a:r>
                        <a:rPr lang="en-GB" sz="1400" dirty="0">
                          <a:effectLst/>
                        </a:rPr>
                        <a:t>ADB</a:t>
                      </a:r>
                      <a:endParaRPr lang="en-US" sz="14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Require Loan Repayment</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Reduce Interest Rate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a:effectLst/>
                          <a:latin typeface="Calibri" panose="020F0502020204030204" pitchFamily="34" charset="0"/>
                          <a:cs typeface="Calibri" panose="020F0502020204030204" pitchFamily="34" charset="0"/>
                        </a:rPr>
                        <a:t>Offer Improved Credit Rating for Protected Assets</a:t>
                      </a:r>
                      <a:endParaRPr lang="en-US" sz="14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772898">
                <a:tc>
                  <a:txBody>
                    <a:bodyPr/>
                    <a:lstStyle/>
                    <a:p>
                      <a:pPr marL="0" marR="0">
                        <a:lnSpc>
                          <a:spcPct val="100000"/>
                        </a:lnSpc>
                        <a:spcBef>
                          <a:spcPts val="285"/>
                        </a:spcBef>
                        <a:spcAft>
                          <a:spcPts val="285"/>
                        </a:spcAft>
                      </a:pPr>
                      <a:r>
                        <a:rPr lang="en-GB" sz="1400">
                          <a:effectLst/>
                        </a:rPr>
                        <a:t>Developer</a:t>
                      </a:r>
                      <a:endParaRPr lang="en-US" sz="1400">
                        <a:effectLst/>
                      </a:endParaRPr>
                    </a:p>
                    <a:p>
                      <a:pPr marL="0" marR="0">
                        <a:lnSpc>
                          <a:spcPct val="100000"/>
                        </a:lnSpc>
                        <a:spcBef>
                          <a:spcPts val="285"/>
                        </a:spcBef>
                        <a:spcAft>
                          <a:spcPts val="285"/>
                        </a:spcAft>
                      </a:pPr>
                      <a:r>
                        <a:rPr lang="en-GB" sz="1400">
                          <a:effectLst/>
                        </a:rPr>
                        <a:t>Construction Contractor</a:t>
                      </a:r>
                      <a:endParaRPr lang="en-US" sz="140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Contractual Transfer</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Require Business continuity management plan</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a:effectLst/>
                          <a:latin typeface="Calibri" panose="020F0502020204030204" pitchFamily="34" charset="0"/>
                          <a:cs typeface="Calibri" panose="020F0502020204030204" pitchFamily="34" charset="0"/>
                        </a:rPr>
                        <a:t> </a:t>
                      </a:r>
                      <a:endParaRPr lang="en-US" sz="14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551903">
                <a:tc>
                  <a:txBody>
                    <a:bodyPr/>
                    <a:lstStyle/>
                    <a:p>
                      <a:pPr marL="0" marR="0">
                        <a:lnSpc>
                          <a:spcPct val="100000"/>
                        </a:lnSpc>
                        <a:spcBef>
                          <a:spcPts val="285"/>
                        </a:spcBef>
                        <a:spcAft>
                          <a:spcPts val="285"/>
                        </a:spcAft>
                      </a:pPr>
                      <a:r>
                        <a:rPr lang="en-GB" sz="1400">
                          <a:effectLst/>
                        </a:rPr>
                        <a:t>PMU</a:t>
                      </a:r>
                      <a:endParaRPr lang="en-US" sz="1400">
                        <a:effectLst/>
                      </a:endParaRPr>
                    </a:p>
                    <a:p>
                      <a:pPr marL="0" marR="0">
                        <a:lnSpc>
                          <a:spcPct val="100000"/>
                        </a:lnSpc>
                        <a:spcBef>
                          <a:spcPts val="285"/>
                        </a:spcBef>
                        <a:spcAft>
                          <a:spcPts val="285"/>
                        </a:spcAft>
                      </a:pPr>
                      <a:r>
                        <a:rPr lang="en-GB" sz="1400">
                          <a:effectLst/>
                        </a:rPr>
                        <a:t>O&amp;M Contractor</a:t>
                      </a:r>
                      <a:endParaRPr lang="en-US" sz="140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Purchase Insurance</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Harden Asset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Increase Asset Robustnes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476547">
                <a:tc>
                  <a:txBody>
                    <a:bodyPr/>
                    <a:lstStyle/>
                    <a:p>
                      <a:pPr marL="0" marR="0">
                        <a:lnSpc>
                          <a:spcPct val="100000"/>
                        </a:lnSpc>
                        <a:spcBef>
                          <a:spcPts val="285"/>
                        </a:spcBef>
                        <a:spcAft>
                          <a:spcPts val="285"/>
                        </a:spcAft>
                      </a:pPr>
                      <a:r>
                        <a:rPr lang="en-GB" sz="1400">
                          <a:effectLst/>
                        </a:rPr>
                        <a:t>Private Insurer</a:t>
                      </a:r>
                      <a:endParaRPr lang="en-US" sz="140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Set Liability Limitation</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a:effectLst/>
                          <a:latin typeface="Calibri" panose="020F0502020204030204" pitchFamily="34" charset="0"/>
                          <a:cs typeface="Calibri" panose="020F0502020204030204" pitchFamily="34" charset="0"/>
                        </a:rPr>
                        <a:t>Offer Premium Discounts</a:t>
                      </a:r>
                      <a:endParaRPr lang="en-US" sz="14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Risk Reduction</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772898">
                <a:tc>
                  <a:txBody>
                    <a:bodyPr/>
                    <a:lstStyle/>
                    <a:p>
                      <a:pPr marL="0" marR="0">
                        <a:lnSpc>
                          <a:spcPct val="100000"/>
                        </a:lnSpc>
                        <a:spcBef>
                          <a:spcPts val="285"/>
                        </a:spcBef>
                        <a:spcAft>
                          <a:spcPts val="285"/>
                        </a:spcAft>
                      </a:pPr>
                      <a:r>
                        <a:rPr lang="en-GB" sz="1400">
                          <a:effectLst/>
                        </a:rPr>
                        <a:t>Disaster Fund</a:t>
                      </a:r>
                      <a:endParaRPr lang="en-US" sz="1400">
                        <a:effectLst/>
                      </a:endParaRPr>
                    </a:p>
                    <a:p>
                      <a:pPr marL="0" marR="0">
                        <a:lnSpc>
                          <a:spcPct val="100000"/>
                        </a:lnSpc>
                        <a:spcBef>
                          <a:spcPts val="285"/>
                        </a:spcBef>
                        <a:spcAft>
                          <a:spcPts val="285"/>
                        </a:spcAft>
                      </a:pPr>
                      <a:r>
                        <a:rPr lang="en-GB" sz="1400">
                          <a:effectLst/>
                        </a:rPr>
                        <a:t>National Government</a:t>
                      </a:r>
                      <a:endParaRPr lang="en-US" sz="140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Accept </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Offer Hazard Mitigation incentive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Expand Incentives for Regional Protection</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551903">
                <a:tc>
                  <a:txBody>
                    <a:bodyPr/>
                    <a:lstStyle/>
                    <a:p>
                      <a:pPr marL="0" marR="0">
                        <a:lnSpc>
                          <a:spcPct val="100000"/>
                        </a:lnSpc>
                        <a:spcBef>
                          <a:spcPts val="285"/>
                        </a:spcBef>
                        <a:spcAft>
                          <a:spcPts val="285"/>
                        </a:spcAft>
                      </a:pPr>
                      <a:r>
                        <a:rPr lang="en-GB" sz="1400">
                          <a:effectLst/>
                        </a:rPr>
                        <a:t>Community</a:t>
                      </a:r>
                      <a:endParaRPr lang="en-US" sz="1400">
                        <a:effectLst/>
                      </a:endParaRPr>
                    </a:p>
                    <a:p>
                      <a:pPr marL="0" marR="0">
                        <a:lnSpc>
                          <a:spcPct val="100000"/>
                        </a:lnSpc>
                        <a:spcBef>
                          <a:spcPts val="285"/>
                        </a:spcBef>
                        <a:spcAft>
                          <a:spcPts val="285"/>
                        </a:spcAft>
                      </a:pPr>
                      <a:r>
                        <a:rPr lang="en-GB" sz="1400">
                          <a:effectLst/>
                        </a:rPr>
                        <a:t>Region</a:t>
                      </a:r>
                      <a:endParaRPr lang="en-US" sz="140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GB" sz="1400">
                          <a:effectLst/>
                          <a:latin typeface="Calibri" panose="020F0502020204030204" pitchFamily="34" charset="0"/>
                          <a:cs typeface="Calibri" panose="020F0502020204030204" pitchFamily="34" charset="0"/>
                        </a:rPr>
                        <a:t>Locally Funded</a:t>
                      </a:r>
                      <a:endParaRPr lang="en-US" sz="140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Invest in Maintenance </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GB" sz="1400" dirty="0">
                          <a:effectLst/>
                          <a:latin typeface="Calibri" panose="020F0502020204030204" pitchFamily="34" charset="0"/>
                          <a:cs typeface="Calibri" panose="020F0502020204030204" pitchFamily="34" charset="0"/>
                        </a:rPr>
                        <a:t>Land Value</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bl>
          </a:graphicData>
        </a:graphic>
      </p:graphicFrame>
    </p:spTree>
    <p:extLst>
      <p:ext uri="{BB962C8B-B14F-4D97-AF65-F5344CB8AC3E}">
        <p14:creationId xmlns:p14="http://schemas.microsoft.com/office/powerpoint/2010/main" val="211373041"/>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Allocation</a:t>
            </a:r>
            <a:endParaRPr lang="en-US" dirty="0"/>
          </a:p>
        </p:txBody>
      </p:sp>
      <p:sp>
        <p:nvSpPr>
          <p:cNvPr id="6" name="Text Placeholder 5"/>
          <p:cNvSpPr>
            <a:spLocks noGrp="1"/>
          </p:cNvSpPr>
          <p:nvPr>
            <p:ph type="body" sz="quarter" idx="12"/>
          </p:nvPr>
        </p:nvSpPr>
        <p:spPr/>
        <p:txBody>
          <a:bodyPr/>
          <a:lstStyle/>
          <a:p>
            <a:r>
              <a:rPr lang="en-US" dirty="0" smtClean="0"/>
              <a:t>Contractual </a:t>
            </a:r>
            <a:r>
              <a:rPr lang="en-US" dirty="0"/>
              <a:t>Language</a:t>
            </a:r>
          </a:p>
        </p:txBody>
      </p:sp>
      <p:graphicFrame>
        <p:nvGraphicFramePr>
          <p:cNvPr id="7" name="Diagram 6"/>
          <p:cNvGraphicFramePr/>
          <p:nvPr>
            <p:extLst>
              <p:ext uri="{D42A27DB-BD31-4B8C-83A1-F6EECF244321}">
                <p14:modId xmlns:p14="http://schemas.microsoft.com/office/powerpoint/2010/main" val="3715434943"/>
              </p:ext>
            </p:extLst>
          </p:nvPr>
        </p:nvGraphicFramePr>
        <p:xfrm>
          <a:off x="468922" y="1135064"/>
          <a:ext cx="11433909" cy="50371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6519783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Allocation</a:t>
            </a:r>
            <a:endParaRPr lang="en-US" dirty="0"/>
          </a:p>
        </p:txBody>
      </p:sp>
      <p:sp>
        <p:nvSpPr>
          <p:cNvPr id="4" name="Text Placeholder 3"/>
          <p:cNvSpPr>
            <a:spLocks noGrp="1"/>
          </p:cNvSpPr>
          <p:nvPr>
            <p:ph type="body" sz="quarter" idx="10"/>
          </p:nvPr>
        </p:nvSpPr>
        <p:spPr>
          <a:xfrm>
            <a:off x="468922" y="1238250"/>
            <a:ext cx="5406293" cy="4873792"/>
          </a:xfrm>
        </p:spPr>
        <p:txBody>
          <a:bodyPr/>
          <a:lstStyle/>
          <a:p>
            <a:pPr marL="0" indent="0" fontAlgn="base">
              <a:buNone/>
            </a:pPr>
            <a:r>
              <a:rPr lang="en-US" dirty="0">
                <a:latin typeface="Calibri" panose="020F0502020204030204" pitchFamily="34" charset="0"/>
                <a:cs typeface="Calibri" panose="020F0502020204030204" pitchFamily="34" charset="0"/>
              </a:rPr>
              <a:t/>
            </a:r>
            <a:br>
              <a:rPr lang="en-US" dirty="0">
                <a:latin typeface="Calibri" panose="020F0502020204030204" pitchFamily="34" charset="0"/>
                <a:cs typeface="Calibri" panose="020F0502020204030204" pitchFamily="34" charset="0"/>
              </a:rPr>
            </a:br>
            <a:endParaRPr lang="en-US" b="1" dirty="0" smtClean="0">
              <a:latin typeface="Calibri" panose="020F0502020204030204" pitchFamily="34" charset="0"/>
              <a:cs typeface="Calibri" panose="020F0502020204030204" pitchFamily="34" charset="0"/>
            </a:endParaRPr>
          </a:p>
        </p:txBody>
      </p:sp>
      <p:sp>
        <p:nvSpPr>
          <p:cNvPr id="5" name="Text Placeholder 4"/>
          <p:cNvSpPr>
            <a:spLocks noGrp="1"/>
          </p:cNvSpPr>
          <p:nvPr>
            <p:ph type="body" sz="quarter" idx="11"/>
          </p:nvPr>
        </p:nvSpPr>
        <p:spPr/>
        <p:txBody>
          <a:bodyPr/>
          <a:lstStyle/>
          <a:p>
            <a:pPr marL="0" indent="0">
              <a:buNone/>
            </a:pPr>
            <a:endParaRPr lang="en-US" b="1" dirty="0" smtClean="0">
              <a:latin typeface="Calibri" panose="020F0502020204030204" pitchFamily="34" charset="0"/>
              <a:cs typeface="Calibri" panose="020F0502020204030204" pitchFamily="34" charset="0"/>
            </a:endParaRPr>
          </a:p>
        </p:txBody>
      </p:sp>
      <p:sp>
        <p:nvSpPr>
          <p:cNvPr id="6" name="Text Placeholder 5"/>
          <p:cNvSpPr>
            <a:spLocks noGrp="1"/>
          </p:cNvSpPr>
          <p:nvPr>
            <p:ph type="body" sz="quarter" idx="12"/>
          </p:nvPr>
        </p:nvSpPr>
        <p:spPr/>
        <p:txBody>
          <a:bodyPr/>
          <a:lstStyle/>
          <a:p>
            <a:r>
              <a:rPr lang="en-US" dirty="0" smtClean="0"/>
              <a:t>Contractual </a:t>
            </a:r>
            <a:r>
              <a:rPr lang="en-US" dirty="0"/>
              <a:t>Language</a:t>
            </a:r>
          </a:p>
        </p:txBody>
      </p:sp>
      <p:graphicFrame>
        <p:nvGraphicFramePr>
          <p:cNvPr id="2" name="Table 1"/>
          <p:cNvGraphicFramePr>
            <a:graphicFrameLocks noGrp="1"/>
          </p:cNvGraphicFramePr>
          <p:nvPr>
            <p:extLst>
              <p:ext uri="{D42A27DB-BD31-4B8C-83A1-F6EECF244321}">
                <p14:modId xmlns:p14="http://schemas.microsoft.com/office/powerpoint/2010/main" val="358454806"/>
              </p:ext>
            </p:extLst>
          </p:nvPr>
        </p:nvGraphicFramePr>
        <p:xfrm>
          <a:off x="322386" y="1250950"/>
          <a:ext cx="11580445" cy="4861092"/>
        </p:xfrm>
        <a:graphic>
          <a:graphicData uri="http://schemas.openxmlformats.org/drawingml/2006/table">
            <a:tbl>
              <a:tblPr firstRow="1" firstCol="1" bandRow="1">
                <a:tableStyleId>{5C22544A-7EE6-4342-B048-85BDC9FD1C3A}</a:tableStyleId>
              </a:tblPr>
              <a:tblGrid>
                <a:gridCol w="3226424"/>
                <a:gridCol w="1783512"/>
                <a:gridCol w="3232616"/>
                <a:gridCol w="3337893"/>
              </a:tblGrid>
              <a:tr h="4861092">
                <a:tc>
                  <a:txBody>
                    <a:bodyPr/>
                    <a:lstStyle/>
                    <a:p>
                      <a:pPr marL="0" marR="0">
                        <a:lnSpc>
                          <a:spcPct val="150000"/>
                        </a:lnSpc>
                        <a:spcBef>
                          <a:spcPts val="0"/>
                        </a:spcBef>
                        <a:spcAft>
                          <a:spcPts val="0"/>
                        </a:spcAft>
                      </a:pPr>
                      <a:r>
                        <a:rPr lang="en-US" sz="2000" dirty="0">
                          <a:solidFill>
                            <a:schemeClr val="bg1"/>
                          </a:solidFill>
                          <a:effectLst/>
                          <a:latin typeface="+mj-lt"/>
                          <a:cs typeface="Arial" panose="020B0604020202020204" pitchFamily="34" charset="0"/>
                        </a:rPr>
                        <a:t>Event of Force Majeure </a:t>
                      </a:r>
                    </a:p>
                    <a:p>
                      <a:pPr marL="0" marR="0">
                        <a:lnSpc>
                          <a:spcPct val="150000"/>
                        </a:lnSpc>
                        <a:spcBef>
                          <a:spcPts val="850"/>
                        </a:spcBef>
                        <a:spcAft>
                          <a:spcPts val="850"/>
                        </a:spcAft>
                      </a:pPr>
                      <a:r>
                        <a:rPr lang="en-US" sz="1600" b="0" dirty="0">
                          <a:effectLst/>
                          <a:latin typeface="Arial" panose="020B0604020202020204" pitchFamily="34" charset="0"/>
                          <a:cs typeface="Arial" panose="020B0604020202020204" pitchFamily="34" charset="0"/>
                        </a:rPr>
                        <a:t>Means an event beyond the control of the Authority and the Operator, which prevents a Party from complying with any of its obligations under this Contract, including but not limited to: act of God (such as, but not limited to, fires, explosions, earthquakes, drought, tidal waves and floods).</a:t>
                      </a:r>
                      <a:endParaRPr lang="en-US" sz="1600" b="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solidFill>
                      <a:schemeClr val="accent2">
                        <a:lumMod val="50000"/>
                      </a:schemeClr>
                    </a:solidFill>
                  </a:tcPr>
                </a:tc>
                <a:tc>
                  <a:txBody>
                    <a:bodyPr/>
                    <a:lstStyle/>
                    <a:p>
                      <a:pPr marL="0" marR="0">
                        <a:lnSpc>
                          <a:spcPct val="150000"/>
                        </a:lnSpc>
                        <a:spcBef>
                          <a:spcPts val="0"/>
                        </a:spcBef>
                        <a:spcAft>
                          <a:spcPts val="0"/>
                        </a:spcAft>
                      </a:pPr>
                      <a:r>
                        <a:rPr lang="en-US" sz="2000" dirty="0">
                          <a:solidFill>
                            <a:schemeClr val="bg1"/>
                          </a:solidFill>
                          <a:effectLst/>
                          <a:latin typeface="+mj-lt"/>
                          <a:cs typeface="Arial" panose="020B0604020202020204" pitchFamily="34" charset="0"/>
                        </a:rPr>
                        <a:t>Unforeseen Condition</a:t>
                      </a:r>
                    </a:p>
                    <a:p>
                      <a:pPr marL="0" marR="0">
                        <a:lnSpc>
                          <a:spcPct val="150000"/>
                        </a:lnSpc>
                        <a:spcBef>
                          <a:spcPts val="850"/>
                        </a:spcBef>
                        <a:spcAft>
                          <a:spcPts val="850"/>
                        </a:spcAft>
                      </a:pPr>
                      <a:r>
                        <a:rPr lang="en-US" sz="1600" b="0" dirty="0">
                          <a:effectLst/>
                          <a:latin typeface="Arial" panose="020B0604020202020204" pitchFamily="34" charset="0"/>
                          <a:cs typeface="Arial" panose="020B0604020202020204" pitchFamily="34" charset="0"/>
                        </a:rPr>
                        <a:t>Unanticipated or unexpected circumstance or situation that affects the final price and/or completion time of a contract or project.</a:t>
                      </a:r>
                      <a:endParaRPr lang="en-US" sz="1600" b="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solidFill>
                      <a:schemeClr val="accent2">
                        <a:lumMod val="75000"/>
                      </a:schemeClr>
                    </a:solidFill>
                  </a:tcPr>
                </a:tc>
                <a:tc>
                  <a:txBody>
                    <a:bodyPr/>
                    <a:lstStyle/>
                    <a:p>
                      <a:pPr marL="0" marR="0">
                        <a:lnSpc>
                          <a:spcPct val="150000"/>
                        </a:lnSpc>
                        <a:spcBef>
                          <a:spcPts val="0"/>
                        </a:spcBef>
                        <a:spcAft>
                          <a:spcPts val="0"/>
                        </a:spcAft>
                      </a:pPr>
                      <a:r>
                        <a:rPr lang="en-US" sz="2000" dirty="0">
                          <a:solidFill>
                            <a:schemeClr val="bg1"/>
                          </a:solidFill>
                          <a:effectLst/>
                          <a:latin typeface="+mj-lt"/>
                          <a:cs typeface="Arial" panose="020B0604020202020204" pitchFamily="34" charset="0"/>
                        </a:rPr>
                        <a:t>Storm Event</a:t>
                      </a:r>
                    </a:p>
                    <a:p>
                      <a:pPr marL="0" marR="0">
                        <a:lnSpc>
                          <a:spcPct val="150000"/>
                        </a:lnSpc>
                        <a:spcBef>
                          <a:spcPts val="850"/>
                        </a:spcBef>
                        <a:spcAft>
                          <a:spcPts val="850"/>
                        </a:spcAft>
                      </a:pPr>
                      <a:r>
                        <a:rPr lang="en-US" sz="1600" b="0" dirty="0">
                          <a:effectLst/>
                          <a:latin typeface="Arial" panose="020B0604020202020204" pitchFamily="34" charset="0"/>
                          <a:cs typeface="Arial" panose="020B0604020202020204" pitchFamily="34" charset="0"/>
                        </a:rPr>
                        <a:t>The occurrence of storms and other significant weather phenomena having sufficient intensity to cause loss of life, injuries, significant property damage, and/or disruption to commerce;</a:t>
                      </a:r>
                    </a:p>
                    <a:p>
                      <a:pPr marL="0" marR="0">
                        <a:lnSpc>
                          <a:spcPct val="150000"/>
                        </a:lnSpc>
                        <a:spcBef>
                          <a:spcPts val="850"/>
                        </a:spcBef>
                        <a:spcAft>
                          <a:spcPts val="850"/>
                        </a:spcAft>
                      </a:pPr>
                      <a:r>
                        <a:rPr lang="en-US" sz="1600" b="0" dirty="0">
                          <a:effectLst/>
                          <a:latin typeface="Arial" panose="020B0604020202020204" pitchFamily="34" charset="0"/>
                          <a:cs typeface="Arial" panose="020B0604020202020204" pitchFamily="34" charset="0"/>
                        </a:rPr>
                        <a:t>Rare, unusual, weather phenomena that generate media attention, such as snow flurries in a coastal </a:t>
                      </a:r>
                      <a:r>
                        <a:rPr lang="en-US" sz="1600" b="0" dirty="0" smtClean="0">
                          <a:effectLst/>
                          <a:latin typeface="Arial" panose="020B0604020202020204" pitchFamily="34" charset="0"/>
                          <a:cs typeface="Arial" panose="020B0604020202020204" pitchFamily="34" charset="0"/>
                        </a:rPr>
                        <a:t>area.</a:t>
                      </a:r>
                      <a:endParaRPr lang="en-US" sz="1600" b="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solidFill>
                      <a:srgbClr val="00B0F0"/>
                    </a:solidFill>
                  </a:tcPr>
                </a:tc>
                <a:tc>
                  <a:txBody>
                    <a:bodyPr/>
                    <a:lstStyle/>
                    <a:p>
                      <a:pPr marL="0" marR="0">
                        <a:lnSpc>
                          <a:spcPct val="150000"/>
                        </a:lnSpc>
                        <a:spcBef>
                          <a:spcPts val="0"/>
                        </a:spcBef>
                        <a:spcAft>
                          <a:spcPts val="0"/>
                        </a:spcAft>
                      </a:pPr>
                      <a:r>
                        <a:rPr lang="en-US" sz="2000" dirty="0">
                          <a:solidFill>
                            <a:schemeClr val="bg1"/>
                          </a:solidFill>
                          <a:effectLst/>
                          <a:latin typeface="+mj-lt"/>
                          <a:cs typeface="Arial" panose="020B0604020202020204" pitchFamily="34" charset="0"/>
                        </a:rPr>
                        <a:t>Reasonable Expectation</a:t>
                      </a:r>
                      <a:r>
                        <a:rPr lang="en-US" sz="1600" dirty="0">
                          <a:effectLst/>
                          <a:latin typeface="Arial" panose="020B0604020202020204" pitchFamily="34" charset="0"/>
                          <a:cs typeface="Arial" panose="020B0604020202020204" pitchFamily="34" charset="0"/>
                        </a:rPr>
                        <a:t> </a:t>
                      </a:r>
                    </a:p>
                    <a:p>
                      <a:pPr marL="0" marR="0">
                        <a:lnSpc>
                          <a:spcPct val="150000"/>
                        </a:lnSpc>
                        <a:spcBef>
                          <a:spcPts val="850"/>
                        </a:spcBef>
                        <a:spcAft>
                          <a:spcPts val="850"/>
                        </a:spcAft>
                      </a:pPr>
                      <a:r>
                        <a:rPr lang="en-US" sz="1600" b="0" dirty="0">
                          <a:effectLst/>
                          <a:latin typeface="Arial" panose="020B0604020202020204" pitchFamily="34" charset="0"/>
                          <a:cs typeface="Arial" panose="020B0604020202020204" pitchFamily="34" charset="0"/>
                        </a:rPr>
                        <a:t>Doctrine is a principle applied in insurance law which states whenever there is an ambiguity in an insurance-policy, it is resolved in favor of the insured's reasonable expectations. </a:t>
                      </a:r>
                    </a:p>
                    <a:p>
                      <a:pPr marL="0" marR="0">
                        <a:lnSpc>
                          <a:spcPct val="150000"/>
                        </a:lnSpc>
                        <a:spcBef>
                          <a:spcPts val="850"/>
                        </a:spcBef>
                        <a:spcAft>
                          <a:spcPts val="850"/>
                        </a:spcAft>
                      </a:pPr>
                      <a:r>
                        <a:rPr lang="en-US" sz="1600" b="0" dirty="0">
                          <a:effectLst/>
                          <a:latin typeface="Arial" panose="020B0604020202020204" pitchFamily="34" charset="0"/>
                          <a:cs typeface="Arial" panose="020B0604020202020204" pitchFamily="34" charset="0"/>
                        </a:rPr>
                        <a:t>Usually an ambiguity arises when there are plausible, competing interpretations of a policy term.</a:t>
                      </a:r>
                      <a:endParaRPr lang="en-US" sz="1600" b="0" dirty="0">
                        <a:effectLst/>
                        <a:latin typeface="Arial" panose="020B0604020202020204" pitchFamily="34" charset="0"/>
                        <a:ea typeface="SimSun" panose="02010600030101010101" pitchFamily="2" charset="-122"/>
                        <a:cs typeface="Arial" panose="020B0604020202020204" pitchFamily="34" charset="0"/>
                      </a:endParaRPr>
                    </a:p>
                  </a:txBody>
                  <a:tcPr marL="68580" marR="68580" marT="0" marB="0">
                    <a:solidFill>
                      <a:schemeClr val="accent2">
                        <a:lumMod val="60000"/>
                        <a:lumOff val="40000"/>
                      </a:schemeClr>
                    </a:solidFill>
                  </a:tcPr>
                </a:tc>
              </a:tr>
            </a:tbl>
          </a:graphicData>
        </a:graphic>
      </p:graphicFrame>
    </p:spTree>
    <p:extLst>
      <p:ext uri="{BB962C8B-B14F-4D97-AF65-F5344CB8AC3E}">
        <p14:creationId xmlns:p14="http://schemas.microsoft.com/office/powerpoint/2010/main" val="277326951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2384" y="160338"/>
            <a:ext cx="8806375" cy="482600"/>
          </a:xfrm>
        </p:spPr>
        <p:txBody>
          <a:bodyPr/>
          <a:lstStyle/>
          <a:p>
            <a:r>
              <a:rPr lang="en-US" dirty="0" smtClean="0"/>
              <a:t>Case Study: </a:t>
            </a:r>
            <a:r>
              <a:rPr lang="en-US" dirty="0" err="1"/>
              <a:t>Almanzora</a:t>
            </a:r>
            <a:r>
              <a:rPr lang="en-US" dirty="0"/>
              <a:t> </a:t>
            </a:r>
            <a:r>
              <a:rPr lang="en-US" dirty="0" err="1"/>
              <a:t>Autovía</a:t>
            </a:r>
            <a:r>
              <a:rPr lang="en-US" dirty="0"/>
              <a:t> - </a:t>
            </a:r>
            <a:r>
              <a:rPr lang="en-US" dirty="0" smtClean="0"/>
              <a:t>Spain</a:t>
            </a:r>
            <a:endParaRPr lang="en-US" dirty="0"/>
          </a:p>
        </p:txBody>
      </p:sp>
      <p:sp>
        <p:nvSpPr>
          <p:cNvPr id="5" name="Text Placeholder 4"/>
          <p:cNvSpPr>
            <a:spLocks noGrp="1"/>
          </p:cNvSpPr>
          <p:nvPr>
            <p:ph type="body" sz="quarter" idx="11"/>
          </p:nvPr>
        </p:nvSpPr>
        <p:spPr>
          <a:xfrm>
            <a:off x="322385" y="1250949"/>
            <a:ext cx="5621215" cy="4938183"/>
          </a:xfrm>
          <a:solidFill>
            <a:schemeClr val="accent2">
              <a:lumMod val="60000"/>
              <a:lumOff val="40000"/>
            </a:schemeClr>
          </a:solidFill>
        </p:spPr>
        <p:txBody>
          <a:bodyPr/>
          <a:lstStyle/>
          <a:p>
            <a:pPr marL="0" indent="0">
              <a:buNone/>
            </a:pPr>
            <a:r>
              <a:rPr lang="en-US" sz="2000" b="1" dirty="0" smtClean="0">
                <a:solidFill>
                  <a:schemeClr val="bg1"/>
                </a:solidFill>
              </a:rPr>
              <a:t>Objective</a:t>
            </a:r>
            <a:endParaRPr lang="en-US" sz="2000" b="1" dirty="0">
              <a:solidFill>
                <a:schemeClr val="bg1"/>
              </a:solidFill>
            </a:endParaRPr>
          </a:p>
          <a:p>
            <a:pPr marL="0" indent="0">
              <a:buNone/>
            </a:pPr>
            <a:r>
              <a:rPr lang="en-US" dirty="0">
                <a:latin typeface="Calibri" panose="020F0502020204030204" pitchFamily="34" charset="0"/>
                <a:cs typeface="Calibri" panose="020F0502020204030204" pitchFamily="34" charset="0"/>
              </a:rPr>
              <a:t>The </a:t>
            </a:r>
            <a:r>
              <a:rPr lang="en-US" dirty="0" err="1" smtClean="0">
                <a:latin typeface="Calibri" panose="020F0502020204030204" pitchFamily="34" charset="0"/>
                <a:cs typeface="Calibri" panose="020F0502020204030204" pitchFamily="34" charset="0"/>
              </a:rPr>
              <a:t>Almanzora</a:t>
            </a:r>
            <a:r>
              <a:rPr lang="en-US" dirty="0" smtClean="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Autovía</a:t>
            </a:r>
            <a:r>
              <a:rPr lang="en-US" dirty="0">
                <a:latin typeface="Calibri" panose="020F0502020204030204" pitchFamily="34" charset="0"/>
                <a:cs typeface="Calibri" panose="020F0502020204030204" pitchFamily="34" charset="0"/>
              </a:rPr>
              <a:t> (A-334) </a:t>
            </a:r>
            <a:r>
              <a:rPr lang="en-US" dirty="0" smtClean="0">
                <a:latin typeface="Calibri" panose="020F0502020204030204" pitchFamily="34" charset="0"/>
                <a:cs typeface="Calibri" panose="020F0502020204030204" pitchFamily="34" charset="0"/>
              </a:rPr>
              <a:t>project is </a:t>
            </a:r>
            <a:r>
              <a:rPr lang="en-US" dirty="0">
                <a:latin typeface="Calibri" panose="020F0502020204030204" pitchFamily="34" charset="0"/>
                <a:cs typeface="Calibri" panose="020F0502020204030204" pitchFamily="34" charset="0"/>
              </a:rPr>
              <a:t>part of the "Plan for the Improvement of Accessibility, Road Safety and Conservation in Andalusia's Road Network". </a:t>
            </a:r>
            <a:endParaRPr lang="en-US" dirty="0" smtClean="0">
              <a:latin typeface="Calibri" panose="020F0502020204030204" pitchFamily="34" charset="0"/>
              <a:cs typeface="Calibri" panose="020F0502020204030204" pitchFamily="34" charset="0"/>
            </a:endParaRPr>
          </a:p>
          <a:p>
            <a:pPr marL="0" indent="0">
              <a:buNone/>
            </a:pP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a:latin typeface="Calibri" panose="020F0502020204030204" pitchFamily="34" charset="0"/>
                <a:cs typeface="Calibri" panose="020F0502020204030204" pitchFamily="34" charset="0"/>
              </a:rPr>
              <a:t>The contract includes requirements for continuous improvement mechanism or update of the proposal for environmental indicators. </a:t>
            </a: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a:latin typeface="Calibri" panose="020F0502020204030204" pitchFamily="34" charset="0"/>
                <a:cs typeface="Calibri" panose="020F0502020204030204" pitchFamily="34" charset="0"/>
              </a:rPr>
              <a:t>By including this environmental criteria in the project, the concessionaire is able to more easily attract responsible </a:t>
            </a:r>
            <a:r>
              <a:rPr lang="en-US" dirty="0" smtClean="0">
                <a:latin typeface="Calibri" panose="020F0502020204030204" pitchFamily="34" charset="0"/>
                <a:cs typeface="Calibri" panose="020F0502020204030204" pitchFamily="34" charset="0"/>
              </a:rPr>
              <a:t>financing and funding </a:t>
            </a:r>
            <a:r>
              <a:rPr lang="en-US" dirty="0">
                <a:latin typeface="Calibri" panose="020F0502020204030204" pitchFamily="34" charset="0"/>
                <a:cs typeface="Calibri" panose="020F0502020204030204" pitchFamily="34" charset="0"/>
              </a:rPr>
              <a:t>from Multilateral Agencies</a:t>
            </a:r>
            <a:r>
              <a:rPr lang="en-US" dirty="0" smtClean="0">
                <a:latin typeface="Calibri" panose="020F0502020204030204" pitchFamily="34" charset="0"/>
                <a:cs typeface="Calibri" panose="020F0502020204030204" pitchFamily="34" charset="0"/>
              </a:rPr>
              <a:t>.</a:t>
            </a:r>
          </a:p>
          <a:p>
            <a:pPr>
              <a:buFont typeface="Wingdings" panose="05000000000000000000" pitchFamily="2" charset="2"/>
              <a:buChar char="§"/>
            </a:pP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a:latin typeface="Calibri" panose="020F0502020204030204" pitchFamily="34" charset="0"/>
                <a:cs typeface="Calibri" panose="020F0502020204030204" pitchFamily="34" charset="0"/>
              </a:rPr>
              <a:t>I</a:t>
            </a:r>
            <a:r>
              <a:rPr lang="en-US" dirty="0" smtClean="0">
                <a:latin typeface="Calibri" panose="020F0502020204030204" pitchFamily="34" charset="0"/>
                <a:cs typeface="Calibri" panose="020F0502020204030204" pitchFamily="34" charset="0"/>
              </a:rPr>
              <a:t>nclusion </a:t>
            </a:r>
            <a:r>
              <a:rPr lang="en-US" dirty="0">
                <a:latin typeface="Calibri" panose="020F0502020204030204" pitchFamily="34" charset="0"/>
                <a:cs typeface="Calibri" panose="020F0502020204030204" pitchFamily="34" charset="0"/>
              </a:rPr>
              <a:t>of environmental </a:t>
            </a:r>
            <a:r>
              <a:rPr lang="en-US" dirty="0" smtClean="0">
                <a:latin typeface="Calibri" panose="020F0502020204030204" pitchFamily="34" charset="0"/>
                <a:cs typeface="Calibri" panose="020F0502020204030204" pitchFamily="34" charset="0"/>
              </a:rPr>
              <a:t>indicators </a:t>
            </a:r>
            <a:r>
              <a:rPr lang="en-US" dirty="0">
                <a:latin typeface="Calibri" panose="020F0502020204030204" pitchFamily="34" charset="0"/>
                <a:cs typeface="Calibri" panose="020F0502020204030204" pitchFamily="34" charset="0"/>
              </a:rPr>
              <a:t>in the </a:t>
            </a:r>
            <a:r>
              <a:rPr lang="en-US" dirty="0" smtClean="0">
                <a:latin typeface="Calibri" panose="020F0502020204030204" pitchFamily="34" charset="0"/>
                <a:cs typeface="Calibri" panose="020F0502020204030204" pitchFamily="34" charset="0"/>
              </a:rPr>
              <a:t>operations maintenance program </a:t>
            </a:r>
            <a:r>
              <a:rPr lang="en-US" dirty="0">
                <a:latin typeface="Calibri" panose="020F0502020204030204" pitchFamily="34" charset="0"/>
                <a:cs typeface="Calibri" panose="020F0502020204030204" pitchFamily="34" charset="0"/>
              </a:rPr>
              <a:t>reduces the risks arising from possible fines or penalties for non-compliance with legal environmental parameters. </a:t>
            </a: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smtClean="0">
                <a:latin typeface="Calibri" panose="020F0502020204030204" pitchFamily="34" charset="0"/>
                <a:cs typeface="Calibri" panose="020F0502020204030204" pitchFamily="34" charset="0"/>
              </a:rPr>
              <a:t>The </a:t>
            </a:r>
            <a:r>
              <a:rPr lang="en-US" dirty="0">
                <a:latin typeface="Calibri" panose="020F0502020204030204" pitchFamily="34" charset="0"/>
                <a:cs typeface="Calibri" panose="020F0502020204030204" pitchFamily="34" charset="0"/>
              </a:rPr>
              <a:t>disadvantage is that future incorporation of environmental indicators/criteria into the Concession Agreement may result in the need for additional economic </a:t>
            </a:r>
            <a:r>
              <a:rPr lang="en-US" dirty="0" smtClean="0">
                <a:latin typeface="Calibri" panose="020F0502020204030204" pitchFamily="34" charset="0"/>
                <a:cs typeface="Calibri" panose="020F0502020204030204" pitchFamily="34" charset="0"/>
              </a:rPr>
              <a:t>investment. </a:t>
            </a:r>
          </a:p>
        </p:txBody>
      </p:sp>
      <p:sp>
        <p:nvSpPr>
          <p:cNvPr id="6" name="Text Placeholder 5"/>
          <p:cNvSpPr>
            <a:spLocks noGrp="1"/>
          </p:cNvSpPr>
          <p:nvPr>
            <p:ph type="body" sz="quarter" idx="12"/>
          </p:nvPr>
        </p:nvSpPr>
        <p:spPr/>
        <p:txBody>
          <a:bodyPr/>
          <a:lstStyle/>
          <a:p>
            <a:r>
              <a:rPr lang="en-US" dirty="0" smtClean="0"/>
              <a:t>Adaptable </a:t>
            </a:r>
            <a:r>
              <a:rPr lang="en-US" dirty="0"/>
              <a:t>Performance Metrics to Attract Investment</a:t>
            </a:r>
          </a:p>
        </p:txBody>
      </p:sp>
      <p:sp>
        <p:nvSpPr>
          <p:cNvPr id="7" name="Text Placeholder 4"/>
          <p:cNvSpPr txBox="1">
            <a:spLocks/>
          </p:cNvSpPr>
          <p:nvPr/>
        </p:nvSpPr>
        <p:spPr>
          <a:xfrm>
            <a:off x="6090137" y="1238250"/>
            <a:ext cx="5812694" cy="4950882"/>
          </a:xfrm>
          <a:prstGeom prst="rect">
            <a:avLst/>
          </a:prstGeom>
          <a:solidFill>
            <a:schemeClr val="accent2">
              <a:lumMod val="40000"/>
              <a:lumOff val="60000"/>
            </a:schemeClr>
          </a:solidFill>
        </p:spPr>
        <p:txBody>
          <a:bodyPr/>
          <a:lstStyle>
            <a:lvl1pPr marL="236969" indent="-236969" algn="l" defTabSz="1197317" rtl="0" eaLnBrk="1" latinLnBrk="0" hangingPunct="1">
              <a:lnSpc>
                <a:spcPct val="85000"/>
              </a:lnSpc>
              <a:spcBef>
                <a:spcPts val="261"/>
              </a:spcBef>
              <a:buFont typeface="Arial" pitchFamily="34" charset="0"/>
              <a:buChar char="•"/>
              <a:defRPr sz="1600" kern="1200">
                <a:solidFill>
                  <a:schemeClr val="tx1"/>
                </a:solidFill>
                <a:latin typeface="+mj-lt"/>
                <a:ea typeface="+mn-ea"/>
                <a:cs typeface="+mn-cs"/>
              </a:defRPr>
            </a:lvl1pPr>
            <a:lvl2pPr marL="285750" indent="-285750" algn="l" defTabSz="1197317" rtl="0" eaLnBrk="1" latinLnBrk="0" hangingPunct="1">
              <a:lnSpc>
                <a:spcPct val="85000"/>
              </a:lnSpc>
              <a:spcBef>
                <a:spcPts val="261"/>
              </a:spcBef>
              <a:buFont typeface="Arial" pitchFamily="34" charset="0"/>
              <a:buChar char="•"/>
              <a:defRPr sz="1600" kern="1200">
                <a:solidFill>
                  <a:schemeClr val="tx1"/>
                </a:solidFill>
                <a:latin typeface="+mj-lt"/>
                <a:ea typeface="+mn-ea"/>
                <a:cs typeface="+mn-cs"/>
              </a:defRPr>
            </a:lvl2pPr>
            <a:lvl3pPr marL="400050" indent="-171450" algn="l" defTabSz="1197317" rtl="0" eaLnBrk="1" latinLnBrk="0" hangingPunct="1">
              <a:lnSpc>
                <a:spcPct val="85000"/>
              </a:lnSpc>
              <a:spcBef>
                <a:spcPts val="261"/>
              </a:spcBef>
              <a:buFont typeface="Arial" pitchFamily="34" charset="0"/>
              <a:buChar char="•"/>
              <a:defRPr sz="1600" kern="1200">
                <a:solidFill>
                  <a:schemeClr val="tx1"/>
                </a:solidFill>
                <a:latin typeface="+mj-lt"/>
                <a:ea typeface="+mn-ea"/>
                <a:cs typeface="+mn-cs"/>
              </a:defRPr>
            </a:lvl3pPr>
            <a:lvl4pPr marL="935403"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4pPr>
            <a:lvl5pPr marL="1172372" indent="-236969" algn="l" defTabSz="1197317" rtl="0" eaLnBrk="1" latinLnBrk="0" hangingPunct="1">
              <a:lnSpc>
                <a:spcPct val="85000"/>
              </a:lnSpc>
              <a:spcBef>
                <a:spcPts val="261"/>
              </a:spcBef>
              <a:buFont typeface="Arial" pitchFamily="34" charset="0"/>
              <a:buChar char="•"/>
              <a:tabLst/>
              <a:defRPr sz="2000" kern="1200">
                <a:solidFill>
                  <a:schemeClr val="tx1"/>
                </a:solidFill>
                <a:latin typeface="+mj-lt"/>
                <a:ea typeface="+mn-ea"/>
                <a:cs typeface="+mn-cs"/>
              </a:defRPr>
            </a:lvl5pPr>
            <a:lvl6pPr marL="3292619"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891277"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489936"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088594" indent="-299330" algn="l" defTabSz="1197317"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indent="0">
              <a:buFont typeface="Arial" pitchFamily="34" charset="0"/>
              <a:buNone/>
            </a:pPr>
            <a:r>
              <a:rPr lang="en-US" sz="2000" b="1" dirty="0" smtClean="0">
                <a:solidFill>
                  <a:schemeClr val="bg1"/>
                </a:solidFill>
              </a:rPr>
              <a:t>Scope </a:t>
            </a:r>
          </a:p>
          <a:p>
            <a:pPr marL="0" indent="0">
              <a:buNone/>
            </a:pPr>
            <a:r>
              <a:rPr lang="en-US" dirty="0" smtClean="0">
                <a:latin typeface="Calibri" panose="020F0502020204030204" pitchFamily="34" charset="0"/>
                <a:cs typeface="Calibri" panose="020F0502020204030204" pitchFamily="34" charset="0"/>
              </a:rPr>
              <a:t>Failure </a:t>
            </a:r>
            <a:r>
              <a:rPr lang="en-US" dirty="0">
                <a:latin typeface="Calibri" panose="020F0502020204030204" pitchFamily="34" charset="0"/>
                <a:cs typeface="Calibri" panose="020F0502020204030204" pitchFamily="34" charset="0"/>
              </a:rPr>
              <a:t>to comply with certain environmental standards and criteria covered by the law and specified in the EIS (Environmental Impact Statement), entails contractual penalties and, if applicable, legal penalties. </a:t>
            </a:r>
          </a:p>
          <a:p>
            <a:pPr marL="0" indent="0">
              <a:buNone/>
            </a:pP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smtClean="0">
                <a:latin typeface="Calibri" panose="020F0502020204030204" pitchFamily="34" charset="0"/>
                <a:cs typeface="Calibri" panose="020F0502020204030204" pitchFamily="34" charset="0"/>
              </a:rPr>
              <a:t>The contract involves </a:t>
            </a:r>
            <a:r>
              <a:rPr lang="en-US" dirty="0">
                <a:latin typeface="Calibri" panose="020F0502020204030204" pitchFamily="34" charset="0"/>
                <a:cs typeface="Calibri" panose="020F0502020204030204" pitchFamily="34" charset="0"/>
              </a:rPr>
              <a:t>additional contractual commitments, with non-compliance that may result in potential sanctions, fines or other penalties. </a:t>
            </a: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a:latin typeface="Calibri" panose="020F0502020204030204" pitchFamily="34" charset="0"/>
                <a:cs typeface="Calibri" panose="020F0502020204030204" pitchFamily="34" charset="0"/>
              </a:rPr>
              <a:t>In addition, deductions may be made in the availability payments for breach of the </a:t>
            </a:r>
            <a:r>
              <a:rPr lang="en-US" dirty="0" smtClean="0">
                <a:latin typeface="Calibri" panose="020F0502020204030204" pitchFamily="34" charset="0"/>
                <a:cs typeface="Calibri" panose="020F0502020204030204" pitchFamily="34" charset="0"/>
              </a:rPr>
              <a:t>indicator modifications agreed to </a:t>
            </a:r>
            <a:r>
              <a:rPr lang="en-US" dirty="0">
                <a:latin typeface="Calibri" panose="020F0502020204030204" pitchFamily="34" charset="0"/>
                <a:cs typeface="Calibri" panose="020F0502020204030204" pitchFamily="34" charset="0"/>
              </a:rPr>
              <a:t>in </a:t>
            </a:r>
            <a:r>
              <a:rPr lang="en-US" dirty="0" smtClean="0">
                <a:latin typeface="Calibri" panose="020F0502020204030204" pitchFamily="34" charset="0"/>
                <a:cs typeface="Calibri" panose="020F0502020204030204" pitchFamily="34" charset="0"/>
              </a:rPr>
              <a:t>the </a:t>
            </a:r>
            <a:r>
              <a:rPr lang="en-US" dirty="0">
                <a:latin typeface="Calibri" panose="020F0502020204030204" pitchFamily="34" charset="0"/>
                <a:cs typeface="Calibri" panose="020F0502020204030204" pitchFamily="34" charset="0"/>
              </a:rPr>
              <a:t>contract process and contract </a:t>
            </a:r>
            <a:r>
              <a:rPr lang="en-US" dirty="0" smtClean="0">
                <a:latin typeface="Calibri" panose="020F0502020204030204" pitchFamily="34" charset="0"/>
                <a:cs typeface="Calibri" panose="020F0502020204030204" pitchFamily="34" charset="0"/>
              </a:rPr>
              <a:t>structuring section. </a:t>
            </a:r>
            <a:endParaRPr lang="en-US" dirty="0">
              <a:latin typeface="Calibri" panose="020F0502020204030204" pitchFamily="34" charset="0"/>
              <a:cs typeface="Calibri" panose="020F0502020204030204" pitchFamily="34" charset="0"/>
            </a:endParaRPr>
          </a:p>
          <a:p>
            <a:pPr>
              <a:buFont typeface="Wingdings" panose="05000000000000000000" pitchFamily="2" charset="2"/>
              <a:buChar char="§"/>
            </a:pPr>
            <a:endParaRPr lang="en-US" dirty="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a:latin typeface="Calibri" panose="020F0502020204030204" pitchFamily="34" charset="0"/>
                <a:cs typeface="Calibri" panose="020F0502020204030204" pitchFamily="34" charset="0"/>
              </a:rPr>
              <a:t>In addition to the costs of compliance with legal provisions, the concessionaire also assumed the cost of implementing ISO 9001, which was not mandatory by law but required by the </a:t>
            </a:r>
            <a:r>
              <a:rPr lang="en-US" dirty="0" smtClean="0">
                <a:latin typeface="Calibri" panose="020F0502020204030204" pitchFamily="34" charset="0"/>
                <a:cs typeface="Calibri" panose="020F0502020204030204" pitchFamily="34" charset="0"/>
              </a:rPr>
              <a:t>innovative contract. </a:t>
            </a:r>
            <a:endParaRPr lang="en-US" dirty="0">
              <a:latin typeface="Calibri" panose="020F0502020204030204" pitchFamily="34" charset="0"/>
              <a:cs typeface="Calibri" panose="020F0502020204030204" pitchFamily="34" charset="0"/>
            </a:endParaRPr>
          </a:p>
          <a:p>
            <a:pPr>
              <a:buFont typeface="Wingdings" panose="05000000000000000000" pitchFamily="2" charset="2"/>
              <a:buChar char="§"/>
            </a:pPr>
            <a:endParaRPr lang="en-US" dirty="0" smtClean="0">
              <a:latin typeface="Calibri" panose="020F0502020204030204" pitchFamily="34" charset="0"/>
              <a:cs typeface="Calibri" panose="020F0502020204030204" pitchFamily="34" charset="0"/>
            </a:endParaRPr>
          </a:p>
          <a:p>
            <a:pPr>
              <a:buFont typeface="Wingdings" panose="05000000000000000000" pitchFamily="2" charset="2"/>
              <a:buChar char="§"/>
            </a:pPr>
            <a:r>
              <a:rPr lang="en-US" dirty="0">
                <a:latin typeface="Calibri" panose="020F0502020204030204" pitchFamily="34" charset="0"/>
                <a:cs typeface="Calibri" panose="020F0502020204030204" pitchFamily="34" charset="0"/>
              </a:rPr>
              <a:t>O</a:t>
            </a:r>
            <a:r>
              <a:rPr lang="en-US" dirty="0" smtClean="0">
                <a:latin typeface="Calibri" panose="020F0502020204030204" pitchFamily="34" charset="0"/>
                <a:cs typeface="Calibri" panose="020F0502020204030204" pitchFamily="34" charset="0"/>
              </a:rPr>
              <a:t>vercharges caused by delays in obtaining permits and authorizations will also be borne by the concessionaire. </a:t>
            </a:r>
          </a:p>
        </p:txBody>
      </p:sp>
    </p:spTree>
    <p:extLst>
      <p:ext uri="{BB962C8B-B14F-4D97-AF65-F5344CB8AC3E}">
        <p14:creationId xmlns:p14="http://schemas.microsoft.com/office/powerpoint/2010/main" val="30306506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Management Framework</a:t>
            </a:r>
            <a:endParaRPr lang="en-US" dirty="0"/>
          </a:p>
        </p:txBody>
      </p:sp>
      <p:sp>
        <p:nvSpPr>
          <p:cNvPr id="6" name="Text Placeholder 5"/>
          <p:cNvSpPr>
            <a:spLocks noGrp="1"/>
          </p:cNvSpPr>
          <p:nvPr>
            <p:ph type="body" sz="quarter" idx="12"/>
          </p:nvPr>
        </p:nvSpPr>
        <p:spPr/>
        <p:txBody>
          <a:bodyPr/>
          <a:lstStyle/>
          <a:p>
            <a:r>
              <a:rPr lang="en-US" dirty="0" smtClean="0"/>
              <a:t>Step 5: Adaptations</a:t>
            </a:r>
            <a:endParaRPr lang="en-US" dirty="0"/>
          </a:p>
        </p:txBody>
      </p:sp>
      <p:graphicFrame>
        <p:nvGraphicFramePr>
          <p:cNvPr id="7" name="Diagram 6"/>
          <p:cNvGraphicFramePr/>
          <p:nvPr>
            <p:extLst>
              <p:ext uri="{D42A27DB-BD31-4B8C-83A1-F6EECF244321}">
                <p14:modId xmlns:p14="http://schemas.microsoft.com/office/powerpoint/2010/main" val="2728950630"/>
              </p:ext>
            </p:extLst>
          </p:nvPr>
        </p:nvGraphicFramePr>
        <p:xfrm>
          <a:off x="8183212" y="872068"/>
          <a:ext cx="3719619" cy="54271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1249898858"/>
              </p:ext>
            </p:extLst>
          </p:nvPr>
        </p:nvGraphicFramePr>
        <p:xfrm>
          <a:off x="322385" y="1135064"/>
          <a:ext cx="7995138" cy="493553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14065029"/>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rocurement Changes</a:t>
            </a:r>
            <a:endParaRPr lang="en-US" dirty="0"/>
          </a:p>
        </p:txBody>
      </p:sp>
      <p:sp>
        <p:nvSpPr>
          <p:cNvPr id="4" name="Text Placeholder 3"/>
          <p:cNvSpPr>
            <a:spLocks noGrp="1"/>
          </p:cNvSpPr>
          <p:nvPr>
            <p:ph type="body" sz="quarter" idx="10"/>
          </p:nvPr>
        </p:nvSpPr>
        <p:spPr>
          <a:xfrm>
            <a:off x="468922" y="1238250"/>
            <a:ext cx="5406293" cy="4873792"/>
          </a:xfrm>
        </p:spPr>
        <p:txBody>
          <a:bodyPr/>
          <a:lstStyle/>
          <a:p>
            <a:pPr marL="0" indent="0" fontAlgn="base">
              <a:buNone/>
            </a:pPr>
            <a:r>
              <a:rPr lang="en-US" dirty="0">
                <a:latin typeface="Calibri" panose="020F0502020204030204" pitchFamily="34" charset="0"/>
                <a:cs typeface="Calibri" panose="020F0502020204030204" pitchFamily="34" charset="0"/>
              </a:rPr>
              <a:t/>
            </a:r>
            <a:br>
              <a:rPr lang="en-US" dirty="0">
                <a:latin typeface="Calibri" panose="020F0502020204030204" pitchFamily="34" charset="0"/>
                <a:cs typeface="Calibri" panose="020F0502020204030204" pitchFamily="34" charset="0"/>
              </a:rPr>
            </a:br>
            <a:endParaRPr lang="en-US" b="1" dirty="0" smtClean="0">
              <a:latin typeface="Calibri" panose="020F0502020204030204" pitchFamily="34" charset="0"/>
              <a:cs typeface="Calibri" panose="020F0502020204030204" pitchFamily="34" charset="0"/>
            </a:endParaRPr>
          </a:p>
        </p:txBody>
      </p:sp>
      <p:sp>
        <p:nvSpPr>
          <p:cNvPr id="6" name="Text Placeholder 5"/>
          <p:cNvSpPr>
            <a:spLocks noGrp="1"/>
          </p:cNvSpPr>
          <p:nvPr>
            <p:ph type="body" sz="quarter" idx="12"/>
          </p:nvPr>
        </p:nvSpPr>
        <p:spPr/>
        <p:txBody>
          <a:bodyPr/>
          <a:lstStyle/>
          <a:p>
            <a:r>
              <a:rPr lang="en-US" dirty="0" smtClean="0"/>
              <a:t>Contractual Augmentation</a:t>
            </a:r>
            <a:endParaRPr lang="en-US" dirty="0"/>
          </a:p>
        </p:txBody>
      </p:sp>
      <p:graphicFrame>
        <p:nvGraphicFramePr>
          <p:cNvPr id="7" name="Diagram 6"/>
          <p:cNvGraphicFramePr/>
          <p:nvPr>
            <p:extLst>
              <p:ext uri="{D42A27DB-BD31-4B8C-83A1-F6EECF244321}">
                <p14:modId xmlns:p14="http://schemas.microsoft.com/office/powerpoint/2010/main" val="4290271049"/>
              </p:ext>
            </p:extLst>
          </p:nvPr>
        </p:nvGraphicFramePr>
        <p:xfrm>
          <a:off x="322385" y="1250950"/>
          <a:ext cx="11580446" cy="48610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9147761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Barrier 2: Valuing Preparation </a:t>
            </a:r>
            <a:r>
              <a:rPr lang="en-US" dirty="0"/>
              <a:t>for Extreme </a:t>
            </a:r>
            <a:r>
              <a:rPr lang="en-US" dirty="0" smtClean="0"/>
              <a:t>Weather</a:t>
            </a:r>
            <a:r>
              <a:rPr lang="en-US" dirty="0">
                <a:solidFill>
                  <a:schemeClr val="tx1">
                    <a:lumMod val="50000"/>
                    <a:lumOff val="50000"/>
                  </a:schemeClr>
                </a:solidFill>
              </a:rPr>
              <a:t/>
            </a:r>
            <a:br>
              <a:rPr lang="en-US" dirty="0">
                <a:solidFill>
                  <a:schemeClr val="tx1">
                    <a:lumMod val="50000"/>
                    <a:lumOff val="50000"/>
                  </a:schemeClr>
                </a:solidFill>
              </a:rPr>
            </a:br>
            <a:endParaRPr lang="en-US" dirty="0">
              <a:solidFill>
                <a:schemeClr val="tx1">
                  <a:lumMod val="50000"/>
                  <a:lumOff val="50000"/>
                </a:schemeClr>
              </a:solidFill>
            </a:endParaRPr>
          </a:p>
        </p:txBody>
      </p:sp>
      <p:sp>
        <p:nvSpPr>
          <p:cNvPr id="4" name="Text Placeholder 3"/>
          <p:cNvSpPr>
            <a:spLocks noGrp="1"/>
          </p:cNvSpPr>
          <p:nvPr>
            <p:ph type="body" sz="quarter" idx="11"/>
          </p:nvPr>
        </p:nvSpPr>
        <p:spPr>
          <a:xfrm>
            <a:off x="6283569" y="1837804"/>
            <a:ext cx="5619262" cy="4808656"/>
          </a:xfrm>
        </p:spPr>
        <p:txBody>
          <a:bodyPr/>
          <a:lstStyle/>
          <a:p>
            <a:pPr marL="0" indent="0">
              <a:buNone/>
            </a:pPr>
            <a:r>
              <a:rPr lang="en-US" sz="1800" b="1" dirty="0" smtClean="0">
                <a:latin typeface="Calibri" panose="020F0502020204030204" pitchFamily="34" charset="0"/>
                <a:cs typeface="Calibri" panose="020F0502020204030204" pitchFamily="34" charset="0"/>
              </a:rPr>
              <a:t>“Its cheaper to build it right the first time around”</a:t>
            </a:r>
          </a:p>
          <a:p>
            <a:pPr marL="0" indent="0">
              <a:buNone/>
            </a:pPr>
            <a:endParaRPr lang="en-US" sz="1800" dirty="0">
              <a:latin typeface="Calibri" panose="020F0502020204030204" pitchFamily="34" charset="0"/>
              <a:cs typeface="Calibri" panose="020F0502020204030204" pitchFamily="34" charset="0"/>
            </a:endParaRPr>
          </a:p>
          <a:p>
            <a:pPr marL="0" indent="0">
              <a:lnSpc>
                <a:spcPct val="100000"/>
              </a:lnSpc>
              <a:buNone/>
            </a:pPr>
            <a:r>
              <a:rPr lang="en-US" sz="1800" dirty="0" smtClean="0">
                <a:latin typeface="Calibri" panose="020F0502020204030204" pitchFamily="34" charset="0"/>
                <a:cs typeface="Calibri" panose="020F0502020204030204" pitchFamily="34" charset="0"/>
              </a:rPr>
              <a:t>…is a familiar saying but is statistically proven to be highly applicable when it comes to preparing for disaster.</a:t>
            </a:r>
          </a:p>
          <a:p>
            <a:pPr marL="0" indent="0">
              <a:lnSpc>
                <a:spcPct val="100000"/>
              </a:lnSpc>
              <a:buNone/>
            </a:pPr>
            <a:endParaRPr lang="en-US" sz="1800" dirty="0">
              <a:latin typeface="Calibri" panose="020F0502020204030204" pitchFamily="34" charset="0"/>
              <a:cs typeface="Calibri" panose="020F0502020204030204" pitchFamily="34" charset="0"/>
            </a:endParaRPr>
          </a:p>
          <a:p>
            <a:pPr>
              <a:lnSpc>
                <a:spcPct val="100000"/>
              </a:lnSpc>
              <a:buFont typeface="Wingdings" panose="05000000000000000000" pitchFamily="2" charset="2"/>
              <a:buChar char="§"/>
            </a:pPr>
            <a:r>
              <a:rPr lang="en-US" sz="1800" dirty="0" smtClean="0">
                <a:latin typeface="Calibri" panose="020F0502020204030204" pitchFamily="34" charset="0"/>
                <a:cs typeface="Calibri" panose="020F0502020204030204" pitchFamily="34" charset="0"/>
              </a:rPr>
              <a:t>Many agencies working in disaster relief have shown that for </a:t>
            </a:r>
            <a:r>
              <a:rPr lang="en-US" sz="1800" dirty="0">
                <a:latin typeface="Calibri" panose="020F0502020204030204" pitchFamily="34" charset="0"/>
                <a:cs typeface="Calibri" panose="020F0502020204030204" pitchFamily="34" charset="0"/>
              </a:rPr>
              <a:t>every $1 spent on </a:t>
            </a:r>
            <a:r>
              <a:rPr lang="en-US" sz="1800" dirty="0" smtClean="0">
                <a:latin typeface="Calibri" panose="020F0502020204030204" pitchFamily="34" charset="0"/>
                <a:cs typeface="Calibri" panose="020F0502020204030204" pitchFamily="34" charset="0"/>
              </a:rPr>
              <a:t>preparation, $4 to $15 is saved on emergency response and repair.</a:t>
            </a:r>
          </a:p>
          <a:p>
            <a:pPr>
              <a:lnSpc>
                <a:spcPct val="100000"/>
              </a:lnSpc>
              <a:buFont typeface="Wingdings" panose="05000000000000000000" pitchFamily="2" charset="2"/>
              <a:buChar char="§"/>
            </a:pPr>
            <a:endParaRPr lang="en-US" sz="1800" dirty="0">
              <a:latin typeface="Calibri" panose="020F0502020204030204" pitchFamily="34" charset="0"/>
              <a:cs typeface="Calibri" panose="020F0502020204030204" pitchFamily="34" charset="0"/>
            </a:endParaRPr>
          </a:p>
          <a:p>
            <a:pPr>
              <a:lnSpc>
                <a:spcPct val="100000"/>
              </a:lnSpc>
              <a:buFont typeface="Wingdings" panose="05000000000000000000" pitchFamily="2" charset="2"/>
              <a:buChar char="§"/>
            </a:pPr>
            <a:r>
              <a:rPr lang="en-US" sz="1800" dirty="0" smtClean="0">
                <a:latin typeface="Calibri" panose="020F0502020204030204" pitchFamily="34" charset="0"/>
                <a:cs typeface="Calibri" panose="020F0502020204030204" pitchFamily="34" charset="0"/>
              </a:rPr>
              <a:t>These numbers typically do not include loss of business or other economic impacts.</a:t>
            </a:r>
          </a:p>
          <a:p>
            <a:pPr>
              <a:lnSpc>
                <a:spcPct val="100000"/>
              </a:lnSpc>
              <a:buFont typeface="Wingdings" panose="05000000000000000000" pitchFamily="2" charset="2"/>
              <a:buChar char="§"/>
            </a:pPr>
            <a:endParaRPr lang="en-US" sz="1800" dirty="0">
              <a:latin typeface="Calibri" panose="020F0502020204030204" pitchFamily="34" charset="0"/>
              <a:cs typeface="Calibri" panose="020F0502020204030204" pitchFamily="34" charset="0"/>
            </a:endParaRPr>
          </a:p>
          <a:p>
            <a:pPr>
              <a:lnSpc>
                <a:spcPct val="100000"/>
              </a:lnSpc>
              <a:buFont typeface="Wingdings" panose="05000000000000000000" pitchFamily="2" charset="2"/>
              <a:buChar char="§"/>
            </a:pPr>
            <a:endParaRPr lang="en-US" sz="1800" dirty="0" smtClean="0">
              <a:latin typeface="Calibri" panose="020F0502020204030204" pitchFamily="34" charset="0"/>
              <a:cs typeface="Calibri" panose="020F0502020204030204" pitchFamily="34" charset="0"/>
            </a:endParaRPr>
          </a:p>
          <a:p>
            <a:pPr marL="0" indent="0">
              <a:lnSpc>
                <a:spcPct val="100000"/>
              </a:lnSpc>
              <a:buNone/>
            </a:pPr>
            <a:endParaRPr lang="en-US" sz="1800" dirty="0">
              <a:latin typeface="Calibri" panose="020F0502020204030204" pitchFamily="34" charset="0"/>
              <a:cs typeface="Calibri" panose="020F0502020204030204" pitchFamily="34" charset="0"/>
            </a:endParaRPr>
          </a:p>
          <a:p>
            <a:pPr marL="0" indent="0">
              <a:lnSpc>
                <a:spcPct val="100000"/>
              </a:lnSpc>
              <a:buNone/>
            </a:pPr>
            <a:endParaRPr lang="en-US" sz="1800" dirty="0">
              <a:latin typeface="Calibri" panose="020F0502020204030204" pitchFamily="34" charset="0"/>
              <a:cs typeface="Calibri" panose="020F0502020204030204" pitchFamily="34" charset="0"/>
            </a:endParaRPr>
          </a:p>
        </p:txBody>
      </p:sp>
      <p:sp>
        <p:nvSpPr>
          <p:cNvPr id="6" name="Text Placeholder 5"/>
          <p:cNvSpPr>
            <a:spLocks noGrp="1"/>
          </p:cNvSpPr>
          <p:nvPr>
            <p:ph type="body" sz="quarter" idx="12"/>
          </p:nvPr>
        </p:nvSpPr>
        <p:spPr/>
        <p:txBody>
          <a:bodyPr/>
          <a:lstStyle/>
          <a:p>
            <a:r>
              <a:rPr lang="en-US" dirty="0">
                <a:solidFill>
                  <a:schemeClr val="accent2">
                    <a:lumMod val="50000"/>
                  </a:schemeClr>
                </a:solidFill>
              </a:rPr>
              <a:t>Return on Investment</a:t>
            </a:r>
          </a:p>
        </p:txBody>
      </p:sp>
      <p:pic>
        <p:nvPicPr>
          <p:cNvPr id="5" name="Picture 4"/>
          <p:cNvPicPr/>
          <p:nvPr/>
        </p:nvPicPr>
        <p:blipFill>
          <a:blip r:embed="rId3"/>
          <a:stretch>
            <a:fillRect/>
          </a:stretch>
        </p:blipFill>
        <p:spPr>
          <a:xfrm>
            <a:off x="322385" y="1837804"/>
            <a:ext cx="5814647" cy="340822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58068184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Barrier 3: </a:t>
            </a:r>
            <a:r>
              <a:rPr lang="en-US" dirty="0">
                <a:latin typeface="+mj-lt"/>
              </a:rPr>
              <a:t>Reduced Borrowing </a:t>
            </a:r>
            <a:r>
              <a:rPr lang="en-US" dirty="0" smtClean="0">
                <a:latin typeface="+mj-lt"/>
              </a:rPr>
              <a:t>Limits</a:t>
            </a:r>
            <a:endParaRPr lang="en-US" dirty="0">
              <a:latin typeface="+mj-lt"/>
            </a:endParaRPr>
          </a:p>
        </p:txBody>
      </p:sp>
      <p:sp>
        <p:nvSpPr>
          <p:cNvPr id="3" name="Text Placeholder 2"/>
          <p:cNvSpPr>
            <a:spLocks noGrp="1"/>
          </p:cNvSpPr>
          <p:nvPr>
            <p:ph type="body" sz="quarter" idx="10"/>
          </p:nvPr>
        </p:nvSpPr>
        <p:spPr>
          <a:xfrm>
            <a:off x="468923" y="1978925"/>
            <a:ext cx="2369811" cy="869761"/>
          </a:xfrm>
        </p:spPr>
        <p:txBody>
          <a:bodyPr/>
          <a:lstStyle/>
          <a:p>
            <a:pPr marL="0" indent="0">
              <a:lnSpc>
                <a:spcPct val="150000"/>
              </a:lnSpc>
              <a:buNone/>
            </a:pPr>
            <a:r>
              <a:rPr lang="en-US" dirty="0">
                <a:latin typeface="Arial" panose="020B0604020202020204" pitchFamily="34" charset="0"/>
                <a:cs typeface="Arial" panose="020B0604020202020204" pitchFamily="34" charset="0"/>
              </a:rPr>
              <a:t>In 2017, the major Credit Rating Agencies began dropping the credit scores of countries and  municipalities with high risk of climate impact damaging their assets.</a:t>
            </a:r>
          </a:p>
          <a:p>
            <a:endParaRPr lang="en-US" sz="2000" b="1" dirty="0"/>
          </a:p>
        </p:txBody>
      </p:sp>
      <p:sp>
        <p:nvSpPr>
          <p:cNvPr id="7" name="Text Placeholder 6"/>
          <p:cNvSpPr>
            <a:spLocks noGrp="1"/>
          </p:cNvSpPr>
          <p:nvPr>
            <p:ph type="body" sz="quarter" idx="12"/>
          </p:nvPr>
        </p:nvSpPr>
        <p:spPr/>
        <p:txBody>
          <a:bodyPr/>
          <a:lstStyle/>
          <a:p>
            <a:r>
              <a:rPr lang="en-US" dirty="0">
                <a:solidFill>
                  <a:schemeClr val="accent2">
                    <a:lumMod val="50000"/>
                  </a:schemeClr>
                </a:solidFill>
              </a:rPr>
              <a:t>Consider Credit Rating</a:t>
            </a:r>
          </a:p>
        </p:txBody>
      </p:sp>
      <p:pic>
        <p:nvPicPr>
          <p:cNvPr id="6" name="Picture 5"/>
          <p:cNvPicPr>
            <a:picLocks noChangeAspect="1"/>
          </p:cNvPicPr>
          <p:nvPr/>
        </p:nvPicPr>
        <p:blipFill rotWithShape="1">
          <a:blip r:embed="rId2"/>
          <a:srcRect r="12549" b="10934"/>
          <a:stretch/>
        </p:blipFill>
        <p:spPr>
          <a:xfrm>
            <a:off x="2531018" y="1246563"/>
            <a:ext cx="9371813" cy="4758451"/>
          </a:xfrm>
          <a:prstGeom prst="rect">
            <a:avLst/>
          </a:prstGeom>
        </p:spPr>
      </p:pic>
    </p:spTree>
    <p:extLst>
      <p:ext uri="{BB962C8B-B14F-4D97-AF65-F5344CB8AC3E}">
        <p14:creationId xmlns:p14="http://schemas.microsoft.com/office/powerpoint/2010/main" val="127831900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j-lt"/>
              </a:rPr>
              <a:t>Barrier 5: Aligning Time Horizons and Risk Appetites</a:t>
            </a:r>
            <a:endParaRPr lang="en-US" dirty="0">
              <a:latin typeface="+mj-lt"/>
            </a:endParaRPr>
          </a:p>
        </p:txBody>
      </p:sp>
      <p:sp>
        <p:nvSpPr>
          <p:cNvPr id="5" name="Content Placeholder 4"/>
          <p:cNvSpPr>
            <a:spLocks noGrp="1"/>
          </p:cNvSpPr>
          <p:nvPr>
            <p:ph type="body" sz="quarter" idx="11"/>
          </p:nvPr>
        </p:nvSpPr>
        <p:spPr>
          <a:xfrm>
            <a:off x="6428095" y="1250949"/>
            <a:ext cx="5474735" cy="5108907"/>
          </a:xfrm>
        </p:spPr>
        <p:txBody>
          <a:bodyPr/>
          <a:lstStyle/>
          <a:p>
            <a:pPr marL="0" indent="0">
              <a:buNone/>
            </a:pPr>
            <a:r>
              <a:rPr lang="en-US" sz="2000" b="1" dirty="0" smtClean="0">
                <a:latin typeface="Calibri" panose="020F0502020204030204" pitchFamily="34" charset="0"/>
                <a:cs typeface="Calibri" panose="020F0502020204030204" pitchFamily="34" charset="0"/>
              </a:rPr>
              <a:t>Coverage gaps</a:t>
            </a:r>
          </a:p>
          <a:p>
            <a:pPr marL="0" indent="0">
              <a:buNone/>
            </a:pPr>
            <a:endParaRPr lang="en-US" sz="2000" b="1" dirty="0" smtClean="0"/>
          </a:p>
          <a:p>
            <a:pPr>
              <a:lnSpc>
                <a:spcPct val="100000"/>
              </a:lnSpc>
              <a:buFont typeface="Wingdings" panose="05000000000000000000" pitchFamily="2" charset="2"/>
              <a:buChar char="§"/>
            </a:pPr>
            <a:r>
              <a:rPr lang="en-US" sz="1700" dirty="0" smtClean="0">
                <a:latin typeface="Calibri" panose="020F0502020204030204" pitchFamily="34" charset="0"/>
                <a:cs typeface="Calibri" panose="020F0502020204030204" pitchFamily="34" charset="0"/>
              </a:rPr>
              <a:t>Many contracts specify limits to coverage at what is considered an improbable event.</a:t>
            </a:r>
          </a:p>
          <a:p>
            <a:pPr>
              <a:lnSpc>
                <a:spcPct val="100000"/>
              </a:lnSpc>
              <a:buFont typeface="Wingdings" panose="05000000000000000000" pitchFamily="2" charset="2"/>
              <a:buChar char="§"/>
            </a:pPr>
            <a:endParaRPr lang="en-US" sz="1700" dirty="0" smtClean="0">
              <a:latin typeface="Calibri" panose="020F0502020204030204" pitchFamily="34" charset="0"/>
              <a:cs typeface="Calibri" panose="020F0502020204030204" pitchFamily="34" charset="0"/>
            </a:endParaRPr>
          </a:p>
          <a:p>
            <a:pPr lvl="2">
              <a:lnSpc>
                <a:spcPct val="100000"/>
              </a:lnSpc>
              <a:buFont typeface="Wingdings" panose="05000000000000000000" pitchFamily="2" charset="2"/>
              <a:buChar char="v"/>
            </a:pPr>
            <a:r>
              <a:rPr lang="en-US" sz="1700" dirty="0" smtClean="0">
                <a:latin typeface="Calibri" panose="020F0502020204030204" pitchFamily="34" charset="0"/>
                <a:cs typeface="Calibri" panose="020F0502020204030204" pitchFamily="34" charset="0"/>
              </a:rPr>
              <a:t>The 100 year storm or 1% probability </a:t>
            </a:r>
            <a:r>
              <a:rPr lang="en-US" sz="1700" dirty="0">
                <a:latin typeface="Calibri" panose="020F0502020204030204" pitchFamily="34" charset="0"/>
                <a:cs typeface="Calibri" panose="020F0502020204030204" pitchFamily="34" charset="0"/>
              </a:rPr>
              <a:t>of </a:t>
            </a:r>
            <a:r>
              <a:rPr lang="en-US" sz="1700" dirty="0" smtClean="0">
                <a:latin typeface="Calibri" panose="020F0502020204030204" pitchFamily="34" charset="0"/>
                <a:cs typeface="Calibri" panose="020F0502020204030204" pitchFamily="34" charset="0"/>
              </a:rPr>
              <a:t>flood </a:t>
            </a:r>
            <a:r>
              <a:rPr lang="en-US" sz="1700" dirty="0">
                <a:latin typeface="Calibri" panose="020F0502020204030204" pitchFamily="34" charset="0"/>
                <a:cs typeface="Calibri" panose="020F0502020204030204" pitchFamily="34" charset="0"/>
              </a:rPr>
              <a:t>sounds </a:t>
            </a:r>
            <a:r>
              <a:rPr lang="en-US" sz="1700" dirty="0" smtClean="0">
                <a:latin typeface="Calibri" panose="020F0502020204030204" pitchFamily="34" charset="0"/>
                <a:cs typeface="Calibri" panose="020F0502020204030204" pitchFamily="34" charset="0"/>
              </a:rPr>
              <a:t>like a very low risk event.</a:t>
            </a:r>
          </a:p>
          <a:p>
            <a:pPr>
              <a:lnSpc>
                <a:spcPct val="100000"/>
              </a:lnSpc>
              <a:buFont typeface="Wingdings" panose="05000000000000000000" pitchFamily="2" charset="2"/>
              <a:buChar char="§"/>
            </a:pPr>
            <a:endParaRPr lang="en-US" sz="1700" dirty="0">
              <a:latin typeface="Calibri" panose="020F0502020204030204" pitchFamily="34" charset="0"/>
              <a:cs typeface="Calibri" panose="020F0502020204030204" pitchFamily="34" charset="0"/>
            </a:endParaRPr>
          </a:p>
          <a:p>
            <a:pPr>
              <a:lnSpc>
                <a:spcPct val="100000"/>
              </a:lnSpc>
              <a:buFont typeface="Wingdings" panose="05000000000000000000" pitchFamily="2" charset="2"/>
              <a:buChar char="§"/>
            </a:pPr>
            <a:r>
              <a:rPr lang="en-US" sz="1700" dirty="0" smtClean="0">
                <a:latin typeface="Calibri" panose="020F0502020204030204" pitchFamily="34" charset="0"/>
                <a:cs typeface="Calibri" panose="020F0502020204030204" pitchFamily="34" charset="0"/>
              </a:rPr>
              <a:t>Even without Climate Change this event would have an over 50% probability of occurring during an average asset’s lifetime.</a:t>
            </a:r>
          </a:p>
          <a:p>
            <a:pPr>
              <a:lnSpc>
                <a:spcPct val="100000"/>
              </a:lnSpc>
              <a:buFont typeface="Wingdings" panose="05000000000000000000" pitchFamily="2" charset="2"/>
              <a:buChar char="§"/>
            </a:pPr>
            <a:endParaRPr lang="en-US" sz="1700" dirty="0">
              <a:latin typeface="Calibri" panose="020F0502020204030204" pitchFamily="34" charset="0"/>
              <a:cs typeface="Calibri" panose="020F0502020204030204" pitchFamily="34" charset="0"/>
            </a:endParaRPr>
          </a:p>
          <a:p>
            <a:pPr lvl="2">
              <a:lnSpc>
                <a:spcPct val="100000"/>
              </a:lnSpc>
              <a:buFont typeface="Wingdings" panose="05000000000000000000" pitchFamily="2" charset="2"/>
              <a:buChar char="v"/>
            </a:pPr>
            <a:r>
              <a:rPr lang="en-US" sz="1700" dirty="0" smtClean="0">
                <a:latin typeface="Calibri" panose="020F0502020204030204" pitchFamily="34" charset="0"/>
                <a:cs typeface="Calibri" panose="020F0502020204030204" pitchFamily="34" charset="0"/>
              </a:rPr>
              <a:t>A 10% probability during a loan period.</a:t>
            </a:r>
          </a:p>
          <a:p>
            <a:pPr>
              <a:lnSpc>
                <a:spcPct val="100000"/>
              </a:lnSpc>
              <a:buFont typeface="Wingdings" panose="05000000000000000000" pitchFamily="2" charset="2"/>
              <a:buChar char="§"/>
            </a:pPr>
            <a:endParaRPr lang="en-US" sz="1700" dirty="0">
              <a:latin typeface="Calibri" panose="020F0502020204030204" pitchFamily="34" charset="0"/>
              <a:cs typeface="Calibri" panose="020F0502020204030204" pitchFamily="34" charset="0"/>
            </a:endParaRPr>
          </a:p>
          <a:p>
            <a:pPr>
              <a:lnSpc>
                <a:spcPct val="100000"/>
              </a:lnSpc>
              <a:buFont typeface="Wingdings" panose="05000000000000000000" pitchFamily="2" charset="2"/>
              <a:buChar char="§"/>
            </a:pPr>
            <a:r>
              <a:rPr lang="en-US" sz="1700" dirty="0" smtClean="0">
                <a:latin typeface="Calibri" panose="020F0502020204030204" pitchFamily="34" charset="0"/>
                <a:cs typeface="Calibri" panose="020F0502020204030204" pitchFamily="34" charset="0"/>
              </a:rPr>
              <a:t>Recent Climate statistics show this scale of event happening on the order of 1/10 years pushing the cumulative numbers even higher.</a:t>
            </a:r>
            <a:endParaRPr lang="en-US" sz="1700" dirty="0">
              <a:latin typeface="Calibri" panose="020F0502020204030204" pitchFamily="34" charset="0"/>
              <a:cs typeface="Calibri" panose="020F0502020204030204" pitchFamily="34" charset="0"/>
            </a:endParaRPr>
          </a:p>
          <a:p>
            <a:endParaRPr lang="en-US" dirty="0"/>
          </a:p>
        </p:txBody>
      </p:sp>
      <p:sp>
        <p:nvSpPr>
          <p:cNvPr id="6" name="Text Placeholder 5"/>
          <p:cNvSpPr>
            <a:spLocks noGrp="1"/>
          </p:cNvSpPr>
          <p:nvPr>
            <p:ph type="body" sz="quarter" idx="12"/>
          </p:nvPr>
        </p:nvSpPr>
        <p:spPr/>
        <p:txBody>
          <a:bodyPr/>
          <a:lstStyle/>
          <a:p>
            <a:r>
              <a:rPr lang="en-US" dirty="0" smtClean="0">
                <a:solidFill>
                  <a:schemeClr val="accent2">
                    <a:lumMod val="50000"/>
                  </a:schemeClr>
                </a:solidFill>
              </a:rPr>
              <a:t>Threat Probability over Asset Lifecycle</a:t>
            </a:r>
            <a:endParaRPr lang="en-US" dirty="0">
              <a:solidFill>
                <a:schemeClr val="accent2">
                  <a:lumMod val="50000"/>
                </a:schemeClr>
              </a:solidFill>
            </a:endParaRPr>
          </a:p>
        </p:txBody>
      </p:sp>
      <p:pic>
        <p:nvPicPr>
          <p:cNvPr id="4" name="Picture 3"/>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saturation sat="400000"/>
                    </a14:imgEffect>
                  </a14:imgLayer>
                </a14:imgProps>
              </a:ext>
            </a:extLst>
          </a:blip>
          <a:stretch>
            <a:fillRect/>
          </a:stretch>
        </p:blipFill>
        <p:spPr>
          <a:xfrm>
            <a:off x="557895" y="1250950"/>
            <a:ext cx="5554713" cy="41915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8" name="Straight Arrow Connector 7"/>
          <p:cNvCxnSpPr/>
          <p:nvPr/>
        </p:nvCxnSpPr>
        <p:spPr>
          <a:xfrm flipH="1" flipV="1">
            <a:off x="4339989" y="2415654"/>
            <a:ext cx="1772619" cy="13647"/>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11" name="Straight Arrow Connector 10"/>
          <p:cNvCxnSpPr/>
          <p:nvPr/>
        </p:nvCxnSpPr>
        <p:spPr>
          <a:xfrm flipH="1">
            <a:off x="1803782" y="4157330"/>
            <a:ext cx="4308826" cy="21161"/>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2" name="Straight Arrow Connector 11"/>
          <p:cNvCxnSpPr/>
          <p:nvPr/>
        </p:nvCxnSpPr>
        <p:spPr>
          <a:xfrm flipH="1">
            <a:off x="1396623" y="4626591"/>
            <a:ext cx="4715985" cy="18199"/>
          </a:xfrm>
          <a:prstGeom prst="straightConnector1">
            <a:avLst/>
          </a:prstGeom>
          <a:ln>
            <a:tailEnd type="triangle"/>
          </a:ln>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410440706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 Research</a:t>
            </a:r>
            <a:endParaRPr lang="en-US" dirty="0"/>
          </a:p>
        </p:txBody>
      </p:sp>
      <p:sp>
        <p:nvSpPr>
          <p:cNvPr id="5" name="Text Placeholder 4"/>
          <p:cNvSpPr>
            <a:spLocks noGrp="1"/>
          </p:cNvSpPr>
          <p:nvPr>
            <p:ph type="body" sz="quarter" idx="12"/>
          </p:nvPr>
        </p:nvSpPr>
        <p:spPr/>
        <p:txBody>
          <a:bodyPr/>
          <a:lstStyle/>
          <a:p>
            <a:r>
              <a:rPr lang="en-US" dirty="0" smtClean="0"/>
              <a:t>Stakeholder Engagement</a:t>
            </a:r>
            <a:endParaRPr lang="en-US" dirty="0"/>
          </a:p>
        </p:txBody>
      </p:sp>
      <p:sp>
        <p:nvSpPr>
          <p:cNvPr id="6" name="Text Placeholder 2"/>
          <p:cNvSpPr>
            <a:spLocks noGrp="1"/>
          </p:cNvSpPr>
          <p:nvPr>
            <p:ph type="body" sz="quarter" idx="10"/>
          </p:nvPr>
        </p:nvSpPr>
        <p:spPr>
          <a:xfrm>
            <a:off x="7056119" y="1238250"/>
            <a:ext cx="4831471" cy="4187190"/>
          </a:xfrm>
        </p:spPr>
        <p:txBody>
          <a:bodyPr/>
          <a:lstStyle/>
          <a:p>
            <a:pPr marL="0" indent="0">
              <a:buNone/>
            </a:pPr>
            <a:endParaRPr lang="en-US" sz="1800" dirty="0" smtClean="0"/>
          </a:p>
          <a:p>
            <a:endParaRPr lang="en-US" dirty="0" smtClean="0"/>
          </a:p>
          <a:p>
            <a:endParaRPr lang="en-US" dirty="0"/>
          </a:p>
        </p:txBody>
      </p:sp>
      <p:pic>
        <p:nvPicPr>
          <p:cNvPr id="7" name="Picture 6"/>
          <p:cNvPicPr/>
          <p:nvPr/>
        </p:nvPicPr>
        <p:blipFill>
          <a:blip r:embed="rId3"/>
          <a:stretch>
            <a:fillRect/>
          </a:stretch>
        </p:blipFill>
        <p:spPr>
          <a:xfrm>
            <a:off x="1356360" y="1238250"/>
            <a:ext cx="9326880" cy="4781550"/>
          </a:xfrm>
          <a:prstGeom prst="rect">
            <a:avLst/>
          </a:prstGeom>
        </p:spPr>
      </p:pic>
    </p:spTree>
    <p:extLst>
      <p:ext uri="{BB962C8B-B14F-4D97-AF65-F5344CB8AC3E}">
        <p14:creationId xmlns:p14="http://schemas.microsoft.com/office/powerpoint/2010/main" val="1448010727"/>
      </p:ext>
    </p:extLst>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15"/>
          <p:cNvPicPr/>
          <p:nvPr/>
        </p:nvPicPr>
        <p:blipFill rotWithShape="1">
          <a:blip r:embed="rId3">
            <a:extLst>
              <a:ext uri="{BEBA8EAE-BF5A-486C-A8C5-ECC9F3942E4B}">
                <a14:imgProps xmlns:a14="http://schemas.microsoft.com/office/drawing/2010/main">
                  <a14:imgLayer r:embed="rId4">
                    <a14:imgEffect>
                      <a14:colorTemperature colorTemp="8000"/>
                    </a14:imgEffect>
                    <a14:imgEffect>
                      <a14:saturation sat="110000"/>
                    </a14:imgEffect>
                    <a14:imgEffect>
                      <a14:brightnessContrast bright="9000" contrast="14000"/>
                    </a14:imgEffect>
                  </a14:imgLayer>
                </a14:imgProps>
              </a:ext>
            </a:extLst>
          </a:blip>
          <a:srcRect l="1139" t="5938" r="-754" b="14148"/>
          <a:stretch/>
        </p:blipFill>
        <p:spPr>
          <a:xfrm>
            <a:off x="1" y="0"/>
            <a:ext cx="12279086" cy="6261464"/>
          </a:xfrm>
          <a:prstGeom prst="rect">
            <a:avLst/>
          </a:prstGeom>
        </p:spPr>
      </p:pic>
      <p:sp>
        <p:nvSpPr>
          <p:cNvPr id="2" name="Title 1"/>
          <p:cNvSpPr>
            <a:spLocks noGrp="1"/>
          </p:cNvSpPr>
          <p:nvPr>
            <p:ph type="title"/>
          </p:nvPr>
        </p:nvSpPr>
        <p:spPr>
          <a:xfrm>
            <a:off x="388962" y="248768"/>
            <a:ext cx="6898942" cy="1133618"/>
          </a:xfrm>
        </p:spPr>
        <p:txBody>
          <a:bodyPr/>
          <a:lstStyle/>
          <a:p>
            <a:r>
              <a:rPr lang="en-US" b="1" dirty="0">
                <a:solidFill>
                  <a:srgbClr val="002060"/>
                </a:solidFill>
              </a:rPr>
              <a:t>Incorporating Climate Risk into Performance-Based Contracting</a:t>
            </a:r>
          </a:p>
        </p:txBody>
      </p:sp>
      <p:sp>
        <p:nvSpPr>
          <p:cNvPr id="3" name="Text Placeholder 2"/>
          <p:cNvSpPr>
            <a:spLocks noGrp="1"/>
          </p:cNvSpPr>
          <p:nvPr>
            <p:ph type="body" sz="quarter" idx="10"/>
          </p:nvPr>
        </p:nvSpPr>
        <p:spPr>
          <a:xfrm>
            <a:off x="513960" y="5196497"/>
            <a:ext cx="11676417" cy="1064967"/>
          </a:xfrm>
        </p:spPr>
        <p:txBody>
          <a:bodyPr/>
          <a:lstStyle/>
          <a:p>
            <a:r>
              <a:rPr lang="en-GB" b="1" dirty="0" smtClean="0">
                <a:solidFill>
                  <a:srgbClr val="0070C0"/>
                </a:solidFill>
              </a:rPr>
              <a:t>Yana Waldman PE</a:t>
            </a:r>
            <a:endParaRPr lang="en-GB" b="1" dirty="0">
              <a:solidFill>
                <a:srgbClr val="0070C0"/>
              </a:solidFill>
            </a:endParaRPr>
          </a:p>
          <a:p>
            <a:r>
              <a:rPr lang="en-GB" b="1" dirty="0" smtClean="0">
                <a:solidFill>
                  <a:srgbClr val="0070C0"/>
                </a:solidFill>
              </a:rPr>
              <a:t>Resilient Engineering Consultant</a:t>
            </a:r>
          </a:p>
          <a:p>
            <a:r>
              <a:rPr lang="en-GB" b="1" dirty="0" smtClean="0">
                <a:solidFill>
                  <a:schemeClr val="accent2">
                    <a:lumMod val="50000"/>
                  </a:schemeClr>
                </a:solidFill>
              </a:rPr>
              <a:t>Infrastructure Advisory</a:t>
            </a:r>
            <a:endParaRPr lang="en-GB" b="1" dirty="0">
              <a:solidFill>
                <a:schemeClr val="accent2">
                  <a:lumMod val="50000"/>
                </a:schemeClr>
              </a:solidFill>
            </a:endParaRPr>
          </a:p>
        </p:txBody>
      </p:sp>
      <p:pic>
        <p:nvPicPr>
          <p:cNvPr id="4" name="Picture 3"/>
          <p:cNvPicPr>
            <a:picLocks noChangeAspect="1"/>
          </p:cNvPicPr>
          <p:nvPr/>
        </p:nvPicPr>
        <p:blipFill>
          <a:blip r:embed="rId5"/>
          <a:stretch>
            <a:fillRect/>
          </a:stretch>
        </p:blipFill>
        <p:spPr>
          <a:xfrm>
            <a:off x="8851207" y="6323014"/>
            <a:ext cx="2132572" cy="420052"/>
          </a:xfrm>
          <a:prstGeom prst="rect">
            <a:avLst/>
          </a:prstGeom>
        </p:spPr>
      </p:pic>
      <p:sp>
        <p:nvSpPr>
          <p:cNvPr id="8" name="TextBox 7"/>
          <p:cNvSpPr txBox="1"/>
          <p:nvPr/>
        </p:nvSpPr>
        <p:spPr>
          <a:xfrm>
            <a:off x="388962" y="6323014"/>
            <a:ext cx="2490716" cy="369332"/>
          </a:xfrm>
          <a:prstGeom prst="rect">
            <a:avLst/>
          </a:prstGeom>
          <a:noFill/>
        </p:spPr>
        <p:txBody>
          <a:bodyPr wrap="square" rtlCol="0">
            <a:spAutoFit/>
          </a:bodyPr>
          <a:lstStyle/>
          <a:p>
            <a:r>
              <a:rPr lang="en-US" b="1" dirty="0" smtClean="0">
                <a:solidFill>
                  <a:srgbClr val="002060"/>
                </a:solidFill>
              </a:rPr>
              <a:t>Houston TX, 2017</a:t>
            </a:r>
            <a:endParaRPr lang="en-US" b="1" dirty="0">
              <a:solidFill>
                <a:srgbClr val="002060"/>
              </a:solidFill>
            </a:endParaRPr>
          </a:p>
        </p:txBody>
      </p:sp>
    </p:spTree>
    <p:extLst>
      <p:ext uri="{BB962C8B-B14F-4D97-AF65-F5344CB8AC3E}">
        <p14:creationId xmlns:p14="http://schemas.microsoft.com/office/powerpoint/2010/main" val="866648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 Research</a:t>
            </a:r>
            <a:endParaRPr lang="en-US" dirty="0"/>
          </a:p>
        </p:txBody>
      </p:sp>
      <p:sp>
        <p:nvSpPr>
          <p:cNvPr id="5" name="Text Placeholder 4"/>
          <p:cNvSpPr>
            <a:spLocks noGrp="1"/>
          </p:cNvSpPr>
          <p:nvPr>
            <p:ph type="body" sz="quarter" idx="12"/>
          </p:nvPr>
        </p:nvSpPr>
        <p:spPr>
          <a:xfrm>
            <a:off x="322385" y="642939"/>
            <a:ext cx="2064680" cy="492125"/>
          </a:xfrm>
        </p:spPr>
        <p:txBody>
          <a:bodyPr/>
          <a:lstStyle/>
          <a:p>
            <a:r>
              <a:rPr lang="en-US" dirty="0" smtClean="0"/>
              <a:t>Stakeholder Input</a:t>
            </a:r>
          </a:p>
          <a:p>
            <a:endParaRPr lang="en-US" dirty="0"/>
          </a:p>
        </p:txBody>
      </p:sp>
      <p:sp>
        <p:nvSpPr>
          <p:cNvPr id="6" name="Text Placeholder 2"/>
          <p:cNvSpPr>
            <a:spLocks noGrp="1"/>
          </p:cNvSpPr>
          <p:nvPr>
            <p:ph type="body" sz="quarter" idx="10"/>
          </p:nvPr>
        </p:nvSpPr>
        <p:spPr>
          <a:xfrm>
            <a:off x="7056119" y="1238250"/>
            <a:ext cx="4831471" cy="4187190"/>
          </a:xfrm>
        </p:spPr>
        <p:txBody>
          <a:bodyPr/>
          <a:lstStyle/>
          <a:p>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251272453"/>
              </p:ext>
            </p:extLst>
          </p:nvPr>
        </p:nvGraphicFramePr>
        <p:xfrm>
          <a:off x="2392680" y="642939"/>
          <a:ext cx="9520580" cy="5795991"/>
        </p:xfrm>
        <a:graphic>
          <a:graphicData uri="http://schemas.openxmlformats.org/drawingml/2006/table">
            <a:tbl>
              <a:tblPr firstRow="1" firstCol="1" bandRow="1">
                <a:tableStyleId>{21E4AEA4-8DFA-4A89-87EB-49C32662AFE0}</a:tableStyleId>
              </a:tblPr>
              <a:tblGrid>
                <a:gridCol w="2067664"/>
                <a:gridCol w="7452916"/>
              </a:tblGrid>
              <a:tr h="407786">
                <a:tc>
                  <a:txBody>
                    <a:bodyPr/>
                    <a:lstStyle/>
                    <a:p>
                      <a:pPr marL="0" marR="0" algn="r">
                        <a:lnSpc>
                          <a:spcPts val="1000"/>
                        </a:lnSpc>
                        <a:spcBef>
                          <a:spcPts val="285"/>
                        </a:spcBef>
                        <a:spcAft>
                          <a:spcPts val="285"/>
                        </a:spcAft>
                      </a:pPr>
                      <a:r>
                        <a:rPr lang="en-US" sz="1800" dirty="0">
                          <a:effectLst/>
                        </a:rPr>
                        <a:t>Party</a:t>
                      </a:r>
                      <a:endParaRPr lang="en-US" sz="1800" b="1" dirty="0">
                        <a:effectLst/>
                        <a:latin typeface="+mj-lt"/>
                        <a:ea typeface="SimSun" panose="02010600030101010101" pitchFamily="2" charset="-122"/>
                        <a:cs typeface="Calibri" panose="020F0502020204030204" pitchFamily="34" charset="0"/>
                      </a:endParaRPr>
                    </a:p>
                  </a:txBody>
                  <a:tcPr marL="68580" marR="68580" marT="0" marB="0" anchor="ctr">
                    <a:solidFill>
                      <a:schemeClr val="accent2">
                        <a:lumMod val="50000"/>
                      </a:schemeClr>
                    </a:solidFill>
                  </a:tcPr>
                </a:tc>
                <a:tc>
                  <a:txBody>
                    <a:bodyPr/>
                    <a:lstStyle/>
                    <a:p>
                      <a:pPr marL="0" marR="0">
                        <a:lnSpc>
                          <a:spcPts val="1000"/>
                        </a:lnSpc>
                        <a:spcBef>
                          <a:spcPts val="285"/>
                        </a:spcBef>
                        <a:spcAft>
                          <a:spcPts val="285"/>
                        </a:spcAft>
                      </a:pPr>
                      <a:r>
                        <a:rPr lang="en-US" sz="1800" dirty="0">
                          <a:effectLst/>
                        </a:rPr>
                        <a:t>Takeaways</a:t>
                      </a:r>
                      <a:endParaRPr lang="en-US" sz="1800" b="1" dirty="0">
                        <a:effectLst/>
                        <a:latin typeface="+mj-lt"/>
                        <a:ea typeface="SimSun" panose="02010600030101010101" pitchFamily="2" charset="-122"/>
                        <a:cs typeface="Calibri" panose="020F0502020204030204" pitchFamily="34" charset="0"/>
                      </a:endParaRPr>
                    </a:p>
                  </a:txBody>
                  <a:tcPr marL="68580" marR="68580" marT="0" marB="0" anchor="ctr">
                    <a:solidFill>
                      <a:schemeClr val="accent2">
                        <a:lumMod val="50000"/>
                      </a:schemeClr>
                    </a:solidFill>
                  </a:tcPr>
                </a:tc>
              </a:tr>
              <a:tr h="326445">
                <a:tc rowSpan="4">
                  <a:txBody>
                    <a:bodyPr/>
                    <a:lstStyle/>
                    <a:p>
                      <a:pPr marL="0" marR="0" algn="r">
                        <a:lnSpc>
                          <a:spcPts val="1000"/>
                        </a:lnSpc>
                        <a:spcBef>
                          <a:spcPts val="285"/>
                        </a:spcBef>
                        <a:spcAft>
                          <a:spcPts val="285"/>
                        </a:spcAft>
                      </a:pPr>
                      <a:r>
                        <a:rPr lang="en-US" sz="1400" dirty="0" smtClean="0">
                          <a:effectLst/>
                        </a:rPr>
                        <a:t>Contractors/ </a:t>
                      </a:r>
                    </a:p>
                    <a:p>
                      <a:pPr marL="0" marR="0" algn="r">
                        <a:lnSpc>
                          <a:spcPts val="1000"/>
                        </a:lnSpc>
                        <a:spcBef>
                          <a:spcPts val="285"/>
                        </a:spcBef>
                        <a:spcAft>
                          <a:spcPts val="285"/>
                        </a:spcAft>
                      </a:pPr>
                      <a:r>
                        <a:rPr lang="en-US" sz="1400" dirty="0" smtClean="0">
                          <a:effectLst/>
                        </a:rPr>
                        <a:t>Developer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The costs associated with recovering from climate shocks and stressors will impact project profit</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358676">
                <a:tc vMerge="1">
                  <a:txBody>
                    <a:bodyPr/>
                    <a:lstStyle/>
                    <a:p>
                      <a:endParaRPr lang="en-US"/>
                    </a:p>
                  </a:txBody>
                  <a:tcP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Uncertainty around climate risk could dissuade contractors and/or lead to increases in price to buffer the climate risk contingency</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391977">
                <a:tc vMerge="1">
                  <a:txBody>
                    <a:bodyPr/>
                    <a:lstStyle/>
                    <a:p>
                      <a:endParaRPr lang="en-US"/>
                    </a:p>
                  </a:txBody>
                  <a:tcP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Responsibility for maintenance of the mitigation facilities provides one mechanism for control</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226374">
                <a:tc vMerge="1">
                  <a:txBody>
                    <a:bodyPr/>
                    <a:lstStyle/>
                    <a:p>
                      <a:endParaRPr lang="en-US"/>
                    </a:p>
                  </a:txBody>
                  <a:tcP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The definition of force majeure will likely need to evolve with respect to climate change</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581452">
                <a:tc rowSpan="2">
                  <a:txBody>
                    <a:bodyPr/>
                    <a:lstStyle/>
                    <a:p>
                      <a:pPr marL="0" marR="0" algn="r">
                        <a:lnSpc>
                          <a:spcPts val="1000"/>
                        </a:lnSpc>
                        <a:spcBef>
                          <a:spcPts val="285"/>
                        </a:spcBef>
                        <a:spcAft>
                          <a:spcPts val="285"/>
                        </a:spcAft>
                      </a:pPr>
                      <a:r>
                        <a:rPr lang="en-US" sz="1400" dirty="0" smtClean="0">
                          <a:effectLst/>
                        </a:rPr>
                        <a:t>Owners/ </a:t>
                      </a:r>
                    </a:p>
                    <a:p>
                      <a:pPr marL="0" marR="0" algn="r">
                        <a:lnSpc>
                          <a:spcPts val="1000"/>
                        </a:lnSpc>
                        <a:spcBef>
                          <a:spcPts val="285"/>
                        </a:spcBef>
                        <a:spcAft>
                          <a:spcPts val="285"/>
                        </a:spcAft>
                      </a:pPr>
                      <a:r>
                        <a:rPr lang="en-US" sz="1400" dirty="0" smtClean="0">
                          <a:effectLst/>
                        </a:rPr>
                        <a:t>Client </a:t>
                      </a:r>
                    </a:p>
                    <a:p>
                      <a:pPr marL="0" marR="0" algn="r">
                        <a:lnSpc>
                          <a:spcPts val="1000"/>
                        </a:lnSpc>
                        <a:spcBef>
                          <a:spcPts val="285"/>
                        </a:spcBef>
                        <a:spcAft>
                          <a:spcPts val="285"/>
                        </a:spcAft>
                      </a:pPr>
                      <a:r>
                        <a:rPr lang="en-US" sz="1400" dirty="0" smtClean="0">
                          <a:effectLst/>
                        </a:rPr>
                        <a:t>Countrie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When the contingency budgets for storm repairs, increased drainage maintenance and unforeseen conditions have been exceeded, the regional government and asset owners are hit with additional service request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377366">
                <a:tc vMerge="1">
                  <a:txBody>
                    <a:bodyPr/>
                    <a:lstStyle/>
                    <a:p>
                      <a:endParaRPr lang="en-US"/>
                    </a:p>
                  </a:txBody>
                  <a:tcP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Threats posed by offsite causes such as poor land use planning, agriculture and logging are hard to manage </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365042">
                <a:tc rowSpan="2">
                  <a:txBody>
                    <a:bodyPr/>
                    <a:lstStyle/>
                    <a:p>
                      <a:pPr marL="0" marR="0" algn="r">
                        <a:lnSpc>
                          <a:spcPts val="1000"/>
                        </a:lnSpc>
                        <a:spcBef>
                          <a:spcPts val="285"/>
                        </a:spcBef>
                        <a:spcAft>
                          <a:spcPts val="285"/>
                        </a:spcAft>
                      </a:pPr>
                      <a:r>
                        <a:rPr lang="en-US" sz="1400" dirty="0" smtClean="0">
                          <a:effectLst/>
                        </a:rPr>
                        <a:t>Funders/</a:t>
                      </a:r>
                    </a:p>
                    <a:p>
                      <a:pPr marL="0" marR="0" algn="r">
                        <a:lnSpc>
                          <a:spcPts val="1000"/>
                        </a:lnSpc>
                        <a:spcBef>
                          <a:spcPts val="285"/>
                        </a:spcBef>
                        <a:spcAft>
                          <a:spcPts val="285"/>
                        </a:spcAft>
                      </a:pPr>
                      <a:r>
                        <a:rPr lang="en-US" sz="1400" dirty="0" smtClean="0">
                          <a:effectLst/>
                        </a:rPr>
                        <a:t>Investor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Duration of investment terms need to be extended </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407162">
                <a:tc vMerge="1">
                  <a:txBody>
                    <a:bodyPr/>
                    <a:lstStyle/>
                    <a:p>
                      <a:endParaRPr lang="en-US"/>
                    </a:p>
                  </a:txBody>
                  <a:tcP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Contractual language should be augmented to incentivize resilience planning by developers </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358676">
                <a:tc rowSpan="2">
                  <a:txBody>
                    <a:bodyPr/>
                    <a:lstStyle/>
                    <a:p>
                      <a:pPr marL="0" marR="0" algn="r">
                        <a:lnSpc>
                          <a:spcPts val="1000"/>
                        </a:lnSpc>
                        <a:spcBef>
                          <a:spcPts val="285"/>
                        </a:spcBef>
                        <a:spcAft>
                          <a:spcPts val="285"/>
                        </a:spcAft>
                      </a:pPr>
                      <a:r>
                        <a:rPr lang="en-US" sz="1400" dirty="0">
                          <a:effectLst/>
                        </a:rPr>
                        <a:t>Communitie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Local involvement in project development, execution and transition of ownership is vital to ensuring the ongoing feasibility of investment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538014">
                <a:tc vMerge="1">
                  <a:txBody>
                    <a:bodyPr/>
                    <a:lstStyle/>
                    <a:p>
                      <a:endParaRPr lang="en-US"/>
                    </a:p>
                  </a:txBody>
                  <a:tcP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Project evaluation should consider economic impact of roadway on local community from both the positive perspective of increased commerce and the negative perspective of business continuity downtime associated with reduced availability.</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586820">
                <a:tc rowSpan="2">
                  <a:txBody>
                    <a:bodyPr/>
                    <a:lstStyle/>
                    <a:p>
                      <a:pPr marL="0" marR="0" algn="r">
                        <a:lnSpc>
                          <a:spcPts val="1000"/>
                        </a:lnSpc>
                        <a:spcBef>
                          <a:spcPts val="285"/>
                        </a:spcBef>
                        <a:spcAft>
                          <a:spcPts val="285"/>
                        </a:spcAft>
                      </a:pPr>
                      <a:r>
                        <a:rPr lang="en-US" sz="1400" dirty="0" smtClean="0">
                          <a:effectLst/>
                        </a:rPr>
                        <a:t>Insurer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As providers increasingly experience claims as a result of intensifying climatic events, they will need to balance these with higher premium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524065">
                <a:tc vMerge="1">
                  <a:txBody>
                    <a:bodyPr/>
                    <a:lstStyle/>
                    <a:p>
                      <a:endParaRPr lang="en-US"/>
                    </a:p>
                  </a:txBody>
                  <a:tcPr/>
                </a:tc>
                <a:tc>
                  <a:txBody>
                    <a:bodyPr/>
                    <a:lstStyle/>
                    <a:p>
                      <a:pPr marL="0" marR="0">
                        <a:lnSpc>
                          <a:spcPct val="100000"/>
                        </a:lnSpc>
                        <a:spcBef>
                          <a:spcPts val="285"/>
                        </a:spcBef>
                        <a:spcAft>
                          <a:spcPts val="285"/>
                        </a:spcAft>
                      </a:pPr>
                      <a:r>
                        <a:rPr lang="en-US" sz="1400" dirty="0">
                          <a:effectLst/>
                          <a:latin typeface="Calibri" panose="020F0502020204030204" pitchFamily="34" charset="0"/>
                          <a:cs typeface="Calibri" panose="020F0502020204030204" pitchFamily="34" charset="0"/>
                        </a:rPr>
                        <a:t>Many countries without insurance markets lack coverage and are forced to self-insure with rainy day funds or turn to government bailout options.</a:t>
                      </a:r>
                      <a:endParaRPr lang="en-US" sz="1400" dirty="0">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bl>
          </a:graphicData>
        </a:graphic>
      </p:graphicFrame>
      <p:pic>
        <p:nvPicPr>
          <p:cNvPr id="307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00263" y="1238250"/>
            <a:ext cx="790869" cy="79086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61651" y="2576989"/>
            <a:ext cx="540837" cy="515875"/>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61651" y="3640734"/>
            <a:ext cx="540837" cy="540837"/>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1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61651" y="4458500"/>
            <a:ext cx="545631" cy="545631"/>
          </a:xfrm>
          <a:prstGeom prst="rect">
            <a:avLst/>
          </a:prstGeom>
          <a:noFill/>
          <a:extLst>
            <a:ext uri="{909E8E84-426E-40DD-AFC4-6F175D3DCCD1}">
              <a14:hiddenFill xmlns:a14="http://schemas.microsoft.com/office/drawing/2010/main">
                <a:solidFill>
                  <a:srgbClr val="FFFFFF"/>
                </a:solidFill>
              </a14:hiddenFill>
            </a:ext>
          </a:extLst>
        </p:spPr>
      </p:pic>
      <p:pic>
        <p:nvPicPr>
          <p:cNvPr id="3073" name="Picture 1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64325" y="5554818"/>
            <a:ext cx="538163" cy="5381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172203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 Research</a:t>
            </a:r>
            <a:endParaRPr lang="en-US" dirty="0"/>
          </a:p>
        </p:txBody>
      </p:sp>
      <p:sp>
        <p:nvSpPr>
          <p:cNvPr id="5" name="Text Placeholder 4"/>
          <p:cNvSpPr>
            <a:spLocks noGrp="1"/>
          </p:cNvSpPr>
          <p:nvPr>
            <p:ph type="body" sz="quarter" idx="12"/>
          </p:nvPr>
        </p:nvSpPr>
        <p:spPr/>
        <p:txBody>
          <a:bodyPr/>
          <a:lstStyle/>
          <a:p>
            <a:r>
              <a:rPr lang="en-US" dirty="0" smtClean="0"/>
              <a:t>Key Challenges</a:t>
            </a:r>
            <a:endParaRPr lang="en-US" dirty="0"/>
          </a:p>
        </p:txBody>
      </p:sp>
      <p:sp>
        <p:nvSpPr>
          <p:cNvPr id="6" name="Text Placeholder 2"/>
          <p:cNvSpPr>
            <a:spLocks noGrp="1"/>
          </p:cNvSpPr>
          <p:nvPr>
            <p:ph type="body" sz="quarter" idx="10"/>
          </p:nvPr>
        </p:nvSpPr>
        <p:spPr>
          <a:xfrm>
            <a:off x="322386" y="1238250"/>
            <a:ext cx="5539400" cy="4187190"/>
          </a:xfrm>
        </p:spPr>
        <p:txBody>
          <a:bodyPr/>
          <a:lstStyle/>
          <a:p>
            <a:pPr marL="0" indent="0">
              <a:buNone/>
            </a:pPr>
            <a:endParaRPr lang="en-US" dirty="0"/>
          </a:p>
          <a:p>
            <a:pPr marL="342900" lvl="0" indent="-342900">
              <a:lnSpc>
                <a:spcPct val="100000"/>
              </a:lnSpc>
              <a:buFont typeface="+mj-lt"/>
              <a:buAutoNum type="arabicPeriod"/>
            </a:pPr>
            <a:r>
              <a:rPr lang="en-US" sz="2000" b="1" dirty="0" smtClean="0"/>
              <a:t>Poor Risk </a:t>
            </a:r>
            <a:r>
              <a:rPr lang="en-US" sz="2000" b="1" dirty="0"/>
              <a:t>Identification:</a:t>
            </a:r>
            <a:r>
              <a:rPr lang="en-US" sz="2000" dirty="0"/>
              <a:t> </a:t>
            </a:r>
            <a:r>
              <a:rPr lang="en-US" sz="2000" dirty="0" smtClean="0"/>
              <a:t>Climate </a:t>
            </a:r>
            <a:r>
              <a:rPr lang="en-US" sz="2000" dirty="0"/>
              <a:t>data is out of date and future projections are variable over investment periods</a:t>
            </a:r>
            <a:r>
              <a:rPr lang="en-US" sz="2000" dirty="0" smtClean="0"/>
              <a:t>.</a:t>
            </a:r>
          </a:p>
          <a:p>
            <a:pPr marL="342900" lvl="0" indent="-342900">
              <a:lnSpc>
                <a:spcPct val="100000"/>
              </a:lnSpc>
              <a:buFont typeface="+mj-lt"/>
              <a:buAutoNum type="arabicPeriod"/>
            </a:pPr>
            <a:endParaRPr lang="en-US" sz="2000" dirty="0"/>
          </a:p>
          <a:p>
            <a:pPr marL="342900" lvl="0" indent="-342900">
              <a:lnSpc>
                <a:spcPct val="100000"/>
              </a:lnSpc>
              <a:buFont typeface="+mj-lt"/>
              <a:buAutoNum type="arabicPeriod"/>
            </a:pPr>
            <a:r>
              <a:rPr lang="en-US" sz="2000" b="1" dirty="0" smtClean="0"/>
              <a:t>Inaccurate Risk </a:t>
            </a:r>
            <a:r>
              <a:rPr lang="en-US" sz="2000" b="1" dirty="0"/>
              <a:t>Valuation:</a:t>
            </a:r>
            <a:r>
              <a:rPr lang="en-US" sz="2000" dirty="0"/>
              <a:t> </a:t>
            </a:r>
            <a:r>
              <a:rPr lang="en-US" sz="2000" dirty="0" smtClean="0"/>
              <a:t>Vulnerability </a:t>
            </a:r>
            <a:r>
              <a:rPr lang="en-US" sz="2000" dirty="0"/>
              <a:t>assessment of projects does not typically consider the economic and social impact of asset availability</a:t>
            </a:r>
            <a:r>
              <a:rPr lang="en-US" sz="2000" dirty="0" smtClean="0"/>
              <a:t>.</a:t>
            </a:r>
          </a:p>
          <a:p>
            <a:pPr marL="342900" lvl="0" indent="-342900">
              <a:lnSpc>
                <a:spcPct val="100000"/>
              </a:lnSpc>
              <a:buFont typeface="+mj-lt"/>
              <a:buAutoNum type="arabicPeriod"/>
            </a:pPr>
            <a:endParaRPr lang="en-US" sz="2000" dirty="0"/>
          </a:p>
          <a:p>
            <a:pPr marL="342900" lvl="0" indent="-342900">
              <a:lnSpc>
                <a:spcPct val="100000"/>
              </a:lnSpc>
              <a:buFont typeface="+mj-lt"/>
              <a:buAutoNum type="arabicPeriod"/>
            </a:pPr>
            <a:r>
              <a:rPr lang="en-US" sz="2000" b="1" dirty="0" smtClean="0"/>
              <a:t>Ineffective Risk </a:t>
            </a:r>
            <a:r>
              <a:rPr lang="en-US" sz="2000" b="1" dirty="0"/>
              <a:t>Allocation:</a:t>
            </a:r>
            <a:r>
              <a:rPr lang="en-US" sz="2000" dirty="0"/>
              <a:t> </a:t>
            </a:r>
            <a:r>
              <a:rPr lang="en-US" sz="2000" dirty="0" smtClean="0"/>
              <a:t>Risk </a:t>
            </a:r>
            <a:r>
              <a:rPr lang="en-US" sz="2000" dirty="0"/>
              <a:t>ownership is not aligned with responsibility and unknown exposure discourages investment.</a:t>
            </a:r>
          </a:p>
          <a:p>
            <a:pPr marL="0" indent="0">
              <a:buNone/>
            </a:pPr>
            <a:endParaRPr lang="en-US" sz="2000" dirty="0"/>
          </a:p>
        </p:txBody>
      </p:sp>
      <p:graphicFrame>
        <p:nvGraphicFramePr>
          <p:cNvPr id="3" name="Table 2"/>
          <p:cNvGraphicFramePr>
            <a:graphicFrameLocks noGrp="1"/>
          </p:cNvGraphicFramePr>
          <p:nvPr>
            <p:extLst>
              <p:ext uri="{D42A27DB-BD31-4B8C-83A1-F6EECF244321}">
                <p14:modId xmlns:p14="http://schemas.microsoft.com/office/powerpoint/2010/main" val="2423287511"/>
              </p:ext>
            </p:extLst>
          </p:nvPr>
        </p:nvGraphicFramePr>
        <p:xfrm>
          <a:off x="6273800" y="1238250"/>
          <a:ext cx="5629031" cy="4730748"/>
        </p:xfrm>
        <a:graphic>
          <a:graphicData uri="http://schemas.openxmlformats.org/drawingml/2006/table">
            <a:tbl>
              <a:tblPr firstRow="1" firstCol="1" bandRow="1">
                <a:tableStyleId>{21E4AEA4-8DFA-4A89-87EB-49C32662AFE0}</a:tableStyleId>
              </a:tblPr>
              <a:tblGrid>
                <a:gridCol w="2246201"/>
                <a:gridCol w="3382830"/>
              </a:tblGrid>
              <a:tr h="788458">
                <a:tc>
                  <a:txBody>
                    <a:bodyPr/>
                    <a:lstStyle/>
                    <a:p>
                      <a:pPr marL="0" marR="0">
                        <a:lnSpc>
                          <a:spcPct val="100000"/>
                        </a:lnSpc>
                        <a:spcBef>
                          <a:spcPts val="285"/>
                        </a:spcBef>
                        <a:spcAft>
                          <a:spcPts val="285"/>
                        </a:spcAft>
                      </a:pPr>
                      <a:r>
                        <a:rPr lang="en-US" sz="1800" dirty="0">
                          <a:effectLst/>
                        </a:rPr>
                        <a:t>Implementation Phase</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solidFill>
                      <a:schemeClr val="accent2">
                        <a:lumMod val="50000"/>
                      </a:schemeClr>
                    </a:solidFill>
                  </a:tcPr>
                </a:tc>
                <a:tc>
                  <a:txBody>
                    <a:bodyPr/>
                    <a:lstStyle/>
                    <a:p>
                      <a:pPr marL="0" marR="0">
                        <a:lnSpc>
                          <a:spcPct val="100000"/>
                        </a:lnSpc>
                        <a:spcBef>
                          <a:spcPts val="285"/>
                        </a:spcBef>
                        <a:spcAft>
                          <a:spcPts val="285"/>
                        </a:spcAft>
                      </a:pPr>
                      <a:r>
                        <a:rPr lang="en-US" sz="1800" dirty="0">
                          <a:effectLst/>
                        </a:rPr>
                        <a:t>Challenges</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solidFill>
                      <a:schemeClr val="accent2">
                        <a:lumMod val="50000"/>
                      </a:schemeClr>
                    </a:solidFill>
                  </a:tcPr>
                </a:tc>
              </a:tr>
              <a:tr h="788458">
                <a:tc>
                  <a:txBody>
                    <a:bodyPr/>
                    <a:lstStyle/>
                    <a:p>
                      <a:pPr marL="0" marR="0">
                        <a:lnSpc>
                          <a:spcPct val="100000"/>
                        </a:lnSpc>
                        <a:spcBef>
                          <a:spcPts val="285"/>
                        </a:spcBef>
                        <a:spcAft>
                          <a:spcPts val="285"/>
                        </a:spcAft>
                      </a:pPr>
                      <a:r>
                        <a:rPr lang="en-US" sz="1800" dirty="0">
                          <a:effectLst/>
                        </a:rPr>
                        <a:t>Planning</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US" sz="1600" dirty="0">
                          <a:solidFill>
                            <a:schemeClr val="tx1"/>
                          </a:solidFill>
                          <a:effectLst/>
                          <a:latin typeface="Calibri" panose="020F0502020204030204" pitchFamily="34" charset="0"/>
                          <a:cs typeface="Calibri" panose="020F0502020204030204" pitchFamily="34" charset="0"/>
                        </a:rPr>
                        <a:t>Lack of clear understanding of risk exposure now and in the future</a:t>
                      </a:r>
                      <a:endParaRPr lang="en-US" sz="16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788458">
                <a:tc>
                  <a:txBody>
                    <a:bodyPr/>
                    <a:lstStyle/>
                    <a:p>
                      <a:pPr marL="0" marR="0">
                        <a:lnSpc>
                          <a:spcPct val="100000"/>
                        </a:lnSpc>
                        <a:spcBef>
                          <a:spcPts val="285"/>
                        </a:spcBef>
                        <a:spcAft>
                          <a:spcPts val="285"/>
                        </a:spcAft>
                      </a:pPr>
                      <a:r>
                        <a:rPr lang="en-US" sz="1800" dirty="0">
                          <a:effectLst/>
                        </a:rPr>
                        <a:t>Design</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US" sz="1600" dirty="0">
                          <a:solidFill>
                            <a:schemeClr val="tx1"/>
                          </a:solidFill>
                          <a:effectLst/>
                          <a:latin typeface="Calibri" panose="020F0502020204030204" pitchFamily="34" charset="0"/>
                          <a:cs typeface="Calibri" panose="020F0502020204030204" pitchFamily="34" charset="0"/>
                        </a:rPr>
                        <a:t>Lack of appropriate standards to encourage adaptation measures</a:t>
                      </a:r>
                      <a:endParaRPr lang="en-US" sz="16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788458">
                <a:tc>
                  <a:txBody>
                    <a:bodyPr/>
                    <a:lstStyle/>
                    <a:p>
                      <a:pPr marL="0" marR="0">
                        <a:lnSpc>
                          <a:spcPct val="100000"/>
                        </a:lnSpc>
                        <a:spcBef>
                          <a:spcPts val="285"/>
                        </a:spcBef>
                        <a:spcAft>
                          <a:spcPts val="285"/>
                        </a:spcAft>
                      </a:pPr>
                      <a:r>
                        <a:rPr lang="en-US" sz="1800" dirty="0">
                          <a:effectLst/>
                        </a:rPr>
                        <a:t>Investment</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US" sz="1600" dirty="0">
                          <a:solidFill>
                            <a:schemeClr val="tx1"/>
                          </a:solidFill>
                          <a:effectLst/>
                          <a:latin typeface="Calibri" panose="020F0502020204030204" pitchFamily="34" charset="0"/>
                          <a:cs typeface="Calibri" panose="020F0502020204030204" pitchFamily="34" charset="0"/>
                        </a:rPr>
                        <a:t>Lack of connection between Climate Risk and Credit Ratings</a:t>
                      </a:r>
                      <a:endParaRPr lang="en-US" sz="16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788458">
                <a:tc>
                  <a:txBody>
                    <a:bodyPr/>
                    <a:lstStyle/>
                    <a:p>
                      <a:pPr marL="0" marR="0">
                        <a:lnSpc>
                          <a:spcPct val="100000"/>
                        </a:lnSpc>
                        <a:spcBef>
                          <a:spcPts val="285"/>
                        </a:spcBef>
                        <a:spcAft>
                          <a:spcPts val="285"/>
                        </a:spcAft>
                      </a:pPr>
                      <a:r>
                        <a:rPr lang="en-US" sz="1800" dirty="0">
                          <a:effectLst/>
                        </a:rPr>
                        <a:t>Construction</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US" sz="1600" dirty="0">
                          <a:solidFill>
                            <a:schemeClr val="tx1"/>
                          </a:solidFill>
                          <a:effectLst/>
                          <a:latin typeface="Calibri" panose="020F0502020204030204" pitchFamily="34" charset="0"/>
                          <a:cs typeface="Calibri" panose="020F0502020204030204" pitchFamily="34" charset="0"/>
                        </a:rPr>
                        <a:t>Cost of bidding additional products and materials used to mitigate risks</a:t>
                      </a:r>
                      <a:endParaRPr lang="en-US" sz="16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r h="788458">
                <a:tc>
                  <a:txBody>
                    <a:bodyPr/>
                    <a:lstStyle/>
                    <a:p>
                      <a:pPr marL="0" marR="0">
                        <a:lnSpc>
                          <a:spcPct val="100000"/>
                        </a:lnSpc>
                        <a:spcBef>
                          <a:spcPts val="285"/>
                        </a:spcBef>
                        <a:spcAft>
                          <a:spcPts val="285"/>
                        </a:spcAft>
                      </a:pPr>
                      <a:r>
                        <a:rPr lang="en-US" sz="1800" dirty="0">
                          <a:effectLst/>
                        </a:rPr>
                        <a:t>Operation</a:t>
                      </a:r>
                      <a:endParaRPr lang="en-US" sz="1800" dirty="0">
                        <a:effectLst/>
                        <a:latin typeface="Times New Roman" panose="02020603050405020304" pitchFamily="18"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nSpc>
                          <a:spcPct val="100000"/>
                        </a:lnSpc>
                        <a:spcBef>
                          <a:spcPts val="285"/>
                        </a:spcBef>
                        <a:spcAft>
                          <a:spcPts val="285"/>
                        </a:spcAft>
                      </a:pPr>
                      <a:r>
                        <a:rPr lang="en-US" sz="1600" dirty="0">
                          <a:solidFill>
                            <a:schemeClr val="tx1"/>
                          </a:solidFill>
                          <a:effectLst/>
                          <a:latin typeface="Calibri" panose="020F0502020204030204" pitchFamily="34" charset="0"/>
                          <a:cs typeface="Calibri" panose="020F0502020204030204" pitchFamily="34" charset="0"/>
                        </a:rPr>
                        <a:t>Inaccurate estimation of maintenance and adaptation costs</a:t>
                      </a:r>
                      <a:endParaRPr lang="en-US" sz="16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marL="68580" marR="68580" marT="0" marB="0" anchor="ctr"/>
                </a:tc>
              </a:tr>
            </a:tbl>
          </a:graphicData>
        </a:graphic>
      </p:graphicFrame>
    </p:spTree>
    <p:extLst>
      <p:ext uri="{BB962C8B-B14F-4D97-AF65-F5344CB8AC3E}">
        <p14:creationId xmlns:p14="http://schemas.microsoft.com/office/powerpoint/2010/main" val="343006369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ject </a:t>
            </a:r>
            <a:r>
              <a:rPr lang="en-US" dirty="0" smtClean="0"/>
              <a:t>Overview</a:t>
            </a:r>
            <a:endParaRPr lang="en-US" dirty="0"/>
          </a:p>
        </p:txBody>
      </p:sp>
      <p:sp>
        <p:nvSpPr>
          <p:cNvPr id="5" name="Text Placeholder 4"/>
          <p:cNvSpPr>
            <a:spLocks noGrp="1"/>
          </p:cNvSpPr>
          <p:nvPr>
            <p:ph type="body" sz="quarter" idx="12"/>
          </p:nvPr>
        </p:nvSpPr>
        <p:spPr>
          <a:xfrm>
            <a:off x="322385" y="642939"/>
            <a:ext cx="11580446" cy="492125"/>
          </a:xfrm>
        </p:spPr>
        <p:txBody>
          <a:bodyPr/>
          <a:lstStyle/>
          <a:p>
            <a:r>
              <a:rPr lang="en-US" dirty="0" smtClean="0"/>
              <a:t>Program Goals</a:t>
            </a:r>
            <a:endParaRPr lang="en-US" dirty="0"/>
          </a:p>
        </p:txBody>
      </p:sp>
      <p:graphicFrame>
        <p:nvGraphicFramePr>
          <p:cNvPr id="6" name="Diagram 5"/>
          <p:cNvGraphicFramePr/>
          <p:nvPr>
            <p:extLst>
              <p:ext uri="{D42A27DB-BD31-4B8C-83A1-F6EECF244321}">
                <p14:modId xmlns:p14="http://schemas.microsoft.com/office/powerpoint/2010/main" val="2198685607"/>
              </p:ext>
            </p:extLst>
          </p:nvPr>
        </p:nvGraphicFramePr>
        <p:xfrm>
          <a:off x="322385" y="1135065"/>
          <a:ext cx="11580446" cy="49778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675105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Management Framework</a:t>
            </a:r>
            <a:endParaRPr lang="en-US" dirty="0"/>
          </a:p>
        </p:txBody>
      </p:sp>
      <p:sp>
        <p:nvSpPr>
          <p:cNvPr id="6" name="Text Placeholder 5"/>
          <p:cNvSpPr>
            <a:spLocks noGrp="1"/>
          </p:cNvSpPr>
          <p:nvPr>
            <p:ph type="body" sz="quarter" idx="12"/>
          </p:nvPr>
        </p:nvSpPr>
        <p:spPr/>
        <p:txBody>
          <a:bodyPr/>
          <a:lstStyle/>
          <a:p>
            <a:r>
              <a:rPr lang="en-US" dirty="0" smtClean="0"/>
              <a:t>Overview</a:t>
            </a:r>
            <a:endParaRPr lang="en-US" dirty="0"/>
          </a:p>
        </p:txBody>
      </p:sp>
      <p:graphicFrame>
        <p:nvGraphicFramePr>
          <p:cNvPr id="10" name="Diagram 9"/>
          <p:cNvGraphicFramePr/>
          <p:nvPr>
            <p:extLst>
              <p:ext uri="{D42A27DB-BD31-4B8C-83A1-F6EECF244321}">
                <p14:modId xmlns:p14="http://schemas.microsoft.com/office/powerpoint/2010/main" val="421819561"/>
              </p:ext>
            </p:extLst>
          </p:nvPr>
        </p:nvGraphicFramePr>
        <p:xfrm>
          <a:off x="1202919" y="1135064"/>
          <a:ext cx="9693681" cy="48175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6273990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Risk Management Framework</a:t>
            </a:r>
            <a:endParaRPr lang="en-US" dirty="0"/>
          </a:p>
        </p:txBody>
      </p:sp>
      <p:sp>
        <p:nvSpPr>
          <p:cNvPr id="6" name="Text Placeholder 5"/>
          <p:cNvSpPr>
            <a:spLocks noGrp="1"/>
          </p:cNvSpPr>
          <p:nvPr>
            <p:ph type="body" sz="quarter" idx="12"/>
          </p:nvPr>
        </p:nvSpPr>
        <p:spPr/>
        <p:txBody>
          <a:bodyPr/>
          <a:lstStyle/>
          <a:p>
            <a:r>
              <a:rPr lang="en-US" dirty="0" smtClean="0"/>
              <a:t>Decision Tree Stress Test</a:t>
            </a:r>
            <a:endParaRPr lang="en-US" dirty="0"/>
          </a:p>
        </p:txBody>
      </p:sp>
      <p:graphicFrame>
        <p:nvGraphicFramePr>
          <p:cNvPr id="7" name="Diagram 6"/>
          <p:cNvGraphicFramePr/>
          <p:nvPr>
            <p:extLst>
              <p:ext uri="{D42A27DB-BD31-4B8C-83A1-F6EECF244321}">
                <p14:modId xmlns:p14="http://schemas.microsoft.com/office/powerpoint/2010/main" val="150109461"/>
              </p:ext>
            </p:extLst>
          </p:nvPr>
        </p:nvGraphicFramePr>
        <p:xfrm>
          <a:off x="322386" y="1135064"/>
          <a:ext cx="11580445" cy="51623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3698543" y="642621"/>
            <a:ext cx="6305266" cy="492443"/>
          </a:xfrm>
          <a:prstGeom prst="rect">
            <a:avLst/>
          </a:prstGeom>
        </p:spPr>
        <p:txBody>
          <a:bodyPr wrap="square">
            <a:spAutoFit/>
          </a:bodyPr>
          <a:lstStyle/>
          <a:p>
            <a:r>
              <a:rPr lang="en-US" sz="1400" b="1" i="1" dirty="0">
                <a:latin typeface="Times New Roman" panose="02020603050405020304" pitchFamily="18" charset="0"/>
                <a:ea typeface="SimSun" panose="02010600030101010101" pitchFamily="2" charset="-122"/>
              </a:rPr>
              <a:t>Step 1		</a:t>
            </a:r>
            <a:r>
              <a:rPr lang="en-US" sz="1400" b="1" i="1" dirty="0" smtClean="0">
                <a:latin typeface="Times New Roman" panose="02020603050405020304" pitchFamily="18" charset="0"/>
                <a:ea typeface="SimSun" panose="02010600030101010101" pitchFamily="2" charset="-122"/>
              </a:rPr>
              <a:t>       Step </a:t>
            </a:r>
            <a:r>
              <a:rPr lang="en-US" sz="1400" b="1" i="1" dirty="0">
                <a:latin typeface="Times New Roman" panose="02020603050405020304" pitchFamily="18" charset="0"/>
                <a:ea typeface="SimSun" panose="02010600030101010101" pitchFamily="2" charset="-122"/>
              </a:rPr>
              <a:t>2	</a:t>
            </a:r>
            <a:r>
              <a:rPr lang="en-US" sz="1400" b="1" i="1" dirty="0" smtClean="0">
                <a:latin typeface="Times New Roman" panose="02020603050405020304" pitchFamily="18" charset="0"/>
                <a:ea typeface="SimSun" panose="02010600030101010101" pitchFamily="2" charset="-122"/>
              </a:rPr>
              <a:t>               Step </a:t>
            </a:r>
            <a:r>
              <a:rPr lang="en-US" sz="1400" b="1" i="1" dirty="0">
                <a:latin typeface="Times New Roman" panose="02020603050405020304" pitchFamily="18" charset="0"/>
                <a:ea typeface="SimSun" panose="02010600030101010101" pitchFamily="2" charset="-122"/>
              </a:rPr>
              <a:t>3	</a:t>
            </a:r>
            <a:r>
              <a:rPr lang="en-US" sz="1400" b="1" i="1" dirty="0" smtClean="0">
                <a:latin typeface="Times New Roman" panose="02020603050405020304" pitchFamily="18" charset="0"/>
                <a:ea typeface="SimSun" panose="02010600030101010101" pitchFamily="2" charset="-122"/>
              </a:rPr>
              <a:t>             Step </a:t>
            </a:r>
            <a:r>
              <a:rPr lang="en-US" sz="1400" b="1" i="1" dirty="0">
                <a:latin typeface="Times New Roman" panose="02020603050405020304" pitchFamily="18" charset="0"/>
                <a:ea typeface="SimSun" panose="02010600030101010101" pitchFamily="2" charset="-122"/>
              </a:rPr>
              <a:t>4	</a:t>
            </a:r>
            <a:r>
              <a:rPr lang="en-US" sz="1400" b="1" i="1" dirty="0" smtClean="0">
                <a:latin typeface="Times New Roman" panose="02020603050405020304" pitchFamily="18" charset="0"/>
                <a:ea typeface="SimSun" panose="02010600030101010101" pitchFamily="2" charset="-122"/>
              </a:rPr>
              <a:t>            Step 5    </a:t>
            </a:r>
            <a:r>
              <a:rPr lang="en-US" sz="1200" b="1" i="1" dirty="0" smtClean="0">
                <a:latin typeface="Times New Roman" panose="02020603050405020304" pitchFamily="18" charset="0"/>
                <a:ea typeface="SimSun" panose="02010600030101010101" pitchFamily="2" charset="-122"/>
              </a:rPr>
              <a:t>Criticality       </a:t>
            </a:r>
            <a:r>
              <a:rPr lang="en-US" sz="1200" b="1" i="1" dirty="0">
                <a:latin typeface="Times New Roman" panose="02020603050405020304" pitchFamily="18" charset="0"/>
                <a:ea typeface="SimSun" panose="02010600030101010101" pitchFamily="2" charset="-122"/>
              </a:rPr>
              <a:t>	</a:t>
            </a:r>
            <a:r>
              <a:rPr lang="en-US" sz="1200" b="1" i="1" dirty="0" smtClean="0">
                <a:latin typeface="Times New Roman" panose="02020603050405020304" pitchFamily="18" charset="0"/>
                <a:ea typeface="SimSun" panose="02010600030101010101" pitchFamily="2" charset="-122"/>
              </a:rPr>
              <a:t>        Vulnerability</a:t>
            </a:r>
            <a:r>
              <a:rPr lang="en-US" sz="1200" b="1" i="1" dirty="0">
                <a:latin typeface="Times New Roman" panose="02020603050405020304" pitchFamily="18" charset="0"/>
                <a:ea typeface="SimSun" panose="02010600030101010101" pitchFamily="2" charset="-122"/>
              </a:rPr>
              <a:t>	</a:t>
            </a:r>
            <a:r>
              <a:rPr lang="en-US" sz="1200" b="1" i="1" dirty="0" smtClean="0">
                <a:latin typeface="Times New Roman" panose="02020603050405020304" pitchFamily="18" charset="0"/>
                <a:ea typeface="SimSun" panose="02010600030101010101" pitchFamily="2" charset="-122"/>
              </a:rPr>
              <a:t>     Threat</a:t>
            </a:r>
            <a:r>
              <a:rPr lang="en-US" sz="1200" b="1" i="1" dirty="0">
                <a:latin typeface="Times New Roman" panose="02020603050405020304" pitchFamily="18" charset="0"/>
                <a:ea typeface="SimSun" panose="02010600030101010101" pitchFamily="2" charset="-122"/>
              </a:rPr>
              <a:t>	</a:t>
            </a:r>
            <a:r>
              <a:rPr lang="en-US" sz="1200" b="1" i="1" dirty="0" smtClean="0">
                <a:latin typeface="Times New Roman" panose="02020603050405020304" pitchFamily="18" charset="0"/>
                <a:ea typeface="SimSun" panose="02010600030101010101" pitchFamily="2" charset="-122"/>
              </a:rPr>
              <a:t>               Consequences</a:t>
            </a:r>
            <a:r>
              <a:rPr lang="en-US" sz="1200" b="1" i="1" dirty="0">
                <a:latin typeface="Times New Roman" panose="02020603050405020304" pitchFamily="18" charset="0"/>
                <a:ea typeface="SimSun" panose="02010600030101010101" pitchFamily="2" charset="-122"/>
              </a:rPr>
              <a:t>	</a:t>
            </a:r>
            <a:r>
              <a:rPr lang="en-US" sz="1200" b="1" i="1" dirty="0" smtClean="0">
                <a:latin typeface="Times New Roman" panose="02020603050405020304" pitchFamily="18" charset="0"/>
                <a:ea typeface="SimSun" panose="02010600030101010101" pitchFamily="2" charset="-122"/>
              </a:rPr>
              <a:t>  Adaptations</a:t>
            </a:r>
            <a:endParaRPr lang="en-US" sz="1200" dirty="0"/>
          </a:p>
        </p:txBody>
      </p:sp>
    </p:spTree>
    <p:extLst>
      <p:ext uri="{BB962C8B-B14F-4D97-AF65-F5344CB8AC3E}">
        <p14:creationId xmlns:p14="http://schemas.microsoft.com/office/powerpoint/2010/main" val="422325015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j4G2UMj.0y7CzADRoYjBQ"/>
</p:tagLst>
</file>

<file path=ppt/theme/theme1.xml><?xml version="1.0" encoding="utf-8"?>
<a:theme xmlns:a="http://schemas.openxmlformats.org/drawingml/2006/main" name="Arup widescreen test">
  <a:themeElements>
    <a:clrScheme name="Arup widescreen test">
      <a:dk1>
        <a:srgbClr val="000000"/>
      </a:dk1>
      <a:lt1>
        <a:srgbClr val="FFFFFF"/>
      </a:lt1>
      <a:dk2>
        <a:srgbClr val="D2D2D2"/>
      </a:dk2>
      <a:lt2>
        <a:srgbClr val="828282"/>
      </a:lt2>
      <a:accent1>
        <a:srgbClr val="D22D7D"/>
      </a:accent1>
      <a:accent2>
        <a:srgbClr val="28AAE1"/>
      </a:accent2>
      <a:accent3>
        <a:srgbClr val="F05023"/>
      </a:accent3>
      <a:accent4>
        <a:srgbClr val="696EB4"/>
      </a:accent4>
      <a:accent5>
        <a:srgbClr val="FA9B1E"/>
      </a:accent5>
      <a:accent6>
        <a:srgbClr val="28AF73"/>
      </a:accent6>
      <a:hlink>
        <a:srgbClr val="7F7F7F"/>
      </a:hlink>
      <a:folHlink>
        <a:srgbClr val="7F7F7F"/>
      </a:folHlink>
    </a:clrScheme>
    <a:fontScheme name="Arup widescreen test">
      <a:majorFont>
        <a:latin typeface="Times New Roman" panose="02020603050405020304"/>
        <a:ea typeface=""/>
        <a:cs typeface=""/>
      </a:majorFont>
      <a:minorFont>
        <a:latin typeface="Times New Roman" panose="02020603050405020304"/>
        <a:ea typeface=""/>
        <a:cs typeface=""/>
      </a:minorFont>
    </a:fontScheme>
    <a:fmtScheme name="Arup widescreen tes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rup widescreen test" id="{5B05CC4A-3CBA-4371-82EE-F1EFB029FA48}" vid="{1216D88A-415C-44B1-AAF0-9D715E5D189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rup Theme Widescreen (16x9)</Template>
  <TotalTime>7248</TotalTime>
  <Words>5367</Words>
  <Application>Microsoft Office PowerPoint</Application>
  <PresentationFormat>Widescreen</PresentationFormat>
  <Paragraphs>1108</Paragraphs>
  <Slides>40</Slides>
  <Notes>3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9" baseType="lpstr">
      <vt:lpstr>ＭＳ Ｐゴシック</vt:lpstr>
      <vt:lpstr>SimSun</vt:lpstr>
      <vt:lpstr>Arial</vt:lpstr>
      <vt:lpstr>Calibri</vt:lpstr>
      <vt:lpstr>Lucida Grande</vt:lpstr>
      <vt:lpstr>Times New Roman</vt:lpstr>
      <vt:lpstr>Wingdings</vt:lpstr>
      <vt:lpstr>Arup widescreen test</vt:lpstr>
      <vt:lpstr>think-cell Slide</vt:lpstr>
      <vt:lpstr>Incorporating Climate Risk into Performance-Based Contracting</vt:lpstr>
      <vt:lpstr>Project Overview</vt:lpstr>
      <vt:lpstr>Project Overview</vt:lpstr>
      <vt:lpstr>Background Research</vt:lpstr>
      <vt:lpstr>Background Research</vt:lpstr>
      <vt:lpstr>Background Research</vt:lpstr>
      <vt:lpstr>Project Overview</vt:lpstr>
      <vt:lpstr>Risk Management Framework</vt:lpstr>
      <vt:lpstr>Risk Management Framework</vt:lpstr>
      <vt:lpstr>Risk Identification </vt:lpstr>
      <vt:lpstr>Risk Identification</vt:lpstr>
      <vt:lpstr>Risk Identification</vt:lpstr>
      <vt:lpstr>Risk Management Framework</vt:lpstr>
      <vt:lpstr>Risk Identification</vt:lpstr>
      <vt:lpstr>Risk Identification</vt:lpstr>
      <vt:lpstr>Risk Management Framework</vt:lpstr>
      <vt:lpstr>PowerPoint Presentation</vt:lpstr>
      <vt:lpstr>Risk Identification</vt:lpstr>
      <vt:lpstr>Risk Identification</vt:lpstr>
      <vt:lpstr>Risk Management Framework</vt:lpstr>
      <vt:lpstr>Risk Valuation </vt:lpstr>
      <vt:lpstr>Risk Valuation</vt:lpstr>
      <vt:lpstr>Risk Valuation</vt:lpstr>
      <vt:lpstr>PowerPoint Presentation</vt:lpstr>
      <vt:lpstr>Risk Valuation</vt:lpstr>
      <vt:lpstr>Risk Management Framework</vt:lpstr>
      <vt:lpstr>Risk Management Framework</vt:lpstr>
      <vt:lpstr>Risk Allocation </vt:lpstr>
      <vt:lpstr>Risk Allocation</vt:lpstr>
      <vt:lpstr>Risk Allocation</vt:lpstr>
      <vt:lpstr>Risk Allocation</vt:lpstr>
      <vt:lpstr>Risk Allocation</vt:lpstr>
      <vt:lpstr>Risk Allocation</vt:lpstr>
      <vt:lpstr>Case Study: Almanzora Autovía - Spain</vt:lpstr>
      <vt:lpstr>Risk Management Framework</vt:lpstr>
      <vt:lpstr>Procurement Changes</vt:lpstr>
      <vt:lpstr>Barrier 2: Valuing Preparation for Extreme Weather </vt:lpstr>
      <vt:lpstr>Barrier 3: Reduced Borrowing Limits</vt:lpstr>
      <vt:lpstr>Barrier 5: Aligning Time Horizons and Risk Appetites</vt:lpstr>
      <vt:lpstr>Incorporating Climate Risk into Performance-Based Contracting</vt:lpstr>
    </vt:vector>
  </TitlesOfParts>
  <Company>Ar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a Dickson</dc:creator>
  <cp:lastModifiedBy>Yana Waldman</cp:lastModifiedBy>
  <cp:revision>479</cp:revision>
  <dcterms:created xsi:type="dcterms:W3CDTF">2017-07-11T15:44:21Z</dcterms:created>
  <dcterms:modified xsi:type="dcterms:W3CDTF">2018-04-06T22:56:16Z</dcterms:modified>
</cp:coreProperties>
</file>